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theme/themeOverride1.xml" ContentType="application/vnd.openxmlformats-officedocument.themeOverride+xml"/>
  <Override PartName="/ppt/charts/chart10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2.xml" ContentType="application/vnd.openxmlformats-officedocument.themeOverride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3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4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drawings/drawing1.xml" ContentType="application/vnd.openxmlformats-officedocument.drawingml.chartshapes+xml"/>
  <Override PartName="/ppt/charts/chart15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6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7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8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9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20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21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drawings/drawing2.xml" ContentType="application/vnd.openxmlformats-officedocument.drawingml.chartshapes+xml"/>
  <Override PartName="/ppt/charts/chart22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3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4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5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6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7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theme/themeOverride3.xml" ContentType="application/vnd.openxmlformats-officedocument.themeOverride+xml"/>
  <Override PartName="/ppt/charts/chart28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9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30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31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2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3.xml" ContentType="application/vnd.openxmlformats-officedocument.drawingml.chart+xml"/>
  <Override PartName="/ppt/drawings/drawing3.xml" ContentType="application/vnd.openxmlformats-officedocument.drawingml.chartshapes+xml"/>
  <Override PartName="/ppt/charts/chart34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35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36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37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charts/chart38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notesSlides/notesSlide3.xml" ContentType="application/vnd.openxmlformats-officedocument.presentationml.notesSlide+xml"/>
  <Override PartName="/ppt/charts/chart39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charts/chart40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notesSlides/notesSlide4.xml" ContentType="application/vnd.openxmlformats-officedocument.presentationml.notesSlide+xml"/>
  <Override PartName="/ppt/charts/chart41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media/image48.jpg" ContentType="image/png"/>
  <Override PartName="/ppt/charts/chart42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charts/chart43.xml" ContentType="application/vnd.openxmlformats-officedocument.drawingml.chart+xml"/>
  <Override PartName="/ppt/theme/themeOverride4.xml" ContentType="application/vnd.openxmlformats-officedocument.themeOverride+xml"/>
  <Override PartName="/ppt/charts/chart44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ppt/charts/chart45.xml" ContentType="application/vnd.openxmlformats-officedocument.drawingml.chart+xml"/>
  <Override PartName="/ppt/charts/style41.xml" ContentType="application/vnd.ms-office.chartstyle+xml"/>
  <Override PartName="/ppt/charts/colors41.xml" ContentType="application/vnd.ms-office.chartcolorstyle+xml"/>
  <Override PartName="/ppt/charts/chart46.xml" ContentType="application/vnd.openxmlformats-officedocument.drawingml.chart+xml"/>
  <Override PartName="/ppt/charts/style42.xml" ContentType="application/vnd.ms-office.chartstyle+xml"/>
  <Override PartName="/ppt/charts/colors42.xml" ContentType="application/vnd.ms-office.chartcolorstyle+xml"/>
  <Override PartName="/ppt/drawings/drawing4.xml" ContentType="application/vnd.openxmlformats-officedocument.drawingml.chartshapes+xml"/>
  <Override PartName="/ppt/charts/chart47.xml" ContentType="application/vnd.openxmlformats-officedocument.drawingml.chart+xml"/>
  <Override PartName="/ppt/charts/style43.xml" ContentType="application/vnd.ms-office.chartstyle+xml"/>
  <Override PartName="/ppt/charts/colors43.xml" ContentType="application/vnd.ms-office.chartcolorstyle+xml"/>
  <Override PartName="/ppt/drawings/drawing5.xml" ContentType="application/vnd.openxmlformats-officedocument.drawingml.chartshapes+xml"/>
  <Override PartName="/ppt/charts/chart48.xml" ContentType="application/vnd.openxmlformats-officedocument.drawingml.chart+xml"/>
  <Override PartName="/ppt/charts/style44.xml" ContentType="application/vnd.ms-office.chartstyle+xml"/>
  <Override PartName="/ppt/charts/colors44.xml" ContentType="application/vnd.ms-office.chartcolorstyle+xml"/>
  <Override PartName="/ppt/charts/chart49.xml" ContentType="application/vnd.openxmlformats-officedocument.drawingml.chart+xml"/>
  <Override PartName="/ppt/charts/style45.xml" ContentType="application/vnd.ms-office.chartstyle+xml"/>
  <Override PartName="/ppt/charts/colors45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80" r:id="rId1"/>
    <p:sldMasterId id="2147483719" r:id="rId2"/>
  </p:sldMasterIdLst>
  <p:notesMasterIdLst>
    <p:notesMasterId r:id="rId50"/>
  </p:notesMasterIdLst>
  <p:sldIdLst>
    <p:sldId id="256" r:id="rId3"/>
    <p:sldId id="2145706289" r:id="rId4"/>
    <p:sldId id="2145706272" r:id="rId5"/>
    <p:sldId id="276" r:id="rId6"/>
    <p:sldId id="2145706329" r:id="rId7"/>
    <p:sldId id="280" r:id="rId8"/>
    <p:sldId id="2145706297" r:id="rId9"/>
    <p:sldId id="2145706298" r:id="rId10"/>
    <p:sldId id="2145706299" r:id="rId11"/>
    <p:sldId id="2145706300" r:id="rId12"/>
    <p:sldId id="2145706301" r:id="rId13"/>
    <p:sldId id="2145706302" r:id="rId14"/>
    <p:sldId id="2145706303" r:id="rId15"/>
    <p:sldId id="2145706304" r:id="rId16"/>
    <p:sldId id="2145706305" r:id="rId17"/>
    <p:sldId id="2145706306" r:id="rId18"/>
    <p:sldId id="2145706307" r:id="rId19"/>
    <p:sldId id="2145706308" r:id="rId20"/>
    <p:sldId id="2145706309" r:id="rId21"/>
    <p:sldId id="2145706310" r:id="rId22"/>
    <p:sldId id="2145706311" r:id="rId23"/>
    <p:sldId id="2145706312" r:id="rId24"/>
    <p:sldId id="2145706313" r:id="rId25"/>
    <p:sldId id="2145706314" r:id="rId26"/>
    <p:sldId id="2145706315" r:id="rId27"/>
    <p:sldId id="2145706316" r:id="rId28"/>
    <p:sldId id="2145706317" r:id="rId29"/>
    <p:sldId id="2145706318" r:id="rId30"/>
    <p:sldId id="2145706319" r:id="rId31"/>
    <p:sldId id="2145706320" r:id="rId32"/>
    <p:sldId id="2145706321" r:id="rId33"/>
    <p:sldId id="2145706322" r:id="rId34"/>
    <p:sldId id="2145706323" r:id="rId35"/>
    <p:sldId id="2145706326" r:id="rId36"/>
    <p:sldId id="2145706327" r:id="rId37"/>
    <p:sldId id="2145706328" r:id="rId38"/>
    <p:sldId id="2145706324" r:id="rId39"/>
    <p:sldId id="2145706281" r:id="rId40"/>
    <p:sldId id="2145706290" r:id="rId41"/>
    <p:sldId id="2145706280" r:id="rId42"/>
    <p:sldId id="2145706286" r:id="rId43"/>
    <p:sldId id="2145706292" r:id="rId44"/>
    <p:sldId id="2145706291" r:id="rId45"/>
    <p:sldId id="2145706293" r:id="rId46"/>
    <p:sldId id="2145706294" r:id="rId47"/>
    <p:sldId id="2145706288" r:id="rId48"/>
    <p:sldId id="2145706283" r:id="rId49"/>
  </p:sldIdLst>
  <p:sldSz cx="6858000" cy="9144000" type="screen4x3"/>
  <p:notesSz cx="6669088" cy="987266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686" userDrawn="1">
          <p15:clr>
            <a:srgbClr val="A4A3A4"/>
          </p15:clr>
        </p15:guide>
        <p15:guide id="3" orient="horz" pos="3084" userDrawn="1">
          <p15:clr>
            <a:srgbClr val="A4A3A4"/>
          </p15:clr>
        </p15:guide>
        <p15:guide id="4" orient="horz" pos="523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8B8"/>
    <a:srgbClr val="FFFFFF"/>
    <a:srgbClr val="339966"/>
    <a:srgbClr val="3366CC"/>
    <a:srgbClr val="D5EF9B"/>
    <a:srgbClr val="9DC3E6"/>
    <a:srgbClr val="CC0000"/>
    <a:srgbClr val="FF6600"/>
    <a:srgbClr val="0D5369"/>
    <a:srgbClr val="7F6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029" autoAdjust="0"/>
    <p:restoredTop sz="95581" autoAdjust="0"/>
  </p:normalViewPr>
  <p:slideViewPr>
    <p:cSldViewPr snapToGrid="0" showGuides="1">
      <p:cViewPr varScale="1">
        <p:scale>
          <a:sx n="80" d="100"/>
          <a:sy n="80" d="100"/>
        </p:scale>
        <p:origin x="702" y="120"/>
      </p:cViewPr>
      <p:guideLst>
        <p:guide pos="686"/>
        <p:guide orient="horz" pos="3084"/>
        <p:guide orient="horz" pos="523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8" Type="http://schemas.openxmlformats.org/officeDocument/2006/relationships/slide" Target="slides/slide6.xml"/><Relationship Id="rId51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package" Target="../embeddings/_____Microsoft_Excel7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8.xlsx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1.xlsx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chartUserShapes" Target="../drawings/drawing1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oleObject" Target="file:///\\shared\01_&#1086;&#1073;&#1097;&#1072;&#1103;\02.%20&#1044;&#1057;&#1056;&#1080;&#1052;\_&#1054;&#1073;&#1097;&#1072;&#1103;_&#1044;&#1057;&#1056;&#1080;&#1052;\2025\&#1043;&#1086;&#1076;&#1086;&#1074;&#1086;&#1081;\&#1057;&#1055;\&#1044;&#1057;&#1054;&#1059;\&#1044;&#1080;&#1085;&#1072;&#1084;&#1080;&#1082;&#1072;_&#1057;&#1042;&#1091;&#1090;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3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4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5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6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7.xlsx"/><Relationship Id="rId2" Type="http://schemas.microsoft.com/office/2011/relationships/chartColorStyle" Target="colors19.xml"/><Relationship Id="rId1" Type="http://schemas.microsoft.com/office/2011/relationships/chartStyle" Target="style19.xml"/><Relationship Id="rId4" Type="http://schemas.openxmlformats.org/officeDocument/2006/relationships/chartUserShapes" Target="../drawings/drawing2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8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9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0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1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2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25.xml"/><Relationship Id="rId1" Type="http://schemas.microsoft.com/office/2011/relationships/chartStyle" Target="style25.xml"/><Relationship Id="rId4" Type="http://schemas.openxmlformats.org/officeDocument/2006/relationships/oleObject" Target="file:///\\shared\01_&#1086;&#1073;&#1097;&#1072;&#1103;\02.%20&#1044;&#1057;&#1056;&#1080;&#1052;\_&#1054;&#1073;&#1097;&#1072;&#1103;_&#1044;&#1057;&#1056;&#1080;&#1052;\2024\&#1043;&#1086;&#1076;&#1086;&#1074;&#1086;&#1081;\&#1044;&#1057;&#1054;&#1059;\&#1044;&#1080;&#1072;&#1075;&#1088;&#1072;&#1084;&#1084;&#1099;%20&#1082;%20&#1086;&#1090;&#1095;&#1077;&#1090;&#1091;%20&#1087;&#1086;%20&#1089;&#1090;&#1088;&#1091;&#1082;&#1090;&#1091;&#1088;&#1077;%20&#1087;&#1086;&#1083;&#1091;&#1095;&#1072;&#1090;&#1077;&#1083;&#1077;&#1081;%20&#1057;&#1042;,%20%201-&#1087;&#1086;&#1083;&#1091;&#1075;&#1086;&#1076;&#1080;&#1077;%20%202022.xlsx" TargetMode="Externa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3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4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\\shared\01_&#1086;&#1073;&#1097;&#1072;&#1103;\02.%20&#1044;&#1057;&#1056;&#1080;&#1052;\_&#1054;&#1073;&#1097;&#1072;&#1103;_&#1044;&#1057;&#1056;&#1080;&#1052;\2025\&#1043;&#1086;&#1076;&#1086;&#1074;&#1086;&#1081;\&#1057;&#1055;\&#1044;&#1057;&#1054;&#1059;\&#1063;&#1072;&#1089;&#1090;&#1086;&#1090;&#1072;%20&#1091;&#1087;&#1083;&#1072;&#1090;&#1099;%20&#1079;&#1072;%202024%20&#1075;&#1086;&#1076;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5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6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7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oleObject" Target="file:///\\shared\01_&#1086;&#1073;&#1097;&#1072;&#1103;\02.%20&#1044;&#1057;&#1056;&#1080;&#1052;\_&#1054;&#1073;&#1097;&#1072;&#1103;_&#1044;&#1057;&#1056;&#1080;&#1052;\2025\&#1043;&#1086;&#1076;&#1086;&#1074;&#1086;&#1081;\4%20&#1082;&#1074;%20&#1086;&#1090;&#1095;&#1077;&#1090;%20&#1086;%20&#1076;&#1077;&#1103;&#1090;\&#1044;&#1057;&#1054;&#1059;\&#1057;&#1042;&#1091;&#1088;,%202024%20(&#1044;&#1057;&#1056;).xlsx" TargetMode="Externa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8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9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0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1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2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3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4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4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5.xlsx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4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6.xlsx"/><Relationship Id="rId2" Type="http://schemas.microsoft.com/office/2011/relationships/chartColorStyle" Target="colors39.xml"/><Relationship Id="rId1" Type="http://schemas.microsoft.com/office/2011/relationships/chartStyle" Target="style39.xml"/></Relationships>
</file>

<file path=ppt/charts/_rels/chart4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37.xlsx"/><Relationship Id="rId1" Type="http://schemas.openxmlformats.org/officeDocument/2006/relationships/themeOverride" Target="../theme/themeOverride4.xml"/></Relationships>
</file>

<file path=ppt/charts/_rels/chart4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8.xlsx"/><Relationship Id="rId2" Type="http://schemas.microsoft.com/office/2011/relationships/chartColorStyle" Target="colors40.xml"/><Relationship Id="rId1" Type="http://schemas.microsoft.com/office/2011/relationships/chartStyle" Target="style40.xml"/></Relationships>
</file>

<file path=ppt/charts/_rels/chart4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9.xlsx"/><Relationship Id="rId2" Type="http://schemas.microsoft.com/office/2011/relationships/chartColorStyle" Target="colors41.xml"/><Relationship Id="rId1" Type="http://schemas.microsoft.com/office/2011/relationships/chartStyle" Target="style41.xml"/></Relationships>
</file>

<file path=ppt/charts/_rels/chart4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40.xlsx"/><Relationship Id="rId2" Type="http://schemas.microsoft.com/office/2011/relationships/chartColorStyle" Target="colors42.xml"/><Relationship Id="rId1" Type="http://schemas.microsoft.com/office/2011/relationships/chartStyle" Target="style42.xml"/><Relationship Id="rId4" Type="http://schemas.openxmlformats.org/officeDocument/2006/relationships/chartUserShapes" Target="../drawings/drawing4.xml"/></Relationships>
</file>

<file path=ppt/charts/_rels/chart4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41.xlsx"/><Relationship Id="rId2" Type="http://schemas.microsoft.com/office/2011/relationships/chartColorStyle" Target="colors43.xml"/><Relationship Id="rId1" Type="http://schemas.microsoft.com/office/2011/relationships/chartStyle" Target="style43.xml"/><Relationship Id="rId4" Type="http://schemas.openxmlformats.org/officeDocument/2006/relationships/chartUserShapes" Target="../drawings/drawing5.xml"/></Relationships>
</file>

<file path=ppt/charts/_rels/chart4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42.xlsx"/><Relationship Id="rId2" Type="http://schemas.microsoft.com/office/2011/relationships/chartColorStyle" Target="colors44.xml"/><Relationship Id="rId1" Type="http://schemas.microsoft.com/office/2011/relationships/chartStyle" Target="style44.xml"/></Relationships>
</file>

<file path=ppt/charts/_rels/chart4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43.xlsx"/><Relationship Id="rId2" Type="http://schemas.microsoft.com/office/2011/relationships/chartColorStyle" Target="colors45.xml"/><Relationship Id="rId1" Type="http://schemas.microsoft.com/office/2011/relationships/chartStyle" Target="style45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4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5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6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oleObject" Target="file:///\\shared\01_&#1086;&#1073;&#1097;&#1072;&#1103;\02.%20&#1044;&#1057;&#1056;&#1080;&#1052;\_&#1054;&#1073;&#1097;&#1072;&#1103;_&#1044;&#1057;&#1056;&#1080;&#1052;\2025\&#1043;&#1086;&#1076;&#1086;&#1074;&#1086;&#1081;\&#1057;&#1055;\&#1044;&#1040;&#1057;&#1054;&#1056;&#1055;\&#1057;&#1086;&#1094;&#1085;&#1072;&#1087;&#1088;&#1103;&#1078;&#1077;&#1085;&#1085;&#1086;&#1089;&#1090;&#1100;%2050%20%25%20%20&#1080;%20&#1073;&#1086;&#1083;&#1077;&#1077;,%20&#1072;&#1085;&#1072;&#1083;&#1080;&#1079;%20&#1087;&#1088;&#1080;&#1095;&#1080;&#1085;.%202024%20&#1075;.%20&#1075;&#1086;&#1089;.xls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9860073291160691E-2"/>
          <c:y val="7.2058633134901295E-2"/>
          <c:w val="0.87843896953054668"/>
          <c:h val="0.79793717333118752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2!$D$13</c:f>
              <c:strCache>
                <c:ptCount val="1"/>
                <c:pt idx="0">
                  <c:v>жалдамалы</c:v>
                </c:pt>
              </c:strCache>
            </c:strRef>
          </c:tx>
          <c:spPr>
            <a:solidFill>
              <a:srgbClr val="1F4E7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2!$C$14:$C$18</c:f>
              <c:numCache>
                <c:formatCode>General</c:formatCode>
                <c:ptCount val="3"/>
                <c:pt idx="0">
                  <c:v>2024</c:v>
                </c:pt>
                <c:pt idx="1">
                  <c:v>2023</c:v>
                </c:pt>
                <c:pt idx="2">
                  <c:v>2022</c:v>
                </c:pt>
              </c:numCache>
            </c:numRef>
          </c:cat>
          <c:val>
            <c:numRef>
              <c:f>Лист2!$D$14:$D$18</c:f>
              <c:numCache>
                <c:formatCode>0%</c:formatCode>
                <c:ptCount val="3"/>
                <c:pt idx="0">
                  <c:v>0.81440944884193123</c:v>
                </c:pt>
                <c:pt idx="1">
                  <c:v>0.79568087964913858</c:v>
                </c:pt>
                <c:pt idx="2">
                  <c:v>0.817936848414813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61-4824-9C23-44340CCDC736}"/>
            </c:ext>
          </c:extLst>
        </c:ser>
        <c:ser>
          <c:idx val="1"/>
          <c:order val="1"/>
          <c:tx>
            <c:strRef>
              <c:f>Лист2!$E$13</c:f>
              <c:strCache>
                <c:ptCount val="1"/>
                <c:pt idx="0">
                  <c:v>аралас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-1.6666666666666767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C61-4824-9C23-44340CCDC73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2!$C$14:$C$18</c:f>
              <c:numCache>
                <c:formatCode>General</c:formatCode>
                <c:ptCount val="3"/>
                <c:pt idx="0">
                  <c:v>2024</c:v>
                </c:pt>
                <c:pt idx="1">
                  <c:v>2023</c:v>
                </c:pt>
                <c:pt idx="2">
                  <c:v>2022</c:v>
                </c:pt>
              </c:numCache>
            </c:numRef>
          </c:cat>
          <c:val>
            <c:numRef>
              <c:f>Лист2!$E$14:$E$18</c:f>
              <c:numCache>
                <c:formatCode>0%</c:formatCode>
                <c:ptCount val="3"/>
                <c:pt idx="0">
                  <c:v>9.015741731809894E-2</c:v>
                </c:pt>
                <c:pt idx="1">
                  <c:v>8.4607515286202556E-2</c:v>
                </c:pt>
                <c:pt idx="2">
                  <c:v>6.584092192631259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C61-4824-9C23-44340CCDC736}"/>
            </c:ext>
          </c:extLst>
        </c:ser>
        <c:ser>
          <c:idx val="2"/>
          <c:order val="2"/>
          <c:tx>
            <c:strRef>
              <c:f>Лист2!$F$13</c:f>
              <c:strCache>
                <c:ptCount val="1"/>
                <c:pt idx="0">
                  <c:v>ДК</c:v>
                </c:pt>
              </c:strCache>
            </c:strRef>
          </c:tx>
          <c:spPr>
            <a:solidFill>
              <a:srgbClr val="DAE3F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2!$C$14:$C$18</c:f>
              <c:numCache>
                <c:formatCode>General</c:formatCode>
                <c:ptCount val="3"/>
                <c:pt idx="0">
                  <c:v>2024</c:v>
                </c:pt>
                <c:pt idx="1">
                  <c:v>2023</c:v>
                </c:pt>
                <c:pt idx="2">
                  <c:v>2022</c:v>
                </c:pt>
              </c:numCache>
            </c:numRef>
          </c:cat>
          <c:val>
            <c:numRef>
              <c:f>Лист2!$F$14:$F$18</c:f>
              <c:numCache>
                <c:formatCode>0%</c:formatCode>
                <c:ptCount val="3"/>
                <c:pt idx="0">
                  <c:v>9.5433133839969833E-2</c:v>
                </c:pt>
                <c:pt idx="1">
                  <c:v>9.1632965534153246E-2</c:v>
                </c:pt>
                <c:pt idx="2">
                  <c:v>7.723824870012428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C61-4824-9C23-44340CCDC736}"/>
            </c:ext>
          </c:extLst>
        </c:ser>
        <c:ser>
          <c:idx val="3"/>
          <c:order val="3"/>
          <c:tx>
            <c:strRef>
              <c:f>Лист2!$G$13</c:f>
              <c:strCache>
                <c:ptCount val="1"/>
                <c:pt idx="0">
                  <c:v>БЖТ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5.5555555555555558E-3"/>
                  <c:y val="7.5500188750471705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C61-4824-9C23-44340CCDC73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2!$C$14:$C$18</c:f>
              <c:numCache>
                <c:formatCode>General</c:formatCode>
                <c:ptCount val="3"/>
                <c:pt idx="0">
                  <c:v>2024</c:v>
                </c:pt>
                <c:pt idx="1">
                  <c:v>2023</c:v>
                </c:pt>
                <c:pt idx="2">
                  <c:v>2022</c:v>
                </c:pt>
              </c:numCache>
            </c:numRef>
          </c:cat>
          <c:val>
            <c:numRef>
              <c:f>Лист2!$G$14:$G$18</c:f>
              <c:numCache>
                <c:formatCode>0%</c:formatCode>
                <c:ptCount val="3"/>
                <c:pt idx="1">
                  <c:v>2.80786395305056E-2</c:v>
                </c:pt>
                <c:pt idx="2">
                  <c:v>3.898398095874958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C61-4824-9C23-44340CCDC73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791716016"/>
        <c:axId val="790947712"/>
      </c:barChart>
      <c:catAx>
        <c:axId val="79171601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790947712"/>
        <c:crosses val="autoZero"/>
        <c:auto val="1"/>
        <c:lblAlgn val="ctr"/>
        <c:lblOffset val="100"/>
        <c:noMultiLvlLbl val="0"/>
      </c:catAx>
      <c:valAx>
        <c:axId val="790947712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7917160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6567185348416866"/>
          <c:y val="0.84319540470889398"/>
          <c:w val="0.47439268116464106"/>
          <c:h val="0.1116714257876241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lang="ru-KZ" sz="8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0693383487109366E-2"/>
          <c:y val="4.1180030426648105E-2"/>
          <c:w val="0.91727504957935235"/>
          <c:h val="0.751216542223436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қайтаруға өтінімдер (мың)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8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Лист1!$B$2:$B$8</c:f>
              <c:numCache>
                <c:formatCode>0.0</c:formatCode>
                <c:ptCount val="3"/>
                <c:pt idx="0">
                  <c:v>60.3</c:v>
                </c:pt>
                <c:pt idx="1">
                  <c:v>73.400000000000006</c:v>
                </c:pt>
                <c:pt idx="2">
                  <c:v>102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992-42A9-9CFA-42E65F4F71C1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қатысушылар саны (мың адам)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 prstMaterial="dkEdge">
              <a:bevelB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8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Лист1!$C$2:$C$8</c:f>
              <c:numCache>
                <c:formatCode>0.0</c:formatCode>
                <c:ptCount val="3"/>
                <c:pt idx="0">
                  <c:v>87.2</c:v>
                </c:pt>
                <c:pt idx="1">
                  <c:v>120.6</c:v>
                </c:pt>
                <c:pt idx="2">
                  <c:v>359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0992-42A9-9CFA-42E65F4F71C1}"/>
            </c:ext>
          </c:extLst>
        </c:ser>
        <c:dLbls>
          <c:dLblPos val="inBase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415704608"/>
        <c:axId val="415701696"/>
      </c:barChart>
      <c:lineChart>
        <c:grouping val="standard"/>
        <c:varyColors val="0"/>
        <c:ser>
          <c:idx val="2"/>
          <c:order val="2"/>
          <c:tx>
            <c:strRef>
              <c:f>Лист1!$D$1</c:f>
              <c:strCache>
                <c:ptCount val="1"/>
                <c:pt idx="0">
                  <c:v>әлеуметтік аударымдарды қайтару сомасы (млн.теңге)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diamond"/>
            <c:size val="5"/>
            <c:spPr>
              <a:solidFill>
                <a:srgbClr val="FFC000"/>
              </a:solidFill>
              <a:ln w="9525">
                <a:solidFill>
                  <a:srgbClr val="FFC000"/>
                </a:solidFill>
              </a:ln>
              <a:effectLst/>
            </c:spPr>
          </c:marker>
          <c:dLbls>
            <c:spPr>
              <a:solidFill>
                <a:srgbClr val="FFC00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8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Лист1!$D$2:$D$8</c:f>
              <c:numCache>
                <c:formatCode>General</c:formatCode>
                <c:ptCount val="3"/>
                <c:pt idx="0">
                  <c:v>576.79999999999995</c:v>
                </c:pt>
                <c:pt idx="1">
                  <c:v>859.2</c:v>
                </c:pt>
                <c:pt idx="2">
                  <c:v>20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98F-4AE2-8FEE-1F53B51B60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44666959"/>
        <c:axId val="1036914959"/>
      </c:lineChart>
      <c:catAx>
        <c:axId val="4157046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accent3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ru-RU"/>
          </a:p>
        </c:txPr>
        <c:crossAx val="415701696"/>
        <c:crosses val="autoZero"/>
        <c:auto val="1"/>
        <c:lblAlgn val="ctr"/>
        <c:lblOffset val="100"/>
        <c:noMultiLvlLbl val="0"/>
      </c:catAx>
      <c:valAx>
        <c:axId val="415701696"/>
        <c:scaling>
          <c:orientation val="minMax"/>
        </c:scaling>
        <c:delete val="0"/>
        <c:axPos val="l"/>
        <c:numFmt formatCode="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15704608"/>
        <c:crosses val="autoZero"/>
        <c:crossBetween val="between"/>
      </c:valAx>
      <c:valAx>
        <c:axId val="1036914959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44666959"/>
        <c:crosses val="max"/>
        <c:crossBetween val="between"/>
      </c:valAx>
      <c:catAx>
        <c:axId val="104466695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03691495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egendEntry>
        <c:idx val="1"/>
        <c:delete val="1"/>
      </c:legendEntry>
      <c:layout>
        <c:manualLayout>
          <c:xMode val="edge"/>
          <c:yMode val="edge"/>
          <c:x val="1.7710932860087208E-2"/>
          <c:y val="0.86657692612241666"/>
          <c:w val="0.8303309498990088"/>
          <c:h val="0.1334232452425859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lang="ru-KZ"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0481801113267354"/>
          <c:y val="0.14112314114023106"/>
          <c:w val="0.48253078291901996"/>
          <c:h val="0.73893300704003217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solidFill>
                <a:srgbClr val="0D5369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D37F-4E7E-9FE5-60F117DB46E3}"/>
              </c:ext>
            </c:extLst>
          </c:dPt>
          <c:dPt>
            <c:idx val="1"/>
            <c:bubble3D val="0"/>
            <c:spPr>
              <a:solidFill>
                <a:srgbClr val="0088B8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D37F-4E7E-9FE5-60F117DB46E3}"/>
              </c:ext>
            </c:extLst>
          </c:dPt>
          <c:dPt>
            <c:idx val="2"/>
            <c:bubble3D val="0"/>
            <c:spPr>
              <a:solidFill>
                <a:srgbClr val="FFC000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D37F-4E7E-9FE5-60F117DB46E3}"/>
              </c:ext>
            </c:extLst>
          </c:dPt>
          <c:dPt>
            <c:idx val="3"/>
            <c:bubble3D val="0"/>
            <c:spPr>
              <a:solidFill>
                <a:schemeClr val="accent5">
                  <a:lumMod val="50000"/>
                </a:schemeClr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D37F-4E7E-9FE5-60F117DB46E3}"/>
              </c:ext>
            </c:extLst>
          </c:dPt>
          <c:dLbls>
            <c:dLbl>
              <c:idx val="0"/>
              <c:layout>
                <c:manualLayout>
                  <c:x val="0.12269220825109321"/>
                  <c:y val="-0.30923656343982625"/>
                </c:manualLayout>
              </c:layout>
              <c:tx>
                <c:rich>
                  <a:bodyPr rot="0" spcFirstLastPara="1" vertOverflow="ellipsis" vert="horz" wrap="square" lIns="0" tIns="0" rIns="0" bIns="0" anchor="t" anchorCtr="0">
                    <a:noAutofit/>
                  </a:bodyPr>
                  <a:lstStyle/>
                  <a:p>
                    <a:pPr algn="ctr">
                      <a:defRPr sz="900" b="0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25E13723-A2E6-440B-AC6C-CB4A096E8927}" type="CATEGORYNAME">
                      <a:rPr lang="ru-RU" sz="900"/>
                      <a:pPr algn="ctr">
                        <a:defRPr sz="900" b="0" i="0" u="none" strike="noStrik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sz="900" baseline="0" dirty="0"/>
                      <a:t>; </a:t>
                    </a:r>
                    <a:fld id="{D189C72B-088D-48CD-9B18-E4509407CB64}" type="VALUE">
                      <a:rPr lang="ru-RU" sz="900" b="1" i="0" baseline="0"/>
                      <a:pPr algn="ctr">
                        <a:defRPr sz="900" b="0" i="0" u="none" strike="noStrik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t>[ЗНАЧЕНИЕ]</a:t>
                    </a:fld>
                    <a:endParaRPr lang="ru-RU" sz="900" baseline="0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38610623526294557"/>
                      <c:h val="0.17653806798350344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D37F-4E7E-9FE5-60F117DB46E3}"/>
                </c:ext>
              </c:extLst>
            </c:dLbl>
            <c:dLbl>
              <c:idx val="1"/>
              <c:layout>
                <c:manualLayout>
                  <c:x val="-0.26285318815729292"/>
                  <c:y val="7.2838326054931429E-2"/>
                </c:manualLayout>
              </c:layout>
              <c:tx>
                <c:rich>
                  <a:bodyPr rot="0" spcFirstLastPara="1" vertOverflow="ellipsis" vert="horz" wrap="square" lIns="0" tIns="0" rIns="0" bIns="0" anchor="t" anchorCtr="0">
                    <a:noAutofit/>
                  </a:bodyPr>
                  <a:lstStyle/>
                  <a:p>
                    <a:pPr algn="ctr">
                      <a:defRPr sz="900" b="0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1BBE7E3F-65C9-48E0-8FFE-28F6101DFABB}" type="CATEGORYNAME">
                      <a:rPr lang="ru-RU" sz="900" smtClean="0"/>
                      <a:pPr algn="ctr">
                        <a:defRPr sz="900" b="0" i="0" u="none" strike="noStrik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sz="900" baseline="0" dirty="0"/>
                      <a:t>; </a:t>
                    </a:r>
                    <a:fld id="{404B187A-8420-483A-9E52-1430AFA10447}" type="VALUE">
                      <a:rPr lang="ru-RU" sz="900" b="1" baseline="0"/>
                      <a:pPr algn="ctr">
                        <a:defRPr sz="900" b="0" i="0" u="none" strike="noStrik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t>[ЗНАЧЕНИЕ]</a:t>
                    </a:fld>
                    <a:endParaRPr lang="ru-RU" sz="900" baseline="0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42505972332425002"/>
                      <c:h val="0.16211296580917106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D37F-4E7E-9FE5-60F117DB46E3}"/>
                </c:ext>
              </c:extLst>
            </c:dLbl>
            <c:dLbl>
              <c:idx val="2"/>
              <c:layout>
                <c:manualLayout>
                  <c:x val="-0.15093095686146915"/>
                  <c:y val="-7.3308676476304027E-2"/>
                </c:manualLayout>
              </c:layout>
              <c:tx>
                <c:rich>
                  <a:bodyPr/>
                  <a:lstStyle/>
                  <a:p>
                    <a:fld id="{6330F86A-ED0C-4ABD-AF4A-85C4129FCD03}" type="CATEGORYNAME">
                      <a:rPr lang="ru-RU">
                        <a:solidFill>
                          <a:schemeClr val="tx1"/>
                        </a:solidFill>
                      </a:rPr>
                      <a:pPr/>
                      <a:t>[ИМЯ КАТЕГОРИИ]</a:t>
                    </a:fld>
                    <a:r>
                      <a:rPr lang="ru-RU" baseline="0" dirty="0">
                        <a:solidFill>
                          <a:schemeClr val="tx1"/>
                        </a:solidFill>
                      </a:rPr>
                      <a:t>; </a:t>
                    </a:r>
                    <a:fld id="{0DCE5CDA-E29A-411B-8CD1-CDD8EDCDAC81}" type="VALUE">
                      <a:rPr lang="ru-RU" b="1" baseline="0">
                        <a:solidFill>
                          <a:schemeClr val="tx1"/>
                        </a:solidFill>
                      </a:rPr>
                      <a:pPr/>
                      <a:t>[ЗНАЧЕНИЕ]</a:t>
                    </a:fld>
                    <a:endParaRPr lang="ru-RU" baseline="0" dirty="0">
                      <a:solidFill>
                        <a:schemeClr val="tx1"/>
                      </a:solidFill>
                    </a:endParaRP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D37F-4E7E-9FE5-60F117DB46E3}"/>
                </c:ext>
              </c:extLst>
            </c:dLbl>
            <c:dLbl>
              <c:idx val="3"/>
              <c:layout>
                <c:manualLayout>
                  <c:x val="-3.4243688981489911E-3"/>
                  <c:y val="-0.17838463850356404"/>
                </c:manualLayout>
              </c:layout>
              <c:tx>
                <c:rich>
                  <a:bodyPr rot="0" spcFirstLastPara="1" vertOverflow="ellipsis" vert="horz" wrap="square" lIns="0" tIns="0" rIns="0" bIns="0" anchor="t" anchorCtr="0">
                    <a:noAutofit/>
                  </a:bodyPr>
                  <a:lstStyle/>
                  <a:p>
                    <a:pPr algn="ctr">
                      <a:defRPr sz="900" b="0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92A723B7-9A33-4ECE-89F4-190E5995620F}" type="CATEGORYNAME">
                      <a:rPr lang="ru-RU" sz="900" b="0">
                        <a:solidFill>
                          <a:schemeClr val="tx1"/>
                        </a:solidFill>
                      </a:rPr>
                      <a:pPr algn="ctr">
                        <a:defRPr sz="900" b="0" i="0" u="none" strike="noStrik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sz="900" b="0" baseline="0" dirty="0">
                        <a:solidFill>
                          <a:schemeClr val="tx1"/>
                        </a:solidFill>
                      </a:rPr>
                      <a:t>; </a:t>
                    </a:r>
                    <a:fld id="{7AD41C3E-D41F-4C7A-BF9E-05320B689AB2}" type="VALUE">
                      <a:rPr lang="ru-RU" sz="900" b="1" i="0" baseline="0">
                        <a:solidFill>
                          <a:schemeClr val="tx1"/>
                        </a:solidFill>
                      </a:rPr>
                      <a:pPr algn="ctr">
                        <a:defRPr sz="900" b="0" i="0" u="none" strike="noStrik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t>[ЗНАЧЕНИЕ]</a:t>
                    </a:fld>
                    <a:endParaRPr lang="ru-RU" sz="900" b="0" baseline="0" dirty="0">
                      <a:solidFill>
                        <a:schemeClr val="tx1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791936714213091"/>
                      <c:h val="5.055874295438198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D37F-4E7E-9FE5-60F117DB46E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0" tIns="0" rIns="0" bIns="0" anchor="t" anchorCtr="0">
                <a:spAutoFit/>
              </a:bodyPr>
              <a:lstStyle/>
              <a:p>
                <a:pPr algn="ctr">
                  <a:defRPr sz="9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</c:ext>
            </c:extLst>
          </c:dLbls>
          <c:cat>
            <c:strRef>
              <c:f>Лист1!$A$2:$A$5</c:f>
              <c:strCache>
                <c:ptCount val="4"/>
                <c:pt idx="0">
                  <c:v>бір кезең үшін төлеуші немесе банк МӘСҚ шотына екі немесе одан да көп рет қате төлеген</c:v>
                </c:pt>
                <c:pt idx="1">
                  <c:v>төлем тапсырмасының тізімдік бөлігінде қызметкерлер үшін әлеуметтік аударымдар сомасында қате кеткен</c:v>
                </c:pt>
                <c:pt idx="2">
                  <c:v>төлем кезеңіндегі қателер</c:v>
                </c:pt>
                <c:pt idx="3">
                  <c:v>басқалары</c:v>
                </c:pt>
              </c:strCache>
            </c:strRef>
          </c:cat>
          <c:val>
            <c:numRef>
              <c:f>Лист1!$B$2:$B$5</c:f>
              <c:numCache>
                <c:formatCode>0%</c:formatCode>
                <c:ptCount val="4"/>
                <c:pt idx="0">
                  <c:v>0.45900000000000002</c:v>
                </c:pt>
                <c:pt idx="1">
                  <c:v>0.22500000000000001</c:v>
                </c:pt>
                <c:pt idx="2">
                  <c:v>0.14799999999999999</c:v>
                </c:pt>
                <c:pt idx="3">
                  <c:v>0.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37F-4E7E-9FE5-60F117DB46E3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1.3153299164004177E-2"/>
          <c:y val="1.812102458702692E-2"/>
          <c:w val="0.93184088310778979"/>
          <c:h val="0.6984063496095510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алушылар саны (мың адам)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20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Лист1!$B$2:$B$20</c:f>
              <c:numCache>
                <c:formatCode>0</c:formatCode>
                <c:ptCount val="3"/>
                <c:pt idx="0">
                  <c:v>1163.5</c:v>
                </c:pt>
                <c:pt idx="1">
                  <c:v>1251.9000000000001</c:v>
                </c:pt>
                <c:pt idx="2" formatCode="0.0">
                  <c:v>13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389-4C02-95A7-EF25A1280B49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жаңа тағайындаулар саны (мың адам)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20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Лист1!$C$2:$C$20</c:f>
              <c:numCache>
                <c:formatCode>0.0</c:formatCode>
                <c:ptCount val="3"/>
                <c:pt idx="0">
                  <c:v>696.3</c:v>
                </c:pt>
                <c:pt idx="1">
                  <c:v>811.5</c:v>
                </c:pt>
                <c:pt idx="2">
                  <c:v>787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389-4C02-95A7-EF25A1280B49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828548368"/>
        <c:axId val="739332176"/>
      </c:barChart>
      <c:lineChart>
        <c:grouping val="standard"/>
        <c:varyColors val="0"/>
        <c:ser>
          <c:idx val="2"/>
          <c:order val="2"/>
          <c:tx>
            <c:strRef>
              <c:f>Лист1!$D$1</c:f>
              <c:strCache>
                <c:ptCount val="1"/>
                <c:pt idx="0">
                  <c:v>төлемдер сомасы (млрд.теңге)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diamond"/>
            <c:size val="5"/>
            <c:spPr>
              <a:solidFill>
                <a:srgbClr val="FFC000"/>
              </a:solidFill>
              <a:ln w="9525">
                <a:solidFill>
                  <a:srgbClr val="FFC00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9236604155445658E-2"/>
                  <c:y val="-6.671153156799040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389-4C02-95A7-EF25A1280B49}"/>
                </c:ext>
              </c:extLst>
            </c:dLbl>
            <c:dLbl>
              <c:idx val="1"/>
              <c:layout>
                <c:manualLayout>
                  <c:x val="-4.1174778436077066E-2"/>
                  <c:y val="-4.746206377030383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389-4C02-95A7-EF25A1280B49}"/>
                </c:ext>
              </c:extLst>
            </c:dLbl>
            <c:dLbl>
              <c:idx val="2"/>
              <c:layout>
                <c:manualLayout>
                  <c:x val="-3.9236604155445658E-2"/>
                  <c:y val="-4.746206377030391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7389-4C02-95A7-EF25A1280B49}"/>
                </c:ext>
              </c:extLst>
            </c:dLbl>
            <c:numFmt formatCode="#,##0" sourceLinked="0"/>
            <c:spPr>
              <a:solidFill>
                <a:srgbClr val="FFC00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20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Лист1!$D$2:$D$20</c:f>
              <c:numCache>
                <c:formatCode>0</c:formatCode>
                <c:ptCount val="3"/>
                <c:pt idx="0">
                  <c:v>440.6</c:v>
                </c:pt>
                <c:pt idx="1">
                  <c:v>750.7</c:v>
                </c:pt>
                <c:pt idx="2">
                  <c:v>958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7389-4C02-95A7-EF25A1280B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28548368"/>
        <c:axId val="739332176"/>
      </c:lineChart>
      <c:catAx>
        <c:axId val="828548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ru-RU"/>
          </a:p>
        </c:txPr>
        <c:crossAx val="739332176"/>
        <c:crosses val="autoZero"/>
        <c:auto val="1"/>
        <c:lblAlgn val="ctr"/>
        <c:lblOffset val="100"/>
        <c:noMultiLvlLbl val="0"/>
      </c:catAx>
      <c:valAx>
        <c:axId val="739332176"/>
        <c:scaling>
          <c:orientation val="minMax"/>
        </c:scaling>
        <c:delete val="0"/>
        <c:axPos val="l"/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1" i="0" u="none" strike="noStrike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8285483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3.0566678492271727E-2"/>
          <c:y val="0.825344766836831"/>
          <c:w val="0.95865661126639068"/>
          <c:h val="0.1426285859438376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lang="ru-KZ"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800" b="1">
          <a:solidFill>
            <a:schemeClr val="bg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8568007568763792"/>
          <c:y val="0.20700862754688068"/>
          <c:w val="0.34359134517507134"/>
          <c:h val="0.88852647077651881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solidFill>
                <a:srgbClr val="FFC000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D37F-4E7E-9FE5-60F117DB46E3}"/>
              </c:ext>
            </c:extLst>
          </c:dPt>
          <c:dPt>
            <c:idx val="1"/>
            <c:bubble3D val="0"/>
            <c:spPr>
              <a:solidFill>
                <a:srgbClr val="006699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D37F-4E7E-9FE5-60F117DB46E3}"/>
              </c:ext>
            </c:extLst>
          </c:dPt>
          <c:dPt>
            <c:idx val="2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D37F-4E7E-9FE5-60F117DB46E3}"/>
              </c:ext>
            </c:extLst>
          </c:dPt>
          <c:dPt>
            <c:idx val="3"/>
            <c:bubble3D val="0"/>
            <c:spPr>
              <a:solidFill>
                <a:srgbClr val="0088B8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D37F-4E7E-9FE5-60F117DB46E3}"/>
              </c:ext>
            </c:extLst>
          </c:dPt>
          <c:dPt>
            <c:idx val="4"/>
            <c:bubble3D val="0"/>
            <c:spPr>
              <a:solidFill>
                <a:srgbClr val="0D5369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D37F-4E7E-9FE5-60F117DB46E3}"/>
              </c:ext>
            </c:extLst>
          </c:dPt>
          <c:dLbls>
            <c:dLbl>
              <c:idx val="0"/>
              <c:layout>
                <c:manualLayout>
                  <c:x val="-4.415798611111111E-2"/>
                  <c:y val="-0.1749249765309471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6D46A0CE-FE92-453E-9C8E-4EB3ED77BCFF}" type="CATEGORYNAME">
                      <a:rPr lang="ru-RU" b="0" baseline="0" dirty="0">
                        <a:solidFill>
                          <a:schemeClr val="tx1"/>
                        </a:solidFill>
                      </a:rPr>
                      <a:pPr>
                        <a:defRPr sz="10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b="0" baseline="0" dirty="0">
                        <a:solidFill>
                          <a:schemeClr val="tx1"/>
                        </a:solidFill>
                      </a:rPr>
                      <a:t>; </a:t>
                    </a:r>
                    <a:fld id="{5C983DF2-6C2F-49ED-BFC4-2946EFB1580A}" type="PERCENTAGE">
                      <a:rPr lang="ru-RU" b="1" baseline="0" dirty="0">
                        <a:solidFill>
                          <a:schemeClr val="tx1"/>
                        </a:solidFill>
                      </a:rPr>
                      <a:pPr>
                        <a:defRPr sz="10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ПРОЦЕНТ]</a:t>
                    </a:fld>
                    <a:endParaRPr lang="ru-RU" b="0" baseline="0" dirty="0">
                      <a:solidFill>
                        <a:schemeClr val="tx1"/>
                      </a:solidFill>
                    </a:endParaRPr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separator>; </c:separator>
              <c:extLst>
                <c:ext xmlns:c15="http://schemas.microsoft.com/office/drawing/2012/chart" uri="{CE6537A1-D6FC-4f65-9D91-7224C49458BB}">
                  <c15:layout>
                    <c:manualLayout>
                      <c:w val="0.41531076388888888"/>
                      <c:h val="0.15521889061635494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D37F-4E7E-9FE5-60F117DB46E3}"/>
                </c:ext>
              </c:extLst>
            </c:dLbl>
            <c:dLbl>
              <c:idx val="1"/>
              <c:layout>
                <c:manualLayout>
                  <c:x val="0.22520628156565656"/>
                  <c:y val="-0.10839029590887067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42ED37B6-CFD3-4330-87E7-0E79388801DC}" type="CATEGORYNAME">
                      <a:rPr lang="ru-RU" b="0" baseline="0" dirty="0">
                        <a:solidFill>
                          <a:schemeClr val="tx1"/>
                        </a:solidFill>
                      </a:rPr>
                      <a:pPr>
                        <a:defRPr sz="10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b="0" baseline="0" dirty="0">
                        <a:solidFill>
                          <a:schemeClr val="tx1"/>
                        </a:solidFill>
                      </a:rPr>
                      <a:t>; </a:t>
                    </a:r>
                    <a:fld id="{7C6EDCC9-0BDE-4FF1-8337-A926DA769061}" type="PERCENTAGE">
                      <a:rPr lang="ru-RU" b="1" baseline="0" dirty="0">
                        <a:solidFill>
                          <a:schemeClr val="tx1"/>
                        </a:solidFill>
                      </a:rPr>
                      <a:pPr>
                        <a:defRPr sz="10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ПРОЦЕНТ]</a:t>
                    </a:fld>
                    <a:endParaRPr lang="ru-RU" b="0" baseline="0" dirty="0">
                      <a:solidFill>
                        <a:schemeClr val="tx1"/>
                      </a:solidFill>
                    </a:endParaRPr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separator>; </c:separator>
              <c:extLst>
                <c:ext xmlns:c15="http://schemas.microsoft.com/office/drawing/2012/chart" uri="{CE6537A1-D6FC-4f65-9D91-7224C49458BB}">
                  <c15:layout>
                    <c:manualLayout>
                      <c:w val="0.44484138257575756"/>
                      <c:h val="0.13256426274826147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D37F-4E7E-9FE5-60F117DB46E3}"/>
                </c:ext>
              </c:extLst>
            </c:dLbl>
            <c:dLbl>
              <c:idx val="2"/>
              <c:layout>
                <c:manualLayout>
                  <c:x val="0.23406818181818181"/>
                  <c:y val="-5.85348167526917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FB331B0B-7393-4911-81C9-A0BB28E474EF}" type="CATEGORYNAME">
                      <a:rPr lang="ru-RU" b="0" baseline="0" dirty="0"/>
                      <a:pPr>
                        <a:defRPr sz="10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b="0" baseline="0" dirty="0"/>
                      <a:t>; </a:t>
                    </a:r>
                    <a:fld id="{DE517C61-B091-42AB-9174-085DDA460797}" type="PERCENTAGE">
                      <a:rPr lang="ru-RU" b="1" baseline="0" dirty="0"/>
                      <a:pPr>
                        <a:defRPr sz="10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ПРОЦЕНТ]</a:t>
                    </a:fld>
                    <a:endParaRPr lang="ru-RU" b="0" baseline="0" dirty="0"/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separator>; </c:separator>
              <c:extLst>
                <c:ext xmlns:c15="http://schemas.microsoft.com/office/drawing/2012/chart" uri="{CE6537A1-D6FC-4f65-9D91-7224C49458BB}">
                  <c15:layout>
                    <c:manualLayout>
                      <c:w val="0.38095612373737375"/>
                      <c:h val="0.12792706094675474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D37F-4E7E-9FE5-60F117DB46E3}"/>
                </c:ext>
              </c:extLst>
            </c:dLbl>
            <c:dLbl>
              <c:idx val="3"/>
              <c:layout>
                <c:manualLayout>
                  <c:x val="0.23903858962187083"/>
                  <c:y val="3.4296931293540903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4C46A40C-35BC-477A-9BB1-29482D5BE3DF}" type="CATEGORYNAME">
                      <a:rPr lang="ru-RU" b="0" baseline="0" dirty="0"/>
                      <a:pPr>
                        <a:defRPr sz="10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b="0" baseline="0" dirty="0"/>
                      <a:t>; </a:t>
                    </a:r>
                    <a:fld id="{FEAB3C04-DF8A-4885-B13A-345E45BC0F90}" type="PERCENTAGE">
                      <a:rPr lang="ru-RU" b="1" baseline="0" dirty="0"/>
                      <a:pPr>
                        <a:defRPr sz="10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ПРОЦЕНТ]</a:t>
                    </a:fld>
                    <a:endParaRPr lang="ru-RU" b="0" baseline="0" dirty="0"/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separator>; </c:separator>
              <c:extLst>
                <c:ext xmlns:c15="http://schemas.microsoft.com/office/drawing/2012/chart" uri="{CE6537A1-D6FC-4f65-9D91-7224C49458BB}">
                  <c15:layout>
                    <c:manualLayout>
                      <c:w val="0.3604640151515151"/>
                      <c:h val="0.19199841765007558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D37F-4E7E-9FE5-60F117DB46E3}"/>
                </c:ext>
              </c:extLst>
            </c:dLbl>
            <c:dLbl>
              <c:idx val="4"/>
              <c:layout>
                <c:manualLayout>
                  <c:x val="-0.18574431818181819"/>
                  <c:y val="0.14135210048865499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ABD2A7A0-8542-4CFD-BC88-EA1E96B93A2C}" type="CATEGORYNAME">
                      <a:rPr lang="ru-RU" b="0" smtClean="0"/>
                      <a:pPr>
                        <a:defRPr sz="10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b="0" baseline="0" dirty="0"/>
                      <a:t>; </a:t>
                    </a:r>
                    <a:fld id="{1DDF9021-4645-419B-B36E-747ABBD63B23}" type="PERCENTAGE">
                      <a:rPr lang="ru-RU" b="1" baseline="0" dirty="0" smtClean="0"/>
                      <a:pPr>
                        <a:defRPr sz="10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ПРОЦЕНТ]</a:t>
                    </a:fld>
                    <a:endParaRPr lang="ru-RU" b="0" baseline="0" dirty="0"/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separator>; </c:separator>
              <c:extLst>
                <c:ext xmlns:c15="http://schemas.microsoft.com/office/drawing/2012/chart" uri="{CE6537A1-D6FC-4f65-9D91-7224C49458BB}">
                  <c15:layout>
                    <c:manualLayout>
                      <c:w val="0.2730981691919192"/>
                      <c:h val="0.38332359527694154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D37F-4E7E-9FE5-60F117DB46E3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eparator>; </c:separator>
            <c:showLeaderLines val="1"/>
            <c:leaderLines>
              <c:spPr>
                <a:ln w="9525" cap="flat" cmpd="sng" algn="ctr">
                  <a:solidFill>
                    <a:schemeClr val="dk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6</c:f>
              <c:strCache>
                <c:ptCount val="5"/>
                <c:pt idx="0">
                  <c:v>еңбекке қабілеттілігінен айырылу жағдайы бойынша әлеуметтік төлем</c:v>
                </c:pt>
                <c:pt idx="1">
                  <c:v>асыраушысынан айырылу жағдайы бойынша әлеуметтік төлем</c:v>
                </c:pt>
                <c:pt idx="2">
                  <c:v>жұмысынан айырылу жағдайы бойынша әлеуметтік төлем</c:v>
                </c:pt>
                <c:pt idx="3">
                  <c:v>жүктілік және босану жағдайы бойынша әлеуметтік төлем</c:v>
                </c:pt>
                <c:pt idx="4">
                  <c:v>бала күтімі бойынша әлеуметтік төлем</c:v>
                </c:pt>
              </c:strCache>
            </c:strRef>
          </c:cat>
          <c:val>
            <c:numRef>
              <c:f>Лист1!$B$2:$B$6</c:f>
              <c:numCache>
                <c:formatCode>0.0%</c:formatCode>
                <c:ptCount val="5"/>
                <c:pt idx="0">
                  <c:v>4.9000000000000002E-2</c:v>
                </c:pt>
                <c:pt idx="1">
                  <c:v>3.5000000000000003E-2</c:v>
                </c:pt>
                <c:pt idx="2">
                  <c:v>9.1999999999999998E-2</c:v>
                </c:pt>
                <c:pt idx="3">
                  <c:v>0.40200000000000002</c:v>
                </c:pt>
                <c:pt idx="4">
                  <c:v>0.421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37F-4E7E-9FE5-60F117DB46E3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694482164709009"/>
          <c:y val="3.2706069871555346E-2"/>
          <c:w val="0.62475311824959934"/>
          <c:h val="0.8844913538865708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СВ регионы,12.23'!$B$3</c:f>
              <c:strCache>
                <c:ptCount val="1"/>
                <c:pt idx="0">
                  <c:v>число получателей (человек)*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</c:v>
                </c:pt>
                <c:pt idx="2">
                  <c:v>Ақмола обл.</c:v>
                </c:pt>
                <c:pt idx="3">
                  <c:v>Абай обл.</c:v>
                </c:pt>
                <c:pt idx="4">
                  <c:v>Павлодар обл.</c:v>
                </c:pt>
                <c:pt idx="5">
                  <c:v>ШҚО</c:v>
                </c:pt>
                <c:pt idx="6">
                  <c:v>Қостанай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Маңғыстау обл.</c:v>
                </c:pt>
                <c:pt idx="12">
                  <c:v>Атырау обл.</c:v>
                </c:pt>
                <c:pt idx="13">
                  <c:v>Ақтөбе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B$4:$B$23</c:f>
            </c:numRef>
          </c:val>
          <c:extLst>
            <c:ext xmlns:c16="http://schemas.microsoft.com/office/drawing/2014/chart" uri="{C3380CC4-5D6E-409C-BE32-E72D297353CC}">
              <c16:uniqueId val="{00000000-E0C1-4A76-A521-9E96AD8CEF47}"/>
            </c:ext>
          </c:extLst>
        </c:ser>
        <c:ser>
          <c:idx val="1"/>
          <c:order val="1"/>
          <c:tx>
            <c:strRef>
              <c:f>'СВ регионы,12.23'!$C$3</c:f>
              <c:strCache>
                <c:ptCount val="1"/>
                <c:pt idx="0">
                  <c:v>сумма выплаченных СВ (тенге)**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</c:v>
                </c:pt>
                <c:pt idx="2">
                  <c:v>Ақмола обл.</c:v>
                </c:pt>
                <c:pt idx="3">
                  <c:v>Абай обл.</c:v>
                </c:pt>
                <c:pt idx="4">
                  <c:v>Павлодар обл.</c:v>
                </c:pt>
                <c:pt idx="5">
                  <c:v>ШҚО</c:v>
                </c:pt>
                <c:pt idx="6">
                  <c:v>Қостанай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Маңғыстау обл.</c:v>
                </c:pt>
                <c:pt idx="12">
                  <c:v>Атырау обл.</c:v>
                </c:pt>
                <c:pt idx="13">
                  <c:v>Ақтөбе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C$4:$C$23</c:f>
            </c:numRef>
          </c:val>
          <c:extLst>
            <c:ext xmlns:c16="http://schemas.microsoft.com/office/drawing/2014/chart" uri="{C3380CC4-5D6E-409C-BE32-E72D297353CC}">
              <c16:uniqueId val="{00000001-E0C1-4A76-A521-9E96AD8CEF47}"/>
            </c:ext>
          </c:extLst>
        </c:ser>
        <c:ser>
          <c:idx val="2"/>
          <c:order val="2"/>
          <c:tx>
            <c:strRef>
              <c:f>'СВ регионы,12.23'!$D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</c:v>
                </c:pt>
                <c:pt idx="2">
                  <c:v>Ақмола обл.</c:v>
                </c:pt>
                <c:pt idx="3">
                  <c:v>Абай обл.</c:v>
                </c:pt>
                <c:pt idx="4">
                  <c:v>Павлодар обл.</c:v>
                </c:pt>
                <c:pt idx="5">
                  <c:v>ШҚО</c:v>
                </c:pt>
                <c:pt idx="6">
                  <c:v>Қостанай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Маңғыстау обл.</c:v>
                </c:pt>
                <c:pt idx="12">
                  <c:v>Атырау обл.</c:v>
                </c:pt>
                <c:pt idx="13">
                  <c:v>Ақтөбе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D$4:$D$23</c:f>
            </c:numRef>
          </c:val>
          <c:extLst>
            <c:ext xmlns:c16="http://schemas.microsoft.com/office/drawing/2014/chart" uri="{C3380CC4-5D6E-409C-BE32-E72D297353CC}">
              <c16:uniqueId val="{00000002-E0C1-4A76-A521-9E96AD8CEF47}"/>
            </c:ext>
          </c:extLst>
        </c:ser>
        <c:ser>
          <c:idx val="3"/>
          <c:order val="3"/>
          <c:tx>
            <c:strRef>
              <c:f>'СВ регионы,12.23'!$E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</c:v>
                </c:pt>
                <c:pt idx="2">
                  <c:v>Ақмола обл.</c:v>
                </c:pt>
                <c:pt idx="3">
                  <c:v>Абай обл.</c:v>
                </c:pt>
                <c:pt idx="4">
                  <c:v>Павлодар обл.</c:v>
                </c:pt>
                <c:pt idx="5">
                  <c:v>ШҚО</c:v>
                </c:pt>
                <c:pt idx="6">
                  <c:v>Қостанай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Маңғыстау обл.</c:v>
                </c:pt>
                <c:pt idx="12">
                  <c:v>Атырау обл.</c:v>
                </c:pt>
                <c:pt idx="13">
                  <c:v>Ақтөбе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E$4:$E$23</c:f>
            </c:numRef>
          </c:val>
          <c:extLst>
            <c:ext xmlns:c16="http://schemas.microsoft.com/office/drawing/2014/chart" uri="{C3380CC4-5D6E-409C-BE32-E72D297353CC}">
              <c16:uniqueId val="{00000003-E0C1-4A76-A521-9E96AD8CEF47}"/>
            </c:ext>
          </c:extLst>
        </c:ser>
        <c:ser>
          <c:idx val="4"/>
          <c:order val="4"/>
          <c:tx>
            <c:strRef>
              <c:f>'СВ регионы,12.23'!$F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</c:v>
                </c:pt>
                <c:pt idx="2">
                  <c:v>Ақмола обл.</c:v>
                </c:pt>
                <c:pt idx="3">
                  <c:v>Абай обл.</c:v>
                </c:pt>
                <c:pt idx="4">
                  <c:v>Павлодар обл.</c:v>
                </c:pt>
                <c:pt idx="5">
                  <c:v>ШҚО</c:v>
                </c:pt>
                <c:pt idx="6">
                  <c:v>Қостанай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Маңғыстау обл.</c:v>
                </c:pt>
                <c:pt idx="12">
                  <c:v>Атырау обл.</c:v>
                </c:pt>
                <c:pt idx="13">
                  <c:v>Ақтөбе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F$4:$F$23</c:f>
            </c:numRef>
          </c:val>
          <c:extLst>
            <c:ext xmlns:c16="http://schemas.microsoft.com/office/drawing/2014/chart" uri="{C3380CC4-5D6E-409C-BE32-E72D297353CC}">
              <c16:uniqueId val="{00000004-E0C1-4A76-A521-9E96AD8CEF47}"/>
            </c:ext>
          </c:extLst>
        </c:ser>
        <c:ser>
          <c:idx val="5"/>
          <c:order val="5"/>
          <c:tx>
            <c:strRef>
              <c:f>'СВ регионы,12.23'!$G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</c:v>
                </c:pt>
                <c:pt idx="2">
                  <c:v>Ақмола обл.</c:v>
                </c:pt>
                <c:pt idx="3">
                  <c:v>Абай обл.</c:v>
                </c:pt>
                <c:pt idx="4">
                  <c:v>Павлодар обл.</c:v>
                </c:pt>
                <c:pt idx="5">
                  <c:v>ШҚО</c:v>
                </c:pt>
                <c:pt idx="6">
                  <c:v>Қостанай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Маңғыстау обл.</c:v>
                </c:pt>
                <c:pt idx="12">
                  <c:v>Атырау обл.</c:v>
                </c:pt>
                <c:pt idx="13">
                  <c:v>Ақтөбе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G$4:$G$23</c:f>
            </c:numRef>
          </c:val>
          <c:extLst>
            <c:ext xmlns:c16="http://schemas.microsoft.com/office/drawing/2014/chart" uri="{C3380CC4-5D6E-409C-BE32-E72D297353CC}">
              <c16:uniqueId val="{00000005-E0C1-4A76-A521-9E96AD8CEF47}"/>
            </c:ext>
          </c:extLst>
        </c:ser>
        <c:ser>
          <c:idx val="6"/>
          <c:order val="6"/>
          <c:tx>
            <c:strRef>
              <c:f>'СВ регионы,12.23'!$H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</c:v>
                </c:pt>
                <c:pt idx="2">
                  <c:v>Ақмола обл.</c:v>
                </c:pt>
                <c:pt idx="3">
                  <c:v>Абай обл.</c:v>
                </c:pt>
                <c:pt idx="4">
                  <c:v>Павлодар обл.</c:v>
                </c:pt>
                <c:pt idx="5">
                  <c:v>ШҚО</c:v>
                </c:pt>
                <c:pt idx="6">
                  <c:v>Қостанай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Маңғыстау обл.</c:v>
                </c:pt>
                <c:pt idx="12">
                  <c:v>Атырау обл.</c:v>
                </c:pt>
                <c:pt idx="13">
                  <c:v>Ақтөбе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H$4:$H$23</c:f>
            </c:numRef>
          </c:val>
          <c:extLst>
            <c:ext xmlns:c16="http://schemas.microsoft.com/office/drawing/2014/chart" uri="{C3380CC4-5D6E-409C-BE32-E72D297353CC}">
              <c16:uniqueId val="{00000006-E0C1-4A76-A521-9E96AD8CEF47}"/>
            </c:ext>
          </c:extLst>
        </c:ser>
        <c:ser>
          <c:idx val="7"/>
          <c:order val="7"/>
          <c:tx>
            <c:strRef>
              <c:f>'СВ регионы,12.23'!$I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</c:v>
                </c:pt>
                <c:pt idx="2">
                  <c:v>Ақмола обл.</c:v>
                </c:pt>
                <c:pt idx="3">
                  <c:v>Абай обл.</c:v>
                </c:pt>
                <c:pt idx="4">
                  <c:v>Павлодар обл.</c:v>
                </c:pt>
                <c:pt idx="5">
                  <c:v>ШҚО</c:v>
                </c:pt>
                <c:pt idx="6">
                  <c:v>Қостанай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Маңғыстау обл.</c:v>
                </c:pt>
                <c:pt idx="12">
                  <c:v>Атырау обл.</c:v>
                </c:pt>
                <c:pt idx="13">
                  <c:v>Ақтөбе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I$4:$I$23</c:f>
            </c:numRef>
          </c:val>
          <c:extLst>
            <c:ext xmlns:c16="http://schemas.microsoft.com/office/drawing/2014/chart" uri="{C3380CC4-5D6E-409C-BE32-E72D297353CC}">
              <c16:uniqueId val="{00000007-E0C1-4A76-A521-9E96AD8CEF47}"/>
            </c:ext>
          </c:extLst>
        </c:ser>
        <c:ser>
          <c:idx val="8"/>
          <c:order val="8"/>
          <c:tx>
            <c:strRef>
              <c:f>'СВ регионы,12.23'!$J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</c:v>
                </c:pt>
                <c:pt idx="2">
                  <c:v>Ақмола обл.</c:v>
                </c:pt>
                <c:pt idx="3">
                  <c:v>Абай обл.</c:v>
                </c:pt>
                <c:pt idx="4">
                  <c:v>Павлодар обл.</c:v>
                </c:pt>
                <c:pt idx="5">
                  <c:v>ШҚО</c:v>
                </c:pt>
                <c:pt idx="6">
                  <c:v>Қостанай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Маңғыстау обл.</c:v>
                </c:pt>
                <c:pt idx="12">
                  <c:v>Атырау обл.</c:v>
                </c:pt>
                <c:pt idx="13">
                  <c:v>Ақтөбе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J$4:$J$23</c:f>
            </c:numRef>
          </c:val>
          <c:extLst>
            <c:ext xmlns:c16="http://schemas.microsoft.com/office/drawing/2014/chart" uri="{C3380CC4-5D6E-409C-BE32-E72D297353CC}">
              <c16:uniqueId val="{00000008-E0C1-4A76-A521-9E96AD8CEF47}"/>
            </c:ext>
          </c:extLst>
        </c:ser>
        <c:ser>
          <c:idx val="9"/>
          <c:order val="9"/>
          <c:tx>
            <c:strRef>
              <c:f>'СВ регионы,12.23'!$K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</c:v>
                </c:pt>
                <c:pt idx="2">
                  <c:v>Ақмола обл.</c:v>
                </c:pt>
                <c:pt idx="3">
                  <c:v>Абай обл.</c:v>
                </c:pt>
                <c:pt idx="4">
                  <c:v>Павлодар обл.</c:v>
                </c:pt>
                <c:pt idx="5">
                  <c:v>ШҚО</c:v>
                </c:pt>
                <c:pt idx="6">
                  <c:v>Қостанай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Маңғыстау обл.</c:v>
                </c:pt>
                <c:pt idx="12">
                  <c:v>Атырау обл.</c:v>
                </c:pt>
                <c:pt idx="13">
                  <c:v>Ақтөбе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K$4:$K$23</c:f>
            </c:numRef>
          </c:val>
          <c:extLst>
            <c:ext xmlns:c16="http://schemas.microsoft.com/office/drawing/2014/chart" uri="{C3380CC4-5D6E-409C-BE32-E72D297353CC}">
              <c16:uniqueId val="{00000009-E0C1-4A76-A521-9E96AD8CEF47}"/>
            </c:ext>
          </c:extLst>
        </c:ser>
        <c:ser>
          <c:idx val="10"/>
          <c:order val="10"/>
          <c:tx>
            <c:strRef>
              <c:f>'СВ регионы,12.23'!$L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5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</c:v>
                </c:pt>
                <c:pt idx="2">
                  <c:v>Ақмола обл.</c:v>
                </c:pt>
                <c:pt idx="3">
                  <c:v>Абай обл.</c:v>
                </c:pt>
                <c:pt idx="4">
                  <c:v>Павлодар обл.</c:v>
                </c:pt>
                <c:pt idx="5">
                  <c:v>ШҚО</c:v>
                </c:pt>
                <c:pt idx="6">
                  <c:v>Қостанай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Маңғыстау обл.</c:v>
                </c:pt>
                <c:pt idx="12">
                  <c:v>Атырау обл.</c:v>
                </c:pt>
                <c:pt idx="13">
                  <c:v>Ақтөбе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L$4:$L$23</c:f>
            </c:numRef>
          </c:val>
          <c:extLst>
            <c:ext xmlns:c16="http://schemas.microsoft.com/office/drawing/2014/chart" uri="{C3380CC4-5D6E-409C-BE32-E72D297353CC}">
              <c16:uniqueId val="{0000000A-E0C1-4A76-A521-9E96AD8CEF47}"/>
            </c:ext>
          </c:extLst>
        </c:ser>
        <c:ser>
          <c:idx val="11"/>
          <c:order val="11"/>
          <c:tx>
            <c:strRef>
              <c:f>'СВ регионы,12.23'!$M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</c:v>
                </c:pt>
                <c:pt idx="2">
                  <c:v>Ақмола обл.</c:v>
                </c:pt>
                <c:pt idx="3">
                  <c:v>Абай обл.</c:v>
                </c:pt>
                <c:pt idx="4">
                  <c:v>Павлодар обл.</c:v>
                </c:pt>
                <c:pt idx="5">
                  <c:v>ШҚО</c:v>
                </c:pt>
                <c:pt idx="6">
                  <c:v>Қостанай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Маңғыстау обл.</c:v>
                </c:pt>
                <c:pt idx="12">
                  <c:v>Атырау обл.</c:v>
                </c:pt>
                <c:pt idx="13">
                  <c:v>Ақтөбе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M$4:$M$23</c:f>
            </c:numRef>
          </c:val>
          <c:extLst>
            <c:ext xmlns:c16="http://schemas.microsoft.com/office/drawing/2014/chart" uri="{C3380CC4-5D6E-409C-BE32-E72D297353CC}">
              <c16:uniqueId val="{0000000B-E0C1-4A76-A521-9E96AD8CEF47}"/>
            </c:ext>
          </c:extLst>
        </c:ser>
        <c:ser>
          <c:idx val="12"/>
          <c:order val="12"/>
          <c:tx>
            <c:strRef>
              <c:f>'СВ регионы,12.23'!$N$3</c:f>
              <c:strCache>
                <c:ptCount val="1"/>
                <c:pt idx="0">
                  <c:v>число получателей (человек)*</c:v>
                </c:pt>
              </c:strCache>
            </c:strRef>
          </c:tx>
          <c:spPr>
            <a:solidFill>
              <a:schemeClr val="accent1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</c:v>
                </c:pt>
                <c:pt idx="2">
                  <c:v>Ақмола обл.</c:v>
                </c:pt>
                <c:pt idx="3">
                  <c:v>Абай обл.</c:v>
                </c:pt>
                <c:pt idx="4">
                  <c:v>Павлодар обл.</c:v>
                </c:pt>
                <c:pt idx="5">
                  <c:v>ШҚО</c:v>
                </c:pt>
                <c:pt idx="6">
                  <c:v>Қостанай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Маңғыстау обл.</c:v>
                </c:pt>
                <c:pt idx="12">
                  <c:v>Атырау обл.</c:v>
                </c:pt>
                <c:pt idx="13">
                  <c:v>Ақтөбе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N$4:$N$23</c:f>
            </c:numRef>
          </c:val>
          <c:extLst>
            <c:ext xmlns:c16="http://schemas.microsoft.com/office/drawing/2014/chart" uri="{C3380CC4-5D6E-409C-BE32-E72D297353CC}">
              <c16:uniqueId val="{0000000C-E0C1-4A76-A521-9E96AD8CEF47}"/>
            </c:ext>
          </c:extLst>
        </c:ser>
        <c:ser>
          <c:idx val="13"/>
          <c:order val="13"/>
          <c:tx>
            <c:strRef>
              <c:f>'СВ регионы,12.23'!$O$3</c:f>
              <c:strCache>
                <c:ptCount val="1"/>
                <c:pt idx="0">
                  <c:v>сумма выплаченных СВ (тенге)**</c:v>
                </c:pt>
              </c:strCache>
            </c:strRef>
          </c:tx>
          <c:spPr>
            <a:solidFill>
              <a:schemeClr val="accent2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</c:v>
                </c:pt>
                <c:pt idx="2">
                  <c:v>Ақмола обл.</c:v>
                </c:pt>
                <c:pt idx="3">
                  <c:v>Абай обл.</c:v>
                </c:pt>
                <c:pt idx="4">
                  <c:v>Павлодар обл.</c:v>
                </c:pt>
                <c:pt idx="5">
                  <c:v>ШҚО</c:v>
                </c:pt>
                <c:pt idx="6">
                  <c:v>Қостанай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Маңғыстау обл.</c:v>
                </c:pt>
                <c:pt idx="12">
                  <c:v>Атырау обл.</c:v>
                </c:pt>
                <c:pt idx="13">
                  <c:v>Ақтөбе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O$4:$O$23</c:f>
            </c:numRef>
          </c:val>
          <c:extLst>
            <c:ext xmlns:c16="http://schemas.microsoft.com/office/drawing/2014/chart" uri="{C3380CC4-5D6E-409C-BE32-E72D297353CC}">
              <c16:uniqueId val="{0000000D-E0C1-4A76-A521-9E96AD8CEF47}"/>
            </c:ext>
          </c:extLst>
        </c:ser>
        <c:ser>
          <c:idx val="14"/>
          <c:order val="14"/>
          <c:tx>
            <c:strRef>
              <c:f>'СВ регионы,12.23'!$P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3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</c:v>
                </c:pt>
                <c:pt idx="2">
                  <c:v>Ақмола обл.</c:v>
                </c:pt>
                <c:pt idx="3">
                  <c:v>Абай обл.</c:v>
                </c:pt>
                <c:pt idx="4">
                  <c:v>Павлодар обл.</c:v>
                </c:pt>
                <c:pt idx="5">
                  <c:v>ШҚО</c:v>
                </c:pt>
                <c:pt idx="6">
                  <c:v>Қостанай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Маңғыстау обл.</c:v>
                </c:pt>
                <c:pt idx="12">
                  <c:v>Атырау обл.</c:v>
                </c:pt>
                <c:pt idx="13">
                  <c:v>Ақтөбе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P$4:$P$23</c:f>
            </c:numRef>
          </c:val>
          <c:extLst>
            <c:ext xmlns:c16="http://schemas.microsoft.com/office/drawing/2014/chart" uri="{C3380CC4-5D6E-409C-BE32-E72D297353CC}">
              <c16:uniqueId val="{0000000E-E0C1-4A76-A521-9E96AD8CEF47}"/>
            </c:ext>
          </c:extLst>
        </c:ser>
        <c:ser>
          <c:idx val="15"/>
          <c:order val="15"/>
          <c:tx>
            <c:strRef>
              <c:f>'СВ регионы,12.23'!$Q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4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</c:v>
                </c:pt>
                <c:pt idx="2">
                  <c:v>Ақмола обл.</c:v>
                </c:pt>
                <c:pt idx="3">
                  <c:v>Абай обл.</c:v>
                </c:pt>
                <c:pt idx="4">
                  <c:v>Павлодар обл.</c:v>
                </c:pt>
                <c:pt idx="5">
                  <c:v>ШҚО</c:v>
                </c:pt>
                <c:pt idx="6">
                  <c:v>Қостанай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Маңғыстау обл.</c:v>
                </c:pt>
                <c:pt idx="12">
                  <c:v>Атырау обл.</c:v>
                </c:pt>
                <c:pt idx="13">
                  <c:v>Ақтөбе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Q$4:$Q$23</c:f>
            </c:numRef>
          </c:val>
          <c:extLst>
            <c:ext xmlns:c16="http://schemas.microsoft.com/office/drawing/2014/chart" uri="{C3380CC4-5D6E-409C-BE32-E72D297353CC}">
              <c16:uniqueId val="{0000000F-E0C1-4A76-A521-9E96AD8CEF47}"/>
            </c:ext>
          </c:extLst>
        </c:ser>
        <c:ser>
          <c:idx val="16"/>
          <c:order val="16"/>
          <c:tx>
            <c:strRef>
              <c:f>'СВ регионы,12.23'!$R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5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</c:v>
                </c:pt>
                <c:pt idx="2">
                  <c:v>Ақмола обл.</c:v>
                </c:pt>
                <c:pt idx="3">
                  <c:v>Абай обл.</c:v>
                </c:pt>
                <c:pt idx="4">
                  <c:v>Павлодар обл.</c:v>
                </c:pt>
                <c:pt idx="5">
                  <c:v>ШҚО</c:v>
                </c:pt>
                <c:pt idx="6">
                  <c:v>Қостанай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Маңғыстау обл.</c:v>
                </c:pt>
                <c:pt idx="12">
                  <c:v>Атырау обл.</c:v>
                </c:pt>
                <c:pt idx="13">
                  <c:v>Ақтөбе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R$4:$R$23</c:f>
            </c:numRef>
          </c:val>
          <c:extLst>
            <c:ext xmlns:c16="http://schemas.microsoft.com/office/drawing/2014/chart" uri="{C3380CC4-5D6E-409C-BE32-E72D297353CC}">
              <c16:uniqueId val="{00000010-E0C1-4A76-A521-9E96AD8CEF47}"/>
            </c:ext>
          </c:extLst>
        </c:ser>
        <c:ser>
          <c:idx val="17"/>
          <c:order val="17"/>
          <c:tx>
            <c:strRef>
              <c:f>'СВ регионы,12.23'!$S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6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</c:v>
                </c:pt>
                <c:pt idx="2">
                  <c:v>Ақмола обл.</c:v>
                </c:pt>
                <c:pt idx="3">
                  <c:v>Абай обл.</c:v>
                </c:pt>
                <c:pt idx="4">
                  <c:v>Павлодар обл.</c:v>
                </c:pt>
                <c:pt idx="5">
                  <c:v>ШҚО</c:v>
                </c:pt>
                <c:pt idx="6">
                  <c:v>Қостанай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Маңғыстау обл.</c:v>
                </c:pt>
                <c:pt idx="12">
                  <c:v>Атырау обл.</c:v>
                </c:pt>
                <c:pt idx="13">
                  <c:v>Ақтөбе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S$4:$S$23</c:f>
            </c:numRef>
          </c:val>
          <c:extLst>
            <c:ext xmlns:c16="http://schemas.microsoft.com/office/drawing/2014/chart" uri="{C3380CC4-5D6E-409C-BE32-E72D297353CC}">
              <c16:uniqueId val="{00000011-E0C1-4A76-A521-9E96AD8CEF47}"/>
            </c:ext>
          </c:extLst>
        </c:ser>
        <c:ser>
          <c:idx val="18"/>
          <c:order val="18"/>
          <c:tx>
            <c:strRef>
              <c:f>'СВ регионы,12.23'!$T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1">
                <a:lumMod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</c:v>
                </c:pt>
                <c:pt idx="2">
                  <c:v>Ақмола обл.</c:v>
                </c:pt>
                <c:pt idx="3">
                  <c:v>Абай обл.</c:v>
                </c:pt>
                <c:pt idx="4">
                  <c:v>Павлодар обл.</c:v>
                </c:pt>
                <c:pt idx="5">
                  <c:v>ШҚО</c:v>
                </c:pt>
                <c:pt idx="6">
                  <c:v>Қостанай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Маңғыстау обл.</c:v>
                </c:pt>
                <c:pt idx="12">
                  <c:v>Атырау обл.</c:v>
                </c:pt>
                <c:pt idx="13">
                  <c:v>Ақтөбе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T$4:$T$23</c:f>
            </c:numRef>
          </c:val>
          <c:extLst>
            <c:ext xmlns:c16="http://schemas.microsoft.com/office/drawing/2014/chart" uri="{C3380CC4-5D6E-409C-BE32-E72D297353CC}">
              <c16:uniqueId val="{00000012-E0C1-4A76-A521-9E96AD8CEF47}"/>
            </c:ext>
          </c:extLst>
        </c:ser>
        <c:ser>
          <c:idx val="19"/>
          <c:order val="19"/>
          <c:tx>
            <c:strRef>
              <c:f>'СВ регионы,12.23'!$U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2">
                <a:lumMod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</c:v>
                </c:pt>
                <c:pt idx="2">
                  <c:v>Ақмола обл.</c:v>
                </c:pt>
                <c:pt idx="3">
                  <c:v>Абай обл.</c:v>
                </c:pt>
                <c:pt idx="4">
                  <c:v>Павлодар обл.</c:v>
                </c:pt>
                <c:pt idx="5">
                  <c:v>ШҚО</c:v>
                </c:pt>
                <c:pt idx="6">
                  <c:v>Қостанай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Маңғыстау обл.</c:v>
                </c:pt>
                <c:pt idx="12">
                  <c:v>Атырау обл.</c:v>
                </c:pt>
                <c:pt idx="13">
                  <c:v>Ақтөбе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U$4:$U$23</c:f>
            </c:numRef>
          </c:val>
          <c:extLst>
            <c:ext xmlns:c16="http://schemas.microsoft.com/office/drawing/2014/chart" uri="{C3380CC4-5D6E-409C-BE32-E72D297353CC}">
              <c16:uniqueId val="{00000013-E0C1-4A76-A521-9E96AD8CEF47}"/>
            </c:ext>
          </c:extLst>
        </c:ser>
        <c:ser>
          <c:idx val="20"/>
          <c:order val="20"/>
          <c:tx>
            <c:strRef>
              <c:f>'СВ регионы,12.23'!$V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3">
                <a:lumMod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</c:v>
                </c:pt>
                <c:pt idx="2">
                  <c:v>Ақмола обл.</c:v>
                </c:pt>
                <c:pt idx="3">
                  <c:v>Абай обл.</c:v>
                </c:pt>
                <c:pt idx="4">
                  <c:v>Павлодар обл.</c:v>
                </c:pt>
                <c:pt idx="5">
                  <c:v>ШҚО</c:v>
                </c:pt>
                <c:pt idx="6">
                  <c:v>Қостанай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Маңғыстау обл.</c:v>
                </c:pt>
                <c:pt idx="12">
                  <c:v>Атырау обл.</c:v>
                </c:pt>
                <c:pt idx="13">
                  <c:v>Ақтөбе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V$4:$V$23</c:f>
            </c:numRef>
          </c:val>
          <c:extLst>
            <c:ext xmlns:c16="http://schemas.microsoft.com/office/drawing/2014/chart" uri="{C3380CC4-5D6E-409C-BE32-E72D297353CC}">
              <c16:uniqueId val="{00000014-E0C1-4A76-A521-9E96AD8CEF47}"/>
            </c:ext>
          </c:extLst>
        </c:ser>
        <c:ser>
          <c:idx val="21"/>
          <c:order val="21"/>
          <c:tx>
            <c:strRef>
              <c:f>'СВ регионы,12.23'!$W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4">
                <a:lumMod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</c:v>
                </c:pt>
                <c:pt idx="2">
                  <c:v>Ақмола обл.</c:v>
                </c:pt>
                <c:pt idx="3">
                  <c:v>Абай обл.</c:v>
                </c:pt>
                <c:pt idx="4">
                  <c:v>Павлодар обл.</c:v>
                </c:pt>
                <c:pt idx="5">
                  <c:v>ШҚО</c:v>
                </c:pt>
                <c:pt idx="6">
                  <c:v>Қостанай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Маңғыстау обл.</c:v>
                </c:pt>
                <c:pt idx="12">
                  <c:v>Атырау обл.</c:v>
                </c:pt>
                <c:pt idx="13">
                  <c:v>Ақтөбе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W$4:$W$23</c:f>
            </c:numRef>
          </c:val>
          <c:extLst>
            <c:ext xmlns:c16="http://schemas.microsoft.com/office/drawing/2014/chart" uri="{C3380CC4-5D6E-409C-BE32-E72D297353CC}">
              <c16:uniqueId val="{00000015-E0C1-4A76-A521-9E96AD8CEF47}"/>
            </c:ext>
          </c:extLst>
        </c:ser>
        <c:ser>
          <c:idx val="22"/>
          <c:order val="22"/>
          <c:tx>
            <c:strRef>
              <c:f>'СВ регионы,12.23'!$X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5">
                <a:lumMod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</c:v>
                </c:pt>
                <c:pt idx="2">
                  <c:v>Ақмола обл.</c:v>
                </c:pt>
                <c:pt idx="3">
                  <c:v>Абай обл.</c:v>
                </c:pt>
                <c:pt idx="4">
                  <c:v>Павлодар обл.</c:v>
                </c:pt>
                <c:pt idx="5">
                  <c:v>ШҚО</c:v>
                </c:pt>
                <c:pt idx="6">
                  <c:v>Қостанай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Маңғыстау обл.</c:v>
                </c:pt>
                <c:pt idx="12">
                  <c:v>Атырау обл.</c:v>
                </c:pt>
                <c:pt idx="13">
                  <c:v>Ақтөбе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X$4:$X$23</c:f>
            </c:numRef>
          </c:val>
          <c:extLst>
            <c:ext xmlns:c16="http://schemas.microsoft.com/office/drawing/2014/chart" uri="{C3380CC4-5D6E-409C-BE32-E72D297353CC}">
              <c16:uniqueId val="{00000016-E0C1-4A76-A521-9E96AD8CEF47}"/>
            </c:ext>
          </c:extLst>
        </c:ser>
        <c:ser>
          <c:idx val="23"/>
          <c:order val="23"/>
          <c:tx>
            <c:strRef>
              <c:f>'СВ регионы,12.23'!$Y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6">
                <a:lumMod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</c:v>
                </c:pt>
                <c:pt idx="2">
                  <c:v>Ақмола обл.</c:v>
                </c:pt>
                <c:pt idx="3">
                  <c:v>Абай обл.</c:v>
                </c:pt>
                <c:pt idx="4">
                  <c:v>Павлодар обл.</c:v>
                </c:pt>
                <c:pt idx="5">
                  <c:v>ШҚО</c:v>
                </c:pt>
                <c:pt idx="6">
                  <c:v>Қостанай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Маңғыстау обл.</c:v>
                </c:pt>
                <c:pt idx="12">
                  <c:v>Атырау обл.</c:v>
                </c:pt>
                <c:pt idx="13">
                  <c:v>Ақтөбе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Y$4:$Y$23</c:f>
            </c:numRef>
          </c:val>
          <c:extLst>
            <c:ext xmlns:c16="http://schemas.microsoft.com/office/drawing/2014/chart" uri="{C3380CC4-5D6E-409C-BE32-E72D297353CC}">
              <c16:uniqueId val="{00000017-E0C1-4A76-A521-9E96AD8CEF47}"/>
            </c:ext>
          </c:extLst>
        </c:ser>
        <c:ser>
          <c:idx val="24"/>
          <c:order val="24"/>
          <c:tx>
            <c:strRef>
              <c:f>'СВ регионы,12.23'!$Z$3</c:f>
              <c:strCache>
                <c:ptCount val="1"/>
                <c:pt idx="0">
                  <c:v>число получателей (человек)*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</c:v>
                </c:pt>
                <c:pt idx="2">
                  <c:v>Ақмола обл.</c:v>
                </c:pt>
                <c:pt idx="3">
                  <c:v>Абай обл.</c:v>
                </c:pt>
                <c:pt idx="4">
                  <c:v>Павлодар обл.</c:v>
                </c:pt>
                <c:pt idx="5">
                  <c:v>ШҚО</c:v>
                </c:pt>
                <c:pt idx="6">
                  <c:v>Қостанай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Маңғыстау обл.</c:v>
                </c:pt>
                <c:pt idx="12">
                  <c:v>Атырау обл.</c:v>
                </c:pt>
                <c:pt idx="13">
                  <c:v>Ақтөбе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Z$4:$Z$23</c:f>
            </c:numRef>
          </c:val>
          <c:extLst>
            <c:ext xmlns:c16="http://schemas.microsoft.com/office/drawing/2014/chart" uri="{C3380CC4-5D6E-409C-BE32-E72D297353CC}">
              <c16:uniqueId val="{00000018-E0C1-4A76-A521-9E96AD8CEF47}"/>
            </c:ext>
          </c:extLst>
        </c:ser>
        <c:ser>
          <c:idx val="25"/>
          <c:order val="25"/>
          <c:tx>
            <c:strRef>
              <c:f>'СВ регионы,12.23'!$AA$3</c:f>
              <c:strCache>
                <c:ptCount val="1"/>
                <c:pt idx="0">
                  <c:v>сумма выплаченных СВ (тенге)**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</c:v>
                </c:pt>
                <c:pt idx="2">
                  <c:v>Ақмола обл.</c:v>
                </c:pt>
                <c:pt idx="3">
                  <c:v>Абай обл.</c:v>
                </c:pt>
                <c:pt idx="4">
                  <c:v>Павлодар обл.</c:v>
                </c:pt>
                <c:pt idx="5">
                  <c:v>ШҚО</c:v>
                </c:pt>
                <c:pt idx="6">
                  <c:v>Қостанай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Маңғыстау обл.</c:v>
                </c:pt>
                <c:pt idx="12">
                  <c:v>Атырау обл.</c:v>
                </c:pt>
                <c:pt idx="13">
                  <c:v>Ақтөбе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AA$4:$AA$23</c:f>
            </c:numRef>
          </c:val>
          <c:extLst>
            <c:ext xmlns:c16="http://schemas.microsoft.com/office/drawing/2014/chart" uri="{C3380CC4-5D6E-409C-BE32-E72D297353CC}">
              <c16:uniqueId val="{00000019-E0C1-4A76-A521-9E96AD8CEF47}"/>
            </c:ext>
          </c:extLst>
        </c:ser>
        <c:ser>
          <c:idx val="26"/>
          <c:order val="26"/>
          <c:tx>
            <c:strRef>
              <c:f>'СВ регионы,12.23'!$AB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</c:v>
                </c:pt>
                <c:pt idx="2">
                  <c:v>Ақмола обл.</c:v>
                </c:pt>
                <c:pt idx="3">
                  <c:v>Абай обл.</c:v>
                </c:pt>
                <c:pt idx="4">
                  <c:v>Павлодар обл.</c:v>
                </c:pt>
                <c:pt idx="5">
                  <c:v>ШҚО</c:v>
                </c:pt>
                <c:pt idx="6">
                  <c:v>Қостанай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Маңғыстау обл.</c:v>
                </c:pt>
                <c:pt idx="12">
                  <c:v>Атырау обл.</c:v>
                </c:pt>
                <c:pt idx="13">
                  <c:v>Ақтөбе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AB$4:$AB$23</c:f>
            </c:numRef>
          </c:val>
          <c:extLst>
            <c:ext xmlns:c16="http://schemas.microsoft.com/office/drawing/2014/chart" uri="{C3380CC4-5D6E-409C-BE32-E72D297353CC}">
              <c16:uniqueId val="{0000001A-E0C1-4A76-A521-9E96AD8CEF47}"/>
            </c:ext>
          </c:extLst>
        </c:ser>
        <c:ser>
          <c:idx val="27"/>
          <c:order val="27"/>
          <c:tx>
            <c:strRef>
              <c:f>'СВ регионы,12.23'!$AC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</c:v>
                </c:pt>
                <c:pt idx="2">
                  <c:v>Ақмола обл.</c:v>
                </c:pt>
                <c:pt idx="3">
                  <c:v>Абай обл.</c:v>
                </c:pt>
                <c:pt idx="4">
                  <c:v>Павлодар обл.</c:v>
                </c:pt>
                <c:pt idx="5">
                  <c:v>ШҚО</c:v>
                </c:pt>
                <c:pt idx="6">
                  <c:v>Қостанай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Маңғыстау обл.</c:v>
                </c:pt>
                <c:pt idx="12">
                  <c:v>Атырау обл.</c:v>
                </c:pt>
                <c:pt idx="13">
                  <c:v>Ақтөбе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AC$4:$AC$23</c:f>
            </c:numRef>
          </c:val>
          <c:extLst>
            <c:ext xmlns:c16="http://schemas.microsoft.com/office/drawing/2014/chart" uri="{C3380CC4-5D6E-409C-BE32-E72D297353CC}">
              <c16:uniqueId val="{0000001B-E0C1-4A76-A521-9E96AD8CEF47}"/>
            </c:ext>
          </c:extLst>
        </c:ser>
        <c:ser>
          <c:idx val="28"/>
          <c:order val="28"/>
          <c:tx>
            <c:strRef>
              <c:f>'СВ регионы,12.23'!$AD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</c:v>
                </c:pt>
                <c:pt idx="2">
                  <c:v>Ақмола обл.</c:v>
                </c:pt>
                <c:pt idx="3">
                  <c:v>Абай обл.</c:v>
                </c:pt>
                <c:pt idx="4">
                  <c:v>Павлодар обл.</c:v>
                </c:pt>
                <c:pt idx="5">
                  <c:v>ШҚО</c:v>
                </c:pt>
                <c:pt idx="6">
                  <c:v>Қостанай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Маңғыстау обл.</c:v>
                </c:pt>
                <c:pt idx="12">
                  <c:v>Атырау обл.</c:v>
                </c:pt>
                <c:pt idx="13">
                  <c:v>Ақтөбе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AD$4:$AD$23</c:f>
            </c:numRef>
          </c:val>
          <c:extLst>
            <c:ext xmlns:c16="http://schemas.microsoft.com/office/drawing/2014/chart" uri="{C3380CC4-5D6E-409C-BE32-E72D297353CC}">
              <c16:uniqueId val="{0000001C-E0C1-4A76-A521-9E96AD8CEF47}"/>
            </c:ext>
          </c:extLst>
        </c:ser>
        <c:ser>
          <c:idx val="29"/>
          <c:order val="29"/>
          <c:tx>
            <c:strRef>
              <c:f>'СВ регионы,12.23'!$AE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</c:v>
                </c:pt>
                <c:pt idx="2">
                  <c:v>Ақмола обл.</c:v>
                </c:pt>
                <c:pt idx="3">
                  <c:v>Абай обл.</c:v>
                </c:pt>
                <c:pt idx="4">
                  <c:v>Павлодар обл.</c:v>
                </c:pt>
                <c:pt idx="5">
                  <c:v>ШҚО</c:v>
                </c:pt>
                <c:pt idx="6">
                  <c:v>Қостанай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Маңғыстау обл.</c:v>
                </c:pt>
                <c:pt idx="12">
                  <c:v>Атырау обл.</c:v>
                </c:pt>
                <c:pt idx="13">
                  <c:v>Ақтөбе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AE$4:$AE$23</c:f>
            </c:numRef>
          </c:val>
          <c:extLst>
            <c:ext xmlns:c16="http://schemas.microsoft.com/office/drawing/2014/chart" uri="{C3380CC4-5D6E-409C-BE32-E72D297353CC}">
              <c16:uniqueId val="{0000001D-E0C1-4A76-A521-9E96AD8CEF47}"/>
            </c:ext>
          </c:extLst>
        </c:ser>
        <c:ser>
          <c:idx val="30"/>
          <c:order val="30"/>
          <c:tx>
            <c:strRef>
              <c:f>'СВ регионы,12.23'!$AF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</c:v>
                </c:pt>
                <c:pt idx="2">
                  <c:v>Ақмола обл.</c:v>
                </c:pt>
                <c:pt idx="3">
                  <c:v>Абай обл.</c:v>
                </c:pt>
                <c:pt idx="4">
                  <c:v>Павлодар обл.</c:v>
                </c:pt>
                <c:pt idx="5">
                  <c:v>ШҚО</c:v>
                </c:pt>
                <c:pt idx="6">
                  <c:v>Қостанай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Маңғыстау обл.</c:v>
                </c:pt>
                <c:pt idx="12">
                  <c:v>Атырау обл.</c:v>
                </c:pt>
                <c:pt idx="13">
                  <c:v>Ақтөбе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AF$4:$AF$23</c:f>
            </c:numRef>
          </c:val>
          <c:extLst>
            <c:ext xmlns:c16="http://schemas.microsoft.com/office/drawing/2014/chart" uri="{C3380CC4-5D6E-409C-BE32-E72D297353CC}">
              <c16:uniqueId val="{0000001E-E0C1-4A76-A521-9E96AD8CEF47}"/>
            </c:ext>
          </c:extLst>
        </c:ser>
        <c:ser>
          <c:idx val="31"/>
          <c:order val="31"/>
          <c:tx>
            <c:strRef>
              <c:f>'СВ регионы,12.23'!$AG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</c:v>
                </c:pt>
                <c:pt idx="2">
                  <c:v>Ақмола обл.</c:v>
                </c:pt>
                <c:pt idx="3">
                  <c:v>Абай обл.</c:v>
                </c:pt>
                <c:pt idx="4">
                  <c:v>Павлодар обл.</c:v>
                </c:pt>
                <c:pt idx="5">
                  <c:v>ШҚО</c:v>
                </c:pt>
                <c:pt idx="6">
                  <c:v>Қостанай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Маңғыстау обл.</c:v>
                </c:pt>
                <c:pt idx="12">
                  <c:v>Атырау обл.</c:v>
                </c:pt>
                <c:pt idx="13">
                  <c:v>Ақтөбе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AG$4:$AG$23</c:f>
            </c:numRef>
          </c:val>
          <c:extLst>
            <c:ext xmlns:c16="http://schemas.microsoft.com/office/drawing/2014/chart" uri="{C3380CC4-5D6E-409C-BE32-E72D297353CC}">
              <c16:uniqueId val="{0000001F-E0C1-4A76-A521-9E96AD8CEF47}"/>
            </c:ext>
          </c:extLst>
        </c:ser>
        <c:ser>
          <c:idx val="32"/>
          <c:order val="32"/>
          <c:tx>
            <c:strRef>
              <c:f>'СВ регионы,12.23'!$AH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</c:v>
                </c:pt>
                <c:pt idx="2">
                  <c:v>Ақмола обл.</c:v>
                </c:pt>
                <c:pt idx="3">
                  <c:v>Абай обл.</c:v>
                </c:pt>
                <c:pt idx="4">
                  <c:v>Павлодар обл.</c:v>
                </c:pt>
                <c:pt idx="5">
                  <c:v>ШҚО</c:v>
                </c:pt>
                <c:pt idx="6">
                  <c:v>Қостанай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Маңғыстау обл.</c:v>
                </c:pt>
                <c:pt idx="12">
                  <c:v>Атырау обл.</c:v>
                </c:pt>
                <c:pt idx="13">
                  <c:v>Ақтөбе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AH$4:$AH$23</c:f>
            </c:numRef>
          </c:val>
          <c:extLst>
            <c:ext xmlns:c16="http://schemas.microsoft.com/office/drawing/2014/chart" uri="{C3380CC4-5D6E-409C-BE32-E72D297353CC}">
              <c16:uniqueId val="{00000020-E0C1-4A76-A521-9E96AD8CEF47}"/>
            </c:ext>
          </c:extLst>
        </c:ser>
        <c:ser>
          <c:idx val="33"/>
          <c:order val="33"/>
          <c:tx>
            <c:strRef>
              <c:f>'СВ регионы,12.23'!$AI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4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</c:v>
                </c:pt>
                <c:pt idx="2">
                  <c:v>Ақмола обл.</c:v>
                </c:pt>
                <c:pt idx="3">
                  <c:v>Абай обл.</c:v>
                </c:pt>
                <c:pt idx="4">
                  <c:v>Павлодар обл.</c:v>
                </c:pt>
                <c:pt idx="5">
                  <c:v>ШҚО</c:v>
                </c:pt>
                <c:pt idx="6">
                  <c:v>Қостанай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Маңғыстау обл.</c:v>
                </c:pt>
                <c:pt idx="12">
                  <c:v>Атырау обл.</c:v>
                </c:pt>
                <c:pt idx="13">
                  <c:v>Ақтөбе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AI$4:$AI$23</c:f>
            </c:numRef>
          </c:val>
          <c:extLst>
            <c:ext xmlns:c16="http://schemas.microsoft.com/office/drawing/2014/chart" uri="{C3380CC4-5D6E-409C-BE32-E72D297353CC}">
              <c16:uniqueId val="{00000021-E0C1-4A76-A521-9E96AD8CEF47}"/>
            </c:ext>
          </c:extLst>
        </c:ser>
        <c:ser>
          <c:idx val="34"/>
          <c:order val="34"/>
          <c:tx>
            <c:strRef>
              <c:f>'СВ регионы,12.23'!$AJ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</c:v>
                </c:pt>
                <c:pt idx="2">
                  <c:v>Ақмола обл.</c:v>
                </c:pt>
                <c:pt idx="3">
                  <c:v>Абай обл.</c:v>
                </c:pt>
                <c:pt idx="4">
                  <c:v>Павлодар обл.</c:v>
                </c:pt>
                <c:pt idx="5">
                  <c:v>ШҚО</c:v>
                </c:pt>
                <c:pt idx="6">
                  <c:v>Қостанай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Маңғыстау обл.</c:v>
                </c:pt>
                <c:pt idx="12">
                  <c:v>Атырау обл.</c:v>
                </c:pt>
                <c:pt idx="13">
                  <c:v>Ақтөбе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AJ$4:$AJ$23</c:f>
            </c:numRef>
          </c:val>
          <c:extLst>
            <c:ext xmlns:c16="http://schemas.microsoft.com/office/drawing/2014/chart" uri="{C3380CC4-5D6E-409C-BE32-E72D297353CC}">
              <c16:uniqueId val="{00000022-E0C1-4A76-A521-9E96AD8CEF47}"/>
            </c:ext>
          </c:extLst>
        </c:ser>
        <c:ser>
          <c:idx val="35"/>
          <c:order val="35"/>
          <c:tx>
            <c:strRef>
              <c:f>'СВ регионы,12.23'!$AK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6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</c:v>
                </c:pt>
                <c:pt idx="2">
                  <c:v>Ақмола обл.</c:v>
                </c:pt>
                <c:pt idx="3">
                  <c:v>Абай обл.</c:v>
                </c:pt>
                <c:pt idx="4">
                  <c:v>Павлодар обл.</c:v>
                </c:pt>
                <c:pt idx="5">
                  <c:v>ШҚО</c:v>
                </c:pt>
                <c:pt idx="6">
                  <c:v>Қостанай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Маңғыстау обл.</c:v>
                </c:pt>
                <c:pt idx="12">
                  <c:v>Атырау обл.</c:v>
                </c:pt>
                <c:pt idx="13">
                  <c:v>Ақтөбе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AK$4:$AK$23</c:f>
            </c:numRef>
          </c:val>
          <c:extLst>
            <c:ext xmlns:c16="http://schemas.microsoft.com/office/drawing/2014/chart" uri="{C3380CC4-5D6E-409C-BE32-E72D297353CC}">
              <c16:uniqueId val="{00000023-E0C1-4A76-A521-9E96AD8CEF47}"/>
            </c:ext>
          </c:extLst>
        </c:ser>
        <c:ser>
          <c:idx val="36"/>
          <c:order val="36"/>
          <c:tx>
            <c:strRef>
              <c:f>'СВ регионы,12.23'!$AL$3</c:f>
              <c:strCache>
                <c:ptCount val="1"/>
                <c:pt idx="0">
                  <c:v>ӘТ алушылар (мың адам)*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4.3455817789958225E-2"/>
                  <c:y val="-1.8675272389389913E-16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4-E0C1-4A76-A521-9E96AD8CEF47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</c:v>
                </c:pt>
                <c:pt idx="2">
                  <c:v>Ақмола обл.</c:v>
                </c:pt>
                <c:pt idx="3">
                  <c:v>Абай обл.</c:v>
                </c:pt>
                <c:pt idx="4">
                  <c:v>Павлодар обл.</c:v>
                </c:pt>
                <c:pt idx="5">
                  <c:v>ШҚО</c:v>
                </c:pt>
                <c:pt idx="6">
                  <c:v>Қостанай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Маңғыстау обл.</c:v>
                </c:pt>
                <c:pt idx="12">
                  <c:v>Атырау обл.</c:v>
                </c:pt>
                <c:pt idx="13">
                  <c:v>Ақтөбе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AL$4:$AL$23</c:f>
              <c:numCache>
                <c:formatCode>_(* #\ ##0.0_);_(* \(#\ ##0.0\);_(* "-"??_);_(@_)</c:formatCode>
                <c:ptCount val="20"/>
                <c:pt idx="0">
                  <c:v>18.600000000000001</c:v>
                </c:pt>
                <c:pt idx="1">
                  <c:v>22.9</c:v>
                </c:pt>
                <c:pt idx="2">
                  <c:v>41.4</c:v>
                </c:pt>
                <c:pt idx="3">
                  <c:v>40</c:v>
                </c:pt>
                <c:pt idx="4">
                  <c:v>41.6</c:v>
                </c:pt>
                <c:pt idx="5">
                  <c:v>41</c:v>
                </c:pt>
                <c:pt idx="6">
                  <c:v>43.2</c:v>
                </c:pt>
                <c:pt idx="7">
                  <c:v>43.2</c:v>
                </c:pt>
                <c:pt idx="8">
                  <c:v>55.3</c:v>
                </c:pt>
                <c:pt idx="9">
                  <c:v>71.900000000000006</c:v>
                </c:pt>
                <c:pt idx="10">
                  <c:v>70.099999999999994</c:v>
                </c:pt>
                <c:pt idx="11">
                  <c:v>75.8</c:v>
                </c:pt>
                <c:pt idx="12">
                  <c:v>72.7</c:v>
                </c:pt>
                <c:pt idx="13">
                  <c:v>76.7</c:v>
                </c:pt>
                <c:pt idx="14">
                  <c:v>80.5</c:v>
                </c:pt>
                <c:pt idx="15">
                  <c:v>92.9</c:v>
                </c:pt>
                <c:pt idx="16">
                  <c:v>100.2</c:v>
                </c:pt>
                <c:pt idx="17">
                  <c:v>115.6</c:v>
                </c:pt>
                <c:pt idx="18">
                  <c:v>128.6</c:v>
                </c:pt>
                <c:pt idx="19">
                  <c:v>149.8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5-E0C1-4A76-A521-9E96AD8CEF47}"/>
            </c:ext>
          </c:extLst>
        </c:ser>
        <c:ser>
          <c:idx val="37"/>
          <c:order val="37"/>
          <c:tx>
            <c:strRef>
              <c:f>'СВ регионы,12.23'!$AM$3</c:f>
              <c:strCache>
                <c:ptCount val="1"/>
                <c:pt idx="0">
                  <c:v>жаңа тағайындаулар (мың адам)*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 обл.</c:v>
                </c:pt>
                <c:pt idx="1">
                  <c:v>СҚО</c:v>
                </c:pt>
                <c:pt idx="2">
                  <c:v>Ақмола обл.</c:v>
                </c:pt>
                <c:pt idx="3">
                  <c:v>Абай обл.</c:v>
                </c:pt>
                <c:pt idx="4">
                  <c:v>Павлодар обл.</c:v>
                </c:pt>
                <c:pt idx="5">
                  <c:v>ШҚО</c:v>
                </c:pt>
                <c:pt idx="6">
                  <c:v>Қостанай обл.</c:v>
                </c:pt>
                <c:pt idx="7">
                  <c:v>Жетісу обл.</c:v>
                </c:pt>
                <c:pt idx="8">
                  <c:v>БҚО</c:v>
                </c:pt>
                <c:pt idx="9">
                  <c:v>Қарағанды обл.</c:v>
                </c:pt>
                <c:pt idx="10">
                  <c:v>Қызылорда обл.</c:v>
                </c:pt>
                <c:pt idx="11">
                  <c:v>Маңғыстау обл.</c:v>
                </c:pt>
                <c:pt idx="12">
                  <c:v>Атырау обл.</c:v>
                </c:pt>
                <c:pt idx="13">
                  <c:v>Ақтөбе обл.</c:v>
                </c:pt>
                <c:pt idx="14">
                  <c:v>Жамбыл обл.</c:v>
                </c:pt>
                <c:pt idx="15">
                  <c:v>Шымкент қ.</c:v>
                </c:pt>
                <c:pt idx="16">
                  <c:v>Алматы обл.</c:v>
                </c:pt>
                <c:pt idx="17">
                  <c:v>Астана қ.</c:v>
                </c:pt>
                <c:pt idx="18">
                  <c:v>Алматы қ.</c:v>
                </c:pt>
                <c:pt idx="19">
                  <c:v>Түркістан обл.</c:v>
                </c:pt>
              </c:strCache>
            </c:strRef>
          </c:cat>
          <c:val>
            <c:numRef>
              <c:f>'СВ регионы,12.23'!$AM$4:$AM$23</c:f>
              <c:numCache>
                <c:formatCode>_(* #\ ##0.0_);_(* \(#\ ##0.0\);_(* "-"??_);_(@_)</c:formatCode>
                <c:ptCount val="20"/>
                <c:pt idx="0">
                  <c:v>9</c:v>
                </c:pt>
                <c:pt idx="1">
                  <c:v>12.3</c:v>
                </c:pt>
                <c:pt idx="2">
                  <c:v>21.7</c:v>
                </c:pt>
                <c:pt idx="3">
                  <c:v>22.9</c:v>
                </c:pt>
                <c:pt idx="4">
                  <c:v>23.4</c:v>
                </c:pt>
                <c:pt idx="5">
                  <c:v>23.9</c:v>
                </c:pt>
                <c:pt idx="6">
                  <c:v>24.8</c:v>
                </c:pt>
                <c:pt idx="7">
                  <c:v>24.7</c:v>
                </c:pt>
                <c:pt idx="8">
                  <c:v>34.1</c:v>
                </c:pt>
                <c:pt idx="9">
                  <c:v>36.9</c:v>
                </c:pt>
                <c:pt idx="10">
                  <c:v>41.3</c:v>
                </c:pt>
                <c:pt idx="11">
                  <c:v>42.9</c:v>
                </c:pt>
                <c:pt idx="12">
                  <c:v>43.1</c:v>
                </c:pt>
                <c:pt idx="13">
                  <c:v>44.5</c:v>
                </c:pt>
                <c:pt idx="14">
                  <c:v>46.1</c:v>
                </c:pt>
                <c:pt idx="15">
                  <c:v>52.3</c:v>
                </c:pt>
                <c:pt idx="16">
                  <c:v>56.9</c:v>
                </c:pt>
                <c:pt idx="17">
                  <c:v>67.900000000000006</c:v>
                </c:pt>
                <c:pt idx="18">
                  <c:v>73.3</c:v>
                </c:pt>
                <c:pt idx="19">
                  <c:v>85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6-E0C1-4A76-A521-9E96AD8CEF4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771871471"/>
        <c:axId val="918331279"/>
      </c:barChart>
      <c:catAx>
        <c:axId val="7718714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ru-RU"/>
          </a:p>
        </c:txPr>
        <c:crossAx val="918331279"/>
        <c:crosses val="autoZero"/>
        <c:auto val="1"/>
        <c:lblAlgn val="ctr"/>
        <c:lblOffset val="100"/>
        <c:noMultiLvlLbl val="0"/>
      </c:catAx>
      <c:valAx>
        <c:axId val="918331279"/>
        <c:scaling>
          <c:orientation val="minMax"/>
          <c:max val="150"/>
          <c:min val="0"/>
        </c:scaling>
        <c:delete val="1"/>
        <c:axPos val="b"/>
        <c:numFmt formatCode="_(* #\ ##0.0_);_(* \(#\ ##0.0\);_(* &quot;-&quot;??_);_(@_)" sourceLinked="1"/>
        <c:majorTickMark val="none"/>
        <c:minorTickMark val="none"/>
        <c:tickLblPos val="nextTo"/>
        <c:crossAx val="77187147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lang="ru-KZ" sz="800" b="1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376096759659994E-2"/>
          <c:y val="7.472254508090842E-2"/>
          <c:w val="0.90595975145280083"/>
          <c:h val="0.6460376458279734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Доля получателей УТ    (2)'!$B$11</c:f>
              <c:strCache>
                <c:ptCount val="1"/>
                <c:pt idx="0">
                  <c:v>алушылар саны (адам)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3.9477283661026753E-3"/>
                  <c:y val="0.34031920487081874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C95-433E-9AFE-080EBAC3930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Доля получателей УТ    (2)'!$C$10:$E$10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'Доля получателей УТ    (2)'!$C$11:$E$11</c:f>
              <c:numCache>
                <c:formatCode>#,##0</c:formatCode>
                <c:ptCount val="3"/>
                <c:pt idx="0">
                  <c:v>97645</c:v>
                </c:pt>
                <c:pt idx="1">
                  <c:v>100248</c:v>
                </c:pt>
                <c:pt idx="2">
                  <c:v>1023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7BB-4DBA-A76D-A24836B7FEF2}"/>
            </c:ext>
          </c:extLst>
        </c:ser>
        <c:ser>
          <c:idx val="1"/>
          <c:order val="1"/>
          <c:tx>
            <c:strRef>
              <c:f>'Доля получателей УТ    (2)'!$B$12</c:f>
              <c:strCache>
                <c:ptCount val="1"/>
                <c:pt idx="0">
                  <c:v>кол-во новых назначений (человек)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Доля получателей УТ    (2)'!$C$10:$E$10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'Доля получателей УТ    (2)'!$C$12:$E$12</c:f>
            </c:numRef>
          </c:val>
          <c:extLst>
            <c:ext xmlns:c16="http://schemas.microsoft.com/office/drawing/2014/chart" uri="{C3380CC4-5D6E-409C-BE32-E72D297353CC}">
              <c16:uniqueId val="{00000001-57BB-4DBA-A76D-A24836B7FEF2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1009859535"/>
        <c:axId val="917665151"/>
      </c:barChart>
      <c:lineChart>
        <c:grouping val="standard"/>
        <c:varyColors val="0"/>
        <c:ser>
          <c:idx val="2"/>
          <c:order val="2"/>
          <c:tx>
            <c:strRef>
              <c:f>'Доля получателей УТ    (2)'!$B$13</c:f>
              <c:strCache>
                <c:ptCount val="1"/>
                <c:pt idx="0">
                  <c:v>төлемдер сомасы (млрд.теңге)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diamond"/>
            <c:size val="5"/>
            <c:spPr>
              <a:solidFill>
                <a:srgbClr val="FFC000"/>
              </a:solidFill>
              <a:ln w="9525">
                <a:solidFill>
                  <a:srgbClr val="FFC00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8055555555555554E-2"/>
                  <c:y val="-5.833333333333335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7BB-4DBA-A76D-A24836B7FEF2}"/>
                </c:ext>
              </c:extLst>
            </c:dLbl>
            <c:spPr>
              <a:solidFill>
                <a:srgbClr val="FFC00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Доля получателей УТ    (2)'!$C$10:$E$10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'Доля получателей УТ    (2)'!$C$13:$E$13</c:f>
              <c:numCache>
                <c:formatCode>General</c:formatCode>
                <c:ptCount val="3"/>
                <c:pt idx="0">
                  <c:v>30.5</c:v>
                </c:pt>
                <c:pt idx="1">
                  <c:v>38.700000000000003</c:v>
                </c:pt>
                <c:pt idx="2">
                  <c:v>46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7BB-4DBA-A76D-A24836B7FEF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61319088"/>
        <c:axId val="421941424"/>
      </c:lineChart>
      <c:catAx>
        <c:axId val="100985953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ru-KZ" sz="8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917665151"/>
        <c:crosses val="autoZero"/>
        <c:auto val="1"/>
        <c:lblAlgn val="ctr"/>
        <c:lblOffset val="100"/>
        <c:noMultiLvlLbl val="0"/>
      </c:catAx>
      <c:valAx>
        <c:axId val="917665151"/>
        <c:scaling>
          <c:orientation val="minMax"/>
          <c:max val="130000"/>
          <c:min val="0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09859535"/>
        <c:crosses val="autoZero"/>
        <c:crossBetween val="between"/>
      </c:valAx>
      <c:valAx>
        <c:axId val="421941424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61319088"/>
        <c:crosses val="max"/>
        <c:crossBetween val="between"/>
      </c:valAx>
      <c:catAx>
        <c:axId val="2613190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2194142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798373022507593E-2"/>
          <c:y val="0.1465267393993096"/>
          <c:w val="0.90873941101709332"/>
          <c:h val="0.7090584676302819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[1]СВут новые назначения'!$B$11</c:f>
              <c:strCache>
                <c:ptCount val="1"/>
                <c:pt idx="0">
                  <c:v>кол-во получателей (человек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[1]СВут новые назначения'!$C$10:$E$10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[1]СВут новые назначения'!$C$11:$E$11</c:f>
            </c:numRef>
          </c:val>
          <c:extLst>
            <c:ext xmlns:c16="http://schemas.microsoft.com/office/drawing/2014/chart" uri="{C3380CC4-5D6E-409C-BE32-E72D297353CC}">
              <c16:uniqueId val="{00000000-9ADE-4071-BFD9-C86A6ED77301}"/>
            </c:ext>
          </c:extLst>
        </c:ser>
        <c:ser>
          <c:idx val="1"/>
          <c:order val="1"/>
          <c:tx>
            <c:strRef>
              <c:f>'СВут динам_наз'!$B$12</c:f>
              <c:strCache>
                <c:ptCount val="1"/>
                <c:pt idx="0">
                  <c:v>кол-во новых назначений (человек)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9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Вут динам_наз'!$C$10:$E$10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'СВут динам_наз'!$C$12:$E$12</c:f>
              <c:numCache>
                <c:formatCode>#,##0</c:formatCode>
                <c:ptCount val="3"/>
                <c:pt idx="0">
                  <c:v>15622</c:v>
                </c:pt>
                <c:pt idx="1">
                  <c:v>15962</c:v>
                </c:pt>
                <c:pt idx="2">
                  <c:v>152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ADE-4071-BFD9-C86A6ED7730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7"/>
        <c:axId val="16042591"/>
        <c:axId val="94916063"/>
      </c:barChart>
      <c:catAx>
        <c:axId val="1604259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94916063"/>
        <c:crosses val="autoZero"/>
        <c:auto val="1"/>
        <c:lblAlgn val="ctr"/>
        <c:lblOffset val="100"/>
        <c:noMultiLvlLbl val="0"/>
      </c:catAx>
      <c:valAx>
        <c:axId val="94916063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1604259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015172103487065"/>
          <c:y val="5.2848319885940194E-2"/>
          <c:w val="0.86646433990895289"/>
          <c:h val="0.6109548653056293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Доля получателей УТ   '!$A$4:$B$4</c:f>
              <c:strCache>
                <c:ptCount val="2"/>
                <c:pt idx="0">
                  <c:v> еңбекке қабілетінен айырылу дәрежесі 30%-дан 60%-ға дейін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>
              <a:innerShdw blurRad="114300">
                <a:prstClr val="black"/>
              </a:inn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rgbClr val="0D5369"/>
              </a:solidFill>
              <a:ln>
                <a:noFill/>
              </a:ln>
              <a:effectLst>
                <a:innerShdw>
                  <a:prstClr val="black"/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1-4C30-4F6D-B1EF-188E0C385F20}"/>
              </c:ext>
            </c:extLst>
          </c:dPt>
          <c:dPt>
            <c:idx val="1"/>
            <c:invertIfNegative val="0"/>
            <c:bubble3D val="0"/>
            <c:spPr>
              <a:solidFill>
                <a:srgbClr val="0D5369"/>
              </a:solidFill>
              <a:ln>
                <a:noFill/>
              </a:ln>
              <a:effectLst>
                <a:innerShdw>
                  <a:prstClr val="black"/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3-4C30-4F6D-B1EF-188E0C385F20}"/>
              </c:ext>
            </c:extLst>
          </c:dPt>
          <c:dPt>
            <c:idx val="2"/>
            <c:invertIfNegative val="0"/>
            <c:bubble3D val="0"/>
            <c:spPr>
              <a:solidFill>
                <a:srgbClr val="0D5369"/>
              </a:solidFill>
              <a:ln>
                <a:noFill/>
              </a:ln>
              <a:effectLst>
                <a:innerShdw>
                  <a:prstClr val="black"/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5-4C30-4F6D-B1EF-188E0C385F20}"/>
              </c:ext>
            </c:extLst>
          </c:dPt>
          <c:dLbls>
            <c:spPr>
              <a:noFill/>
              <a:ln w="25400"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 rtl="0">
                  <a:defRPr lang="ru-KZ"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Arial Cyr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Доля получателей УТ   '!$C$3:$E$3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'Доля получателей УТ   '!$C$4:$E$4</c:f>
              <c:numCache>
                <c:formatCode>0.0%</c:formatCode>
                <c:ptCount val="3"/>
                <c:pt idx="0">
                  <c:v>0.54200000000000004</c:v>
                </c:pt>
                <c:pt idx="1">
                  <c:v>0.54194275180500795</c:v>
                </c:pt>
                <c:pt idx="2">
                  <c:v>0.548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C30-4F6D-B1EF-188E0C385F20}"/>
            </c:ext>
          </c:extLst>
        </c:ser>
        <c:ser>
          <c:idx val="1"/>
          <c:order val="1"/>
          <c:tx>
            <c:strRef>
              <c:f>'Доля получателей УТ   '!$A$5:$B$5</c:f>
              <c:strCache>
                <c:ptCount val="2"/>
                <c:pt idx="0">
                  <c:v> еңбекке қабілетінен айырылу дәрежесі 60%-дан 80%-ға дейін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>
              <a:innerShdw>
                <a:prstClr val="black"/>
              </a:innerShdw>
            </a:effectLst>
          </c:spPr>
          <c:invertIfNegative val="0"/>
          <c:dLbls>
            <c:spPr>
              <a:noFill/>
              <a:ln w="25400"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 rtl="0">
                  <a:defRPr lang="ru-KZ"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Arial Cyr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Доля получателей УТ   '!$C$3:$E$3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'Доля получателей УТ   '!$C$5:$E$5</c:f>
              <c:numCache>
                <c:formatCode>0.0%</c:formatCode>
                <c:ptCount val="3"/>
                <c:pt idx="0">
                  <c:v>0.37</c:v>
                </c:pt>
                <c:pt idx="1">
                  <c:v>0.36599999999999999</c:v>
                </c:pt>
                <c:pt idx="2">
                  <c:v>0.355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4C30-4F6D-B1EF-188E0C385F20}"/>
            </c:ext>
          </c:extLst>
        </c:ser>
        <c:ser>
          <c:idx val="2"/>
          <c:order val="2"/>
          <c:tx>
            <c:strRef>
              <c:f>'Доля получателей УТ   '!$A$6:$B$6</c:f>
              <c:strCache>
                <c:ptCount val="2"/>
                <c:pt idx="0">
                  <c:v> еңбекке қабілетінен айырылу дәрежесі 80%-дан 100%-ға дейін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>
              <a:innerShdw>
                <a:prstClr val="black"/>
              </a:innerShdw>
            </a:effectLst>
          </c:spPr>
          <c:invertIfNegative val="0"/>
          <c:dLbls>
            <c:spPr>
              <a:noFill/>
              <a:ln w="25400"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 rtl="0">
                  <a:defRPr lang="ru-KZ"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Arial Cyr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Доля получателей УТ   '!$C$3:$E$3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'Доля получателей УТ   '!$C$6:$E$6</c:f>
              <c:numCache>
                <c:formatCode>0.0%</c:formatCode>
                <c:ptCount val="3"/>
                <c:pt idx="0">
                  <c:v>8.9060190073917633E-2</c:v>
                </c:pt>
                <c:pt idx="1">
                  <c:v>9.1999999999999998E-2</c:v>
                </c:pt>
                <c:pt idx="2">
                  <c:v>9.60000000000000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C30-4F6D-B1EF-188E0C385F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5"/>
        <c:overlap val="100"/>
        <c:axId val="147017728"/>
        <c:axId val="147019264"/>
      </c:barChart>
      <c:catAx>
        <c:axId val="1470177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</a:ln>
          <a:effectLst/>
        </c:spPr>
        <c:txPr>
          <a:bodyPr rot="0" spcFirstLastPara="1" vertOverflow="ellipsis" wrap="square" anchor="ctr" anchorCtr="1"/>
          <a:lstStyle/>
          <a:p>
            <a:pPr algn="ctr" rtl="0">
              <a:defRPr lang="ru-KZ" sz="8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Arial Cyr"/>
                <a:cs typeface="Arial" panose="020B0604020202020204" pitchFamily="34" charset="0"/>
              </a:defRPr>
            </a:pPr>
            <a:endParaRPr lang="ru-RU"/>
          </a:p>
        </c:txPr>
        <c:crossAx val="147019264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147019264"/>
        <c:scaling>
          <c:orientation val="minMax"/>
          <c:max val="1"/>
          <c:min val="0"/>
        </c:scaling>
        <c:delete val="1"/>
        <c:axPos val="l"/>
        <c:numFmt formatCode="0.0%" sourceLinked="1"/>
        <c:majorTickMark val="out"/>
        <c:minorTickMark val="none"/>
        <c:tickLblPos val="nextTo"/>
        <c:crossAx val="147017728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9.7682732076916495E-2"/>
          <c:y val="0.76462366362647982"/>
          <c:w val="0.85618954060684838"/>
          <c:h val="0.21124469603165016"/>
        </c:manualLayout>
      </c:layout>
      <c:overlay val="0"/>
      <c:spPr>
        <a:noFill/>
        <a:ln w="25400"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ru-KZ" sz="8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Arial Cyr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38100" cap="flat" cmpd="sng" algn="ctr">
      <a:noFill/>
      <a:prstDash val="solid"/>
      <a:miter lim="800000"/>
    </a:ln>
    <a:effectLst/>
  </c:spPr>
  <c:txPr>
    <a:bodyPr/>
    <a:lstStyle/>
    <a:p>
      <a:pPr>
        <a:defRPr sz="1200" b="0" i="0" u="none" strike="noStrike" baseline="0">
          <a:solidFill>
            <a:srgbClr val="002060"/>
          </a:solidFill>
          <a:latin typeface="Times New Roman" pitchFamily="18" charset="0"/>
          <a:ea typeface="Arial Cyr"/>
          <a:cs typeface="Arial Cyr"/>
        </a:defRPr>
      </a:pPr>
      <a:endParaRPr lang="ru-RU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3.5703644382538487E-2"/>
          <c:y val="6.3461560349284182E-3"/>
          <c:w val="0.92995451828198239"/>
          <c:h val="0.718239542138488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пол и возр получ. УТ'!$A$24</c:f>
              <c:strCache>
                <c:ptCount val="1"/>
                <c:pt idx="0">
                  <c:v>20-дан 34-ке дейін</c:v>
                </c:pt>
              </c:strCache>
            </c:strRef>
          </c:tx>
          <c:spPr>
            <a:solidFill>
              <a:srgbClr val="FFC000"/>
            </a:solidFill>
            <a:ln>
              <a:solidFill>
                <a:srgbClr val="FFC000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-6.0465585004534916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A1D-4389-8012-430A807AF401}"/>
                </c:ext>
              </c:extLst>
            </c:dLbl>
            <c:dLbl>
              <c:idx val="1"/>
              <c:layout>
                <c:manualLayout>
                  <c:x val="-1.4780305591090429E-16"/>
                  <c:y val="-7.151796888968353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A1D-4389-8012-430A807AF401}"/>
                </c:ext>
              </c:extLst>
            </c:dLbl>
            <c:dLbl>
              <c:idx val="3"/>
              <c:layout>
                <c:manualLayout>
                  <c:x val="7.1301247771836003E-3"/>
                  <c:y val="-3.044140030441400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A1D-4389-8012-430A807AF401}"/>
                </c:ext>
              </c:extLst>
            </c:dLbl>
            <c:dLbl>
              <c:idx val="4"/>
              <c:layout>
                <c:manualLayout>
                  <c:x val="5.7040998217468804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A1D-4389-8012-430A807AF401}"/>
                </c:ext>
              </c:extLst>
            </c:dLbl>
            <c:dLbl>
              <c:idx val="5"/>
              <c:layout>
                <c:manualLayout>
                  <c:x val="5.7040998217468804E-3"/>
                  <c:y val="-6.088280060882800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A1D-4389-8012-430A807AF401}"/>
                </c:ext>
              </c:extLst>
            </c:dLbl>
            <c:spPr>
              <a:solidFill>
                <a:srgbClr val="FFC00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 rtl="0">
                  <a:defRPr lang="ru-KZ"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Arial Cyr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пол и возр получ. УТ'!$K$9:$Q$10</c:f>
              <c:strCache>
                <c:ptCount val="2"/>
                <c:pt idx="0">
                  <c:v>ер адамдар</c:v>
                </c:pt>
                <c:pt idx="1">
                  <c:v>әйел адамдар</c:v>
                </c:pt>
              </c:strCache>
            </c:strRef>
          </c:cat>
          <c:val>
            <c:numRef>
              <c:f>'пол и возр получ. УТ'!$K$24:$Q$24</c:f>
              <c:numCache>
                <c:formatCode>_-* #\ ##0_-;\-* #\ ##0_-;_-* "-"??_-;_-@_-</c:formatCode>
                <c:ptCount val="2"/>
                <c:pt idx="0">
                  <c:v>3294</c:v>
                </c:pt>
                <c:pt idx="1">
                  <c:v>21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A1D-4389-8012-430A807AF401}"/>
            </c:ext>
          </c:extLst>
        </c:ser>
        <c:ser>
          <c:idx val="1"/>
          <c:order val="1"/>
          <c:tx>
            <c:strRef>
              <c:f>'пол и возр получ. УТ'!$A$25</c:f>
              <c:strCache>
                <c:ptCount val="1"/>
                <c:pt idx="0">
                  <c:v>35-тен 49-ға дейін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9091722801001148E-3"/>
                  <c:y val="-3.269272192039824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A1D-4389-8012-430A807AF401}"/>
                </c:ext>
              </c:extLst>
            </c:dLbl>
            <c:dLbl>
              <c:idx val="2"/>
              <c:layout>
                <c:manualLayout>
                  <c:x val="4.3115074303059255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A1D-4389-8012-430A807AF40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 rtl="0">
                  <a:defRPr lang="ru-KZ"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Arial Cyr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пол и возр получ. УТ'!$K$9:$Q$10</c:f>
              <c:strCache>
                <c:ptCount val="2"/>
                <c:pt idx="0">
                  <c:v>ер адамдар</c:v>
                </c:pt>
                <c:pt idx="1">
                  <c:v>әйел адамдар</c:v>
                </c:pt>
              </c:strCache>
            </c:strRef>
          </c:cat>
          <c:val>
            <c:numRef>
              <c:f>'пол и возр получ. УТ'!$K$25:$Q$25</c:f>
              <c:numCache>
                <c:formatCode>_-* #\ ##0_-;\-* #\ ##0_-;_-* "-"??_-;_-@_-</c:formatCode>
                <c:ptCount val="2"/>
                <c:pt idx="0">
                  <c:v>16542</c:v>
                </c:pt>
                <c:pt idx="1">
                  <c:v>137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A1D-4389-8012-430A807AF401}"/>
            </c:ext>
          </c:extLst>
        </c:ser>
        <c:ser>
          <c:idx val="2"/>
          <c:order val="2"/>
          <c:tx>
            <c:strRef>
              <c:f>'пол и возр получ. УТ'!$A$26</c:f>
              <c:strCache>
                <c:ptCount val="1"/>
                <c:pt idx="0">
                  <c:v>50-ден 64-ке дейін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6.4672611454588882E-3"/>
                  <c:y val="-1.307311693597277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9A1D-4389-8012-430A807AF401}"/>
                </c:ext>
              </c:extLst>
            </c:dLbl>
            <c:dLbl>
              <c:idx val="2"/>
              <c:layout>
                <c:manualLayout>
                  <c:x val="-7.9235560395761401E-17"/>
                  <c:y val="-1.96078431372549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9A1D-4389-8012-430A807AF401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 rtl="0">
                  <a:defRPr lang="ru-KZ"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Arial Cyr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пол и возр получ. УТ'!$K$9:$Q$10</c:f>
              <c:strCache>
                <c:ptCount val="2"/>
                <c:pt idx="0">
                  <c:v>ер адамдар</c:v>
                </c:pt>
                <c:pt idx="1">
                  <c:v>әйел адамдар</c:v>
                </c:pt>
              </c:strCache>
            </c:strRef>
          </c:cat>
          <c:val>
            <c:numRef>
              <c:f>'пол и возр получ. УТ'!$K$26:$Q$26</c:f>
              <c:numCache>
                <c:formatCode>_-* #\ ##0_-;\-* #\ ##0_-;_-* "-"??_-;_-@_-</c:formatCode>
                <c:ptCount val="2"/>
                <c:pt idx="0">
                  <c:v>39684</c:v>
                </c:pt>
                <c:pt idx="1">
                  <c:v>268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9A1D-4389-8012-430A807AF4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5"/>
        <c:overlap val="100"/>
        <c:axId val="277746432"/>
        <c:axId val="277747968"/>
      </c:barChart>
      <c:catAx>
        <c:axId val="27774643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6350" cap="flat" cmpd="sng" algn="ctr">
            <a:solidFill>
              <a:schemeClr val="bg1">
                <a:lumMod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 rtl="0">
              <a:defRPr lang="ru-KZ" sz="9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Arial Cyr"/>
                <a:cs typeface="Arial" panose="020B0604020202020204" pitchFamily="34" charset="0"/>
              </a:defRPr>
            </a:pPr>
            <a:endParaRPr lang="ru-RU"/>
          </a:p>
        </c:txPr>
        <c:crossAx val="277747968"/>
        <c:crosses val="autoZero"/>
        <c:auto val="1"/>
        <c:lblAlgn val="ctr"/>
        <c:lblOffset val="100"/>
        <c:noMultiLvlLbl val="0"/>
      </c:catAx>
      <c:valAx>
        <c:axId val="277747968"/>
        <c:scaling>
          <c:orientation val="minMax"/>
        </c:scaling>
        <c:delete val="1"/>
        <c:axPos val="l"/>
        <c:numFmt formatCode="_-* #\ ##0_-;\-* #\ ##0_-;_-* &quot;-&quot;??_-;_-@_-" sourceLinked="1"/>
        <c:majorTickMark val="out"/>
        <c:minorTickMark val="none"/>
        <c:tickLblPos val="nextTo"/>
        <c:crossAx val="2777464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9637376069536867E-2"/>
          <c:y val="0.83057662970234714"/>
          <c:w val="0.87913583666363326"/>
          <c:h val="0.1336646668080477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ru-KZ" sz="8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Arial Cyr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lang="ru-KZ" sz="10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pPr>
      <a:endParaRPr lang="ru-RU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549725645461402E-2"/>
          <c:y val="3.7185883824238229E-2"/>
          <c:w val="0.9587554261467035"/>
          <c:h val="0.6749699726497870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Сред разм. назн СВут'!$A$4:$B$4</c:f>
              <c:strCache>
                <c:ptCount val="2"/>
                <c:pt idx="0">
                  <c:v> еңбекке қабілетінен айырылу дәрежесі 80%-дан 100%-ға дейін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>
              <a:innerShdw>
                <a:prstClr val="black"/>
              </a:inn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 rtl="0">
                  <a:defRPr lang="ru-KZ"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Arial Cyr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ред разм. назн СВут'!$N$3:$O$3</c:f>
              <c:numCache>
                <c:formatCode>General</c:formatCode>
                <c:ptCount val="2"/>
                <c:pt idx="0">
                  <c:v>2023</c:v>
                </c:pt>
                <c:pt idx="1">
                  <c:v>2024</c:v>
                </c:pt>
              </c:numCache>
            </c:numRef>
          </c:cat>
          <c:val>
            <c:numRef>
              <c:f>'Сред разм. назн СВут'!$N$4:$O$4</c:f>
              <c:numCache>
                <c:formatCode>#,##0</c:formatCode>
                <c:ptCount val="2"/>
                <c:pt idx="0">
                  <c:v>67743.47</c:v>
                </c:pt>
                <c:pt idx="1">
                  <c:v>841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2F1-4668-9266-D29806A9ED17}"/>
            </c:ext>
          </c:extLst>
        </c:ser>
        <c:ser>
          <c:idx val="1"/>
          <c:order val="1"/>
          <c:tx>
            <c:strRef>
              <c:f>'Сред разм. назн СВут'!$A$5:$B$5</c:f>
              <c:strCache>
                <c:ptCount val="2"/>
                <c:pt idx="0">
                  <c:v> еңбекке қабілетінен айырылу дәрежесі 60%-дан 80%-ға дейін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>
              <a:innerShdw>
                <a:prstClr val="black"/>
              </a:inn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 rtl="0">
                  <a:defRPr lang="ru-KZ"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Arial Cyr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ред разм. назн СВут'!$N$3:$O$3</c:f>
              <c:numCache>
                <c:formatCode>General</c:formatCode>
                <c:ptCount val="2"/>
                <c:pt idx="0">
                  <c:v>2023</c:v>
                </c:pt>
                <c:pt idx="1">
                  <c:v>2024</c:v>
                </c:pt>
              </c:numCache>
            </c:numRef>
          </c:cat>
          <c:val>
            <c:numRef>
              <c:f>'Сред разм. назн СВут'!$N$5:$O$5</c:f>
              <c:numCache>
                <c:formatCode>#,##0</c:formatCode>
                <c:ptCount val="2"/>
                <c:pt idx="0">
                  <c:v>52126.26</c:v>
                </c:pt>
                <c:pt idx="1">
                  <c:v>679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2F1-4668-9266-D29806A9ED17}"/>
            </c:ext>
          </c:extLst>
        </c:ser>
        <c:ser>
          <c:idx val="2"/>
          <c:order val="2"/>
          <c:tx>
            <c:strRef>
              <c:f>'Сред разм. назн СВут'!$A$6:$B$6</c:f>
              <c:strCache>
                <c:ptCount val="2"/>
                <c:pt idx="0">
                  <c:v> еңбекке қабілетінен айырылу дәрежесі 30%-дан 60%-ға дейін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>
              <a:innerShdw>
                <a:prstClr val="black"/>
              </a:inn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 rtl="0">
                  <a:defRPr lang="ru-KZ"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Arial Cyr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ред разм. назн СВут'!$N$3:$O$3</c:f>
              <c:numCache>
                <c:formatCode>General</c:formatCode>
                <c:ptCount val="2"/>
                <c:pt idx="0">
                  <c:v>2023</c:v>
                </c:pt>
                <c:pt idx="1">
                  <c:v>2024</c:v>
                </c:pt>
              </c:numCache>
            </c:numRef>
          </c:cat>
          <c:val>
            <c:numRef>
              <c:f>'Сред разм. назн СВут'!$N$6:$O$6</c:f>
              <c:numCache>
                <c:formatCode>#,##0</c:formatCode>
                <c:ptCount val="2"/>
                <c:pt idx="0">
                  <c:v>36464.519999999997</c:v>
                </c:pt>
                <c:pt idx="1">
                  <c:v>449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2F1-4668-9266-D29806A9ED1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48080128"/>
        <c:axId val="148081664"/>
      </c:barChart>
      <c:catAx>
        <c:axId val="1480801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2">
                <a:lumMod val="50000"/>
              </a:schemeClr>
            </a:solidFill>
            <a:prstDash val="solid"/>
            <a:round/>
          </a:ln>
          <a:effectLst/>
        </c:spPr>
        <c:txPr>
          <a:bodyPr rot="0" spcFirstLastPara="1" vertOverflow="ellipsis" wrap="square" anchor="ctr" anchorCtr="1"/>
          <a:lstStyle/>
          <a:p>
            <a:pPr algn="ctr" rtl="0">
              <a:defRPr lang="ru-KZ" sz="8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Arial Cyr"/>
                <a:cs typeface="Arial" panose="020B0604020202020204" pitchFamily="34" charset="0"/>
              </a:defRPr>
            </a:pPr>
            <a:endParaRPr lang="ru-RU"/>
          </a:p>
        </c:txPr>
        <c:crossAx val="148081664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148081664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extTo"/>
        <c:crossAx val="148080128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3.675966928726454E-2"/>
          <c:y val="0.80306757071206725"/>
          <c:w val="0.92618090818373899"/>
          <c:h val="0.17298759049661885"/>
        </c:manualLayout>
      </c:layout>
      <c:overlay val="0"/>
      <c:spPr>
        <a:noFill/>
        <a:ln w="25400"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ru-KZ" sz="8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Arial Cyr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38100" cap="flat" cmpd="sng" algn="ctr">
      <a:noFill/>
      <a:prstDash val="solid"/>
      <a:miter lim="800000"/>
    </a:ln>
    <a:effectLst/>
  </c:spPr>
  <c:txPr>
    <a:bodyPr/>
    <a:lstStyle/>
    <a:p>
      <a:pPr>
        <a:defRPr sz="1200" b="0" i="0" u="none" strike="noStrike" baseline="0">
          <a:solidFill>
            <a:srgbClr val="002060"/>
          </a:solidFill>
          <a:latin typeface="Times New Roman" pitchFamily="18" charset="0"/>
          <a:ea typeface="Arial Cyr"/>
          <a:cs typeface="Arial Cyr"/>
        </a:defRPr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097704925057958E-2"/>
          <c:y val="3.1565322649765575E-2"/>
          <c:w val="0.93780448034797437"/>
          <c:h val="0.6806349890981707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охват!$B$1</c:f>
              <c:strCache>
                <c:ptCount val="1"/>
                <c:pt idx="0">
                  <c:v>жұмыспен қамтылған халық саны (мың адам)</c:v>
                </c:pt>
              </c:strCache>
            </c:strRef>
          </c:tx>
          <c:spPr>
            <a:solidFill>
              <a:srgbClr val="1F4E79"/>
            </a:solidFill>
            <a:ln>
              <a:solidFill>
                <a:srgbClr val="002060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6.969863777177763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58CB-4086-AFA3-0AF2E4144B1F}"/>
                </c:ext>
              </c:extLst>
            </c:dLbl>
            <c:dLbl>
              <c:idx val="1"/>
              <c:layout>
                <c:manualLayout>
                  <c:x val="0"/>
                  <c:y val="5.904272311809600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8CB-4086-AFA3-0AF2E4144B1F}"/>
                </c:ext>
              </c:extLst>
            </c:dLbl>
            <c:dLbl>
              <c:idx val="2"/>
              <c:layout>
                <c:manualLayout>
                  <c:x val="3.7416497771424568E-3"/>
                  <c:y val="5.314089850091357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8CB-4086-AFA3-0AF2E4144B1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охват!$A$2:$A$13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охват!$B$2:$B$13</c:f>
              <c:numCache>
                <c:formatCode>#,##0.0</c:formatCode>
                <c:ptCount val="3"/>
                <c:pt idx="0">
                  <c:v>8966.9</c:v>
                </c:pt>
                <c:pt idx="1">
                  <c:v>9082.9</c:v>
                </c:pt>
                <c:pt idx="2">
                  <c:v>9214.200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D92-44E6-9531-D700554D99E8}"/>
            </c:ext>
          </c:extLst>
        </c:ser>
        <c:ser>
          <c:idx val="1"/>
          <c:order val="1"/>
          <c:tx>
            <c:strRef>
              <c:f>охват!$C$1</c:f>
              <c:strCache>
                <c:ptCount val="1"/>
                <c:pt idx="0">
                  <c:v>МӘСЖ қатысушылары (мың адам)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4D92-44E6-9531-D700554D99E8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4D92-44E6-9531-D700554D99E8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ctr"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охват!$A$2:$A$13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охват!$C$2:$C$13</c:f>
              <c:numCache>
                <c:formatCode>#,##0.0</c:formatCode>
                <c:ptCount val="3"/>
                <c:pt idx="0">
                  <c:v>6753.3</c:v>
                </c:pt>
                <c:pt idx="1">
                  <c:v>6908</c:v>
                </c:pt>
                <c:pt idx="2">
                  <c:v>68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D92-44E6-9531-D700554D99E8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100"/>
        <c:axId val="1558911135"/>
        <c:axId val="1516886111"/>
      </c:barChart>
      <c:lineChart>
        <c:grouping val="standard"/>
        <c:varyColors val="0"/>
        <c:ser>
          <c:idx val="2"/>
          <c:order val="2"/>
          <c:tx>
            <c:strRef>
              <c:f>охват!$D$1</c:f>
              <c:strCache>
                <c:ptCount val="1"/>
                <c:pt idx="0">
                  <c:v>жұмыспен қамтылған халықтың МӘСЖ қамту үлесі</c:v>
                </c:pt>
              </c:strCache>
            </c:strRef>
          </c:tx>
          <c:spPr>
            <a:ln w="12700" cap="rnd">
              <a:solidFill>
                <a:srgbClr val="FFC000"/>
              </a:solidFill>
              <a:round/>
            </a:ln>
            <a:effectLst/>
          </c:spPr>
          <c:marker>
            <c:symbol val="diamond"/>
            <c:size val="5"/>
            <c:spPr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c:spPr>
          </c:marker>
          <c:dLbls>
            <c:spPr>
              <a:solidFill>
                <a:srgbClr val="FFC00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охват!$A$2:$A$13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охват!$D$2:$D$13</c:f>
              <c:numCache>
                <c:formatCode>0.0%</c:formatCode>
                <c:ptCount val="3"/>
                <c:pt idx="0">
                  <c:v>0.753</c:v>
                </c:pt>
                <c:pt idx="1">
                  <c:v>0.76100000000000001</c:v>
                </c:pt>
                <c:pt idx="2">
                  <c:v>0.74199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4D92-44E6-9531-D700554D99E8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558951535"/>
        <c:axId val="1562703119"/>
      </c:lineChart>
      <c:catAx>
        <c:axId val="155891113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516886111"/>
        <c:crosses val="autoZero"/>
        <c:auto val="1"/>
        <c:lblAlgn val="ctr"/>
        <c:lblOffset val="100"/>
        <c:noMultiLvlLbl val="0"/>
      </c:catAx>
      <c:valAx>
        <c:axId val="1516886111"/>
        <c:scaling>
          <c:orientation val="minMax"/>
          <c:max val="9200"/>
          <c:min val="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558911135"/>
        <c:crosses val="autoZero"/>
        <c:crossBetween val="between"/>
      </c:valAx>
      <c:valAx>
        <c:axId val="1562703119"/>
        <c:scaling>
          <c:orientation val="minMax"/>
          <c:max val="1"/>
          <c:min val="0"/>
        </c:scaling>
        <c:delete val="0"/>
        <c:axPos val="r"/>
        <c:numFmt formatCode="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558951535"/>
        <c:crosses val="max"/>
        <c:crossBetween val="between"/>
      </c:valAx>
      <c:catAx>
        <c:axId val="155895153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56270311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3.3504199073062617E-3"/>
          <c:y val="0.82479300109357923"/>
          <c:w val="0.99664957559356893"/>
          <c:h val="0.1730805478763508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5.9007655293088365E-2"/>
          <c:y val="8.0679405520169847E-2"/>
          <c:w val="0.90137401574803144"/>
          <c:h val="0.7067666750049427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СВпк получатели'!$E$9</c:f>
              <c:strCache>
                <c:ptCount val="1"/>
                <c:pt idx="0">
                  <c:v>алушылар саны (адам)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4.1601427302723447E-3"/>
                  <c:y val="0.4391282990630179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0A3-4A84-B2DF-90A3E75670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Впк получатели'!$F$8:$H$8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'СВпк получатели'!$F$9:$H$9</c:f>
              <c:numCache>
                <c:formatCode>#,##0</c:formatCode>
                <c:ptCount val="3"/>
                <c:pt idx="0">
                  <c:v>61442</c:v>
                </c:pt>
                <c:pt idx="1">
                  <c:v>64271</c:v>
                </c:pt>
                <c:pt idx="2">
                  <c:v>678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4F-4BE3-BE82-580CD6B51C64}"/>
            </c:ext>
          </c:extLst>
        </c:ser>
        <c:ser>
          <c:idx val="1"/>
          <c:order val="1"/>
          <c:tx>
            <c:strRef>
              <c:f>'СВпк получатели'!$E$10</c:f>
              <c:strCache>
                <c:ptCount val="1"/>
                <c:pt idx="0">
                  <c:v>кол-во новых назначений (человек)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Впк получатели'!$F$8:$H$8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'СВпк получатели'!$F$10:$H$10</c:f>
            </c:numRef>
          </c:val>
          <c:extLst>
            <c:ext xmlns:c16="http://schemas.microsoft.com/office/drawing/2014/chart" uri="{C3380CC4-5D6E-409C-BE32-E72D297353CC}">
              <c16:uniqueId val="{00000001-034F-4BE3-BE82-580CD6B51C6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1918882399"/>
        <c:axId val="1837228223"/>
      </c:barChart>
      <c:lineChart>
        <c:grouping val="standard"/>
        <c:varyColors val="0"/>
        <c:ser>
          <c:idx val="2"/>
          <c:order val="2"/>
          <c:tx>
            <c:strRef>
              <c:f>'СВпк получатели'!$E$11</c:f>
              <c:strCache>
                <c:ptCount val="1"/>
                <c:pt idx="0">
                  <c:v>төлемдер соммасы (млрд.теңге)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FFC000"/>
              </a:solidFill>
              <a:ln w="9525">
                <a:solidFill>
                  <a:srgbClr val="FFC000"/>
                </a:solidFill>
              </a:ln>
              <a:effectLst/>
            </c:spPr>
          </c:marker>
          <c:dPt>
            <c:idx val="0"/>
            <c:marker>
              <c:symbol val="diamond"/>
              <c:size val="5"/>
              <c:spPr>
                <a:solidFill>
                  <a:srgbClr val="FFC000"/>
                </a:solidFill>
                <a:ln w="9525">
                  <a:solidFill>
                    <a:srgbClr val="FFC00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034F-4BE3-BE82-580CD6B51C64}"/>
              </c:ext>
            </c:extLst>
          </c:dPt>
          <c:dPt>
            <c:idx val="1"/>
            <c:marker>
              <c:symbol val="diamond"/>
              <c:size val="5"/>
              <c:spPr>
                <a:solidFill>
                  <a:srgbClr val="FFC000"/>
                </a:solidFill>
                <a:ln w="9525">
                  <a:solidFill>
                    <a:srgbClr val="FFC00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034F-4BE3-BE82-580CD6B51C64}"/>
              </c:ext>
            </c:extLst>
          </c:dPt>
          <c:dPt>
            <c:idx val="2"/>
            <c:marker>
              <c:symbol val="diamond"/>
              <c:size val="5"/>
              <c:spPr>
                <a:solidFill>
                  <a:srgbClr val="FFC000"/>
                </a:solidFill>
                <a:ln w="9525">
                  <a:solidFill>
                    <a:srgbClr val="FFC00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034F-4BE3-BE82-580CD6B51C6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Впк получатели'!$F$8:$H$8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'СВпк получатели'!$F$11:$H$11</c:f>
              <c:numCache>
                <c:formatCode>General</c:formatCode>
                <c:ptCount val="3"/>
                <c:pt idx="0">
                  <c:v>21.3</c:v>
                </c:pt>
                <c:pt idx="1">
                  <c:v>26.8</c:v>
                </c:pt>
                <c:pt idx="2">
                  <c:v>33.799999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34F-4BE3-BE82-580CD6B51C6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61314688"/>
        <c:axId val="421923952"/>
      </c:lineChart>
      <c:catAx>
        <c:axId val="191888239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837228223"/>
        <c:crosses val="autoZero"/>
        <c:auto val="1"/>
        <c:lblAlgn val="ctr"/>
        <c:lblOffset val="100"/>
        <c:noMultiLvlLbl val="0"/>
      </c:catAx>
      <c:valAx>
        <c:axId val="1837228223"/>
        <c:scaling>
          <c:orientation val="minMax"/>
          <c:max val="65000"/>
        </c:scaling>
        <c:delete val="0"/>
        <c:axPos val="l"/>
        <c:numFmt formatCode="#,##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4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918882399"/>
        <c:crosses val="autoZero"/>
        <c:crossBetween val="between"/>
      </c:valAx>
      <c:valAx>
        <c:axId val="421923952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61314688"/>
        <c:crosses val="max"/>
        <c:crossBetween val="between"/>
      </c:valAx>
      <c:catAx>
        <c:axId val="261314688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extTo"/>
        <c:crossAx val="421923952"/>
        <c:crosses val="max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0"/>
    <c:plotArea>
      <c:layout>
        <c:manualLayout>
          <c:layoutTarget val="inner"/>
          <c:xMode val="edge"/>
          <c:yMode val="edge"/>
          <c:x val="8.5530985894689368E-2"/>
          <c:y val="4.6788158626122366E-2"/>
          <c:w val="0.86742531882014695"/>
          <c:h val="0.5940031807203352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'Доля ПК'!$B$15</c:f>
              <c:strCache>
                <c:ptCount val="1"/>
                <c:pt idx="0">
                  <c:v>1 асырауындағы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9.1954009672693005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F1B-444B-A1FD-F0CE26276577}"/>
                </c:ext>
              </c:extLst>
            </c:dLbl>
            <c:dLbl>
              <c:idx val="1"/>
              <c:layout>
                <c:manualLayout>
                  <c:x val="9.1954009672692658E-3"/>
                  <c:y val="-9.7290166777135722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F1B-444B-A1FD-F0CE26276577}"/>
                </c:ext>
              </c:extLst>
            </c:dLbl>
            <c:dLbl>
              <c:idx val="2"/>
              <c:layout>
                <c:manualLayout>
                  <c:x val="5.5172405803615796E-3"/>
                  <c:y val="-2.6533988367666646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54,1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F1B-444B-A1FD-F0CE26276577}"/>
                </c:ext>
              </c:extLst>
            </c:dLbl>
            <c:dLbl>
              <c:idx val="3"/>
              <c:layout>
                <c:manualLayout>
                  <c:x val="5.5172405803615111E-3"/>
                  <c:y val="-9.7290166777135722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F1B-444B-A1FD-F0CE26276577}"/>
                </c:ext>
              </c:extLst>
            </c:dLbl>
            <c:dLbl>
              <c:idx val="4"/>
              <c:layout>
                <c:manualLayout>
                  <c:x val="5.5172405803615796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2F1B-444B-A1FD-F0CE26276577}"/>
                </c:ext>
              </c:extLst>
            </c:dLbl>
            <c:dLbl>
              <c:idx val="5"/>
              <c:layout>
                <c:manualLayout>
                  <c:x val="1.2873561354177018E-2"/>
                  <c:y val="-9.7290166777135722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F1B-444B-A1FD-F0CE26276577}"/>
                </c:ext>
              </c:extLst>
            </c:dLbl>
            <c:dLbl>
              <c:idx val="6"/>
              <c:layout>
                <c:manualLayout>
                  <c:x val="5.5172405803615796E-3"/>
                  <c:y val="-2.653398836766664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F1B-444B-A1FD-F0CE2627657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Доля ПК'!$T$13:$W$13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'Доля ПК'!$T$15:$W$15</c:f>
              <c:numCache>
                <c:formatCode>0.0%</c:formatCode>
                <c:ptCount val="3"/>
                <c:pt idx="0">
                  <c:v>0.5424628104553888</c:v>
                </c:pt>
                <c:pt idx="1">
                  <c:v>0.53717850974778669</c:v>
                </c:pt>
                <c:pt idx="2" formatCode="0.00%">
                  <c:v>0.541585019079751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2F1B-444B-A1FD-F0CE26276577}"/>
            </c:ext>
          </c:extLst>
        </c:ser>
        <c:ser>
          <c:idx val="2"/>
          <c:order val="1"/>
          <c:tx>
            <c:strRef>
              <c:f>'Доля ПК'!$B$16</c:f>
              <c:strCache>
                <c:ptCount val="1"/>
                <c:pt idx="0">
                  <c:v>2 асырауындағы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1.2873561354177018E-2"/>
                  <c:y val="-5.306797673533330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2F1B-444B-A1FD-F0CE26276577}"/>
                </c:ext>
              </c:extLst>
            </c:dLbl>
            <c:dLbl>
              <c:idx val="1"/>
              <c:layout>
                <c:manualLayout>
                  <c:x val="1.1034481160723121E-2"/>
                  <c:y val="-7.960196510299992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2F1B-444B-A1FD-F0CE26276577}"/>
                </c:ext>
              </c:extLst>
            </c:dLbl>
            <c:dLbl>
              <c:idx val="2"/>
              <c:layout>
                <c:manualLayout>
                  <c:x val="4.9271463976277253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2F1B-444B-A1FD-F0CE26276577}"/>
                </c:ext>
              </c:extLst>
            </c:dLbl>
            <c:dLbl>
              <c:idx val="3"/>
              <c:layout>
                <c:manualLayout>
                  <c:x val="1.103448116072309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2F1B-444B-A1FD-F0CE26276577}"/>
                </c:ext>
              </c:extLst>
            </c:dLbl>
            <c:dLbl>
              <c:idx val="4"/>
              <c:layout>
                <c:manualLayout>
                  <c:x val="9.1954009672693005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2F1B-444B-A1FD-F0CE26276577}"/>
                </c:ext>
              </c:extLst>
            </c:dLbl>
            <c:dLbl>
              <c:idx val="5"/>
              <c:layout>
                <c:manualLayout>
                  <c:x val="1.1034481160723159E-2"/>
                  <c:y val="-5.306797673533330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2F1B-444B-A1FD-F0CE26276577}"/>
                </c:ext>
              </c:extLst>
            </c:dLbl>
            <c:dLbl>
              <c:idx val="6"/>
              <c:layout>
                <c:manualLayout>
                  <c:x val="1.2873561354177018E-2"/>
                  <c:y val="-7.960196510299992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2F1B-444B-A1FD-F0CE2627657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>
                  <a:defRPr lang="ru-KZ"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Доля ПК'!$T$13:$W$13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'Доля ПК'!$T$16:$W$16</c:f>
              <c:numCache>
                <c:formatCode>0.0%</c:formatCode>
                <c:ptCount val="3"/>
                <c:pt idx="0">
                  <c:v>0.27251717066501741</c:v>
                </c:pt>
                <c:pt idx="1">
                  <c:v>0.27244013629786373</c:v>
                </c:pt>
                <c:pt idx="2">
                  <c:v>0.268634066565497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2F1B-444B-A1FD-F0CE26276577}"/>
            </c:ext>
          </c:extLst>
        </c:ser>
        <c:ser>
          <c:idx val="3"/>
          <c:order val="2"/>
          <c:tx>
            <c:strRef>
              <c:f>'Доля ПК'!$B$17</c:f>
              <c:strCache>
                <c:ptCount val="1"/>
                <c:pt idx="0">
                  <c:v>3 асырауындағы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7.653945815003396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2F1B-444B-A1FD-F0CE26276577}"/>
                </c:ext>
              </c:extLst>
            </c:dLbl>
            <c:dLbl>
              <c:idx val="1"/>
              <c:layout>
                <c:manualLayout>
                  <c:x val="7.653945815003396E-3"/>
                  <c:y val="-3.329171432144015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2F1B-444B-A1FD-F0CE26276577}"/>
                </c:ext>
              </c:extLst>
            </c:dLbl>
            <c:dLbl>
              <c:idx val="2"/>
              <c:layout>
                <c:manualLayout>
                  <c:x val="3.4614939478231719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2F1B-444B-A1FD-F0CE26276577}"/>
                </c:ext>
              </c:extLst>
            </c:dLbl>
            <c:dLbl>
              <c:idx val="3"/>
              <c:layout>
                <c:manualLayout>
                  <c:x val="9.1954009672692329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2F1B-444B-A1FD-F0CE26276577}"/>
                </c:ext>
              </c:extLst>
            </c:dLbl>
            <c:dLbl>
              <c:idx val="4"/>
              <c:layout>
                <c:manualLayout>
                  <c:x val="9.1954009672693005E-3"/>
                  <c:y val="7.960196510299992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2F1B-444B-A1FD-F0CE26276577}"/>
                </c:ext>
              </c:extLst>
            </c:dLbl>
            <c:dLbl>
              <c:idx val="5"/>
              <c:layout>
                <c:manualLayout>
                  <c:x val="7.3563207738154383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2F1B-444B-A1FD-F0CE26276577}"/>
                </c:ext>
              </c:extLst>
            </c:dLbl>
            <c:dLbl>
              <c:idx val="6"/>
              <c:layout>
                <c:manualLayout>
                  <c:x val="9.1954009672693005E-3"/>
                  <c:y val="2.653398836766664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2F1B-444B-A1FD-F0CE2627657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>
                  <a:defRPr lang="ru-KZ"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Доля ПК'!$T$13:$W$13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'Доля ПК'!$T$17:$W$17</c:f>
              <c:numCache>
                <c:formatCode>0.0%</c:formatCode>
                <c:ptCount val="3"/>
                <c:pt idx="0">
                  <c:v>0.112219654308128</c:v>
                </c:pt>
                <c:pt idx="1">
                  <c:v>0.11376826251341973</c:v>
                </c:pt>
                <c:pt idx="2">
                  <c:v>0.113226172410236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2F1B-444B-A1FD-F0CE26276577}"/>
            </c:ext>
          </c:extLst>
        </c:ser>
        <c:ser>
          <c:idx val="4"/>
          <c:order val="3"/>
          <c:tx>
            <c:strRef>
              <c:f>'Доля ПК'!$B$18</c:f>
              <c:strCache>
                <c:ptCount val="1"/>
                <c:pt idx="0">
                  <c:v>4 және одан көп асырауындағы</c:v>
                </c:pt>
              </c:strCache>
            </c:strRef>
          </c:tx>
          <c:spPr>
            <a:solidFill>
              <a:schemeClr val="accent4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7.3563207738154383E-3"/>
                  <c:y val="-5.306797673533330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2F1B-444B-A1FD-F0CE26276577}"/>
                </c:ext>
              </c:extLst>
            </c:dLbl>
            <c:dLbl>
              <c:idx val="1"/>
              <c:layout>
                <c:manualLayout>
                  <c:x val="7.3561759643513873E-3"/>
                  <c:y val="-7.960196510299992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2F1B-444B-A1FD-F0CE26276577}"/>
                </c:ext>
              </c:extLst>
            </c:dLbl>
            <c:dLbl>
              <c:idx val="2"/>
              <c:layout>
                <c:manualLayout>
                  <c:x val="6.6611858515150469E-3"/>
                  <c:y val="-1.11508203094362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2F1B-444B-A1FD-F0CE26276577}"/>
                </c:ext>
              </c:extLst>
            </c:dLbl>
            <c:dLbl>
              <c:idx val="3"/>
              <c:layout>
                <c:manualLayout>
                  <c:x val="9.1954009672692329E-3"/>
                  <c:y val="-5.306797673533330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2F1B-444B-A1FD-F0CE26276577}"/>
                </c:ext>
              </c:extLst>
            </c:dLbl>
            <c:dLbl>
              <c:idx val="4"/>
              <c:layout>
                <c:manualLayout>
                  <c:x val="7.3563207738154383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2F1B-444B-A1FD-F0CE26276577}"/>
                </c:ext>
              </c:extLst>
            </c:dLbl>
            <c:dLbl>
              <c:idx val="5"/>
              <c:layout>
                <c:manualLayout>
                  <c:x val="9.1954009672693005E-3"/>
                  <c:y val="-7.960196510299992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2F1B-444B-A1FD-F0CE26276577}"/>
                </c:ext>
              </c:extLst>
            </c:dLbl>
            <c:dLbl>
              <c:idx val="6"/>
              <c:layout>
                <c:manualLayout>
                  <c:x val="9.1954009672693005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2F1B-444B-A1FD-F0CE2627657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>
                  <a:defRPr lang="ru-KZ"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Доля ПК'!$T$13:$W$13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'Доля ПК'!$T$18:$W$18</c:f>
              <c:numCache>
                <c:formatCode>0.0%</c:formatCode>
                <c:ptCount val="3"/>
                <c:pt idx="0">
                  <c:v>7.280036457146577E-2</c:v>
                </c:pt>
                <c:pt idx="1">
                  <c:v>7.6613091440929815E-2</c:v>
                </c:pt>
                <c:pt idx="2">
                  <c:v>7.655474194451401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F-2F1B-444B-A1FD-F0CE262765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9565056"/>
        <c:axId val="109566592"/>
      </c:barChart>
      <c:catAx>
        <c:axId val="1095650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09566592"/>
        <c:crosses val="autoZero"/>
        <c:auto val="1"/>
        <c:lblAlgn val="ctr"/>
        <c:lblOffset val="100"/>
        <c:noMultiLvlLbl val="0"/>
      </c:catAx>
      <c:valAx>
        <c:axId val="109566592"/>
        <c:scaling>
          <c:orientation val="minMax"/>
          <c:max val="1"/>
        </c:scaling>
        <c:delete val="1"/>
        <c:axPos val="l"/>
        <c:numFmt formatCode="0%" sourceLinked="0"/>
        <c:majorTickMark val="out"/>
        <c:minorTickMark val="none"/>
        <c:tickLblPos val="nextTo"/>
        <c:crossAx val="1095650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5"/>
          <c:y val="0.755153580871049"/>
          <c:w val="0.9"/>
          <c:h val="0.1972069471029198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800"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3">
    <c:autoUpdate val="0"/>
  </c:externalData>
  <c:userShapes r:id="rId4"/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701131831005655E-2"/>
          <c:y val="8.3649518944026405E-2"/>
          <c:w val="0.92157282033005394"/>
          <c:h val="0.577369076017975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СВ ПК средние   (2)'!$A$4</c:f>
              <c:strCache>
                <c:ptCount val="1"/>
                <c:pt idx="0">
                  <c:v>асырауындағы 1 адаммен</c:v>
                </c:pt>
              </c:strCache>
            </c:strRef>
          </c:tx>
          <c:spPr>
            <a:solidFill>
              <a:srgbClr val="7F6000"/>
            </a:solidFill>
            <a:ln>
              <a:noFill/>
            </a:ln>
            <a:effectLst>
              <a:innerShdw>
                <a:schemeClr val="tx1">
                  <a:lumMod val="65000"/>
                  <a:lumOff val="35000"/>
                </a:schemeClr>
              </a:inn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>
                  <a:defRPr lang="ru-KZ"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СВ ПК средние   (2)'!$M$3:$N$3</c:f>
              <c:numCache>
                <c:formatCode>General</c:formatCode>
                <c:ptCount val="2"/>
                <c:pt idx="0">
                  <c:v>2023</c:v>
                </c:pt>
                <c:pt idx="1">
                  <c:v>2024</c:v>
                </c:pt>
              </c:numCache>
            </c:numRef>
          </c:cat>
          <c:val>
            <c:numRef>
              <c:f>'СВ ПК средние   (2)'!$M$4:$N$4</c:f>
              <c:numCache>
                <c:formatCode>#,##0</c:formatCode>
                <c:ptCount val="2"/>
                <c:pt idx="0">
                  <c:v>39724</c:v>
                </c:pt>
                <c:pt idx="1">
                  <c:v>4810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809-46D0-803D-A37EBA24320E}"/>
            </c:ext>
          </c:extLst>
        </c:ser>
        <c:ser>
          <c:idx val="1"/>
          <c:order val="1"/>
          <c:tx>
            <c:strRef>
              <c:f>'СВ ПК средние   (2)'!$A$5</c:f>
              <c:strCache>
                <c:ptCount val="1"/>
                <c:pt idx="0">
                  <c:v>асырауындағы 2 адаммен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>
              <a:innerShdw blurRad="12700">
                <a:schemeClr val="tx1">
                  <a:lumMod val="65000"/>
                  <a:lumOff val="35000"/>
                </a:schemeClr>
              </a:innerShdw>
            </a:effectLst>
          </c:spPr>
          <c:invertIfNegative val="0"/>
          <c:dLbls>
            <c:spPr>
              <a:noFill/>
              <a:ln w="25400"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>
                  <a:defRPr lang="ru-KZ"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СВ ПК средние   (2)'!$M$3:$N$3</c:f>
              <c:numCache>
                <c:formatCode>General</c:formatCode>
                <c:ptCount val="2"/>
                <c:pt idx="0">
                  <c:v>2023</c:v>
                </c:pt>
                <c:pt idx="1">
                  <c:v>2024</c:v>
                </c:pt>
              </c:numCache>
            </c:numRef>
          </c:cat>
          <c:val>
            <c:numRef>
              <c:f>'СВ ПК средние   (2)'!$M$5:$N$5</c:f>
              <c:numCache>
                <c:formatCode>#,##0</c:formatCode>
                <c:ptCount val="2"/>
                <c:pt idx="0">
                  <c:v>53686</c:v>
                </c:pt>
                <c:pt idx="1">
                  <c:v>63761.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809-46D0-803D-A37EBA24320E}"/>
            </c:ext>
          </c:extLst>
        </c:ser>
        <c:ser>
          <c:idx val="2"/>
          <c:order val="2"/>
          <c:tx>
            <c:strRef>
              <c:f>'СВ ПК средние   (2)'!$A$6</c:f>
              <c:strCache>
                <c:ptCount val="1"/>
                <c:pt idx="0">
                  <c:v>асырауындағы 3 адаммен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spPr>
              <a:noFill/>
              <a:ln w="25400"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>
                  <a:defRPr lang="ru-KZ"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СВ ПК средние   (2)'!$M$3:$N$3</c:f>
              <c:numCache>
                <c:formatCode>General</c:formatCode>
                <c:ptCount val="2"/>
                <c:pt idx="0">
                  <c:v>2023</c:v>
                </c:pt>
                <c:pt idx="1">
                  <c:v>2024</c:v>
                </c:pt>
              </c:numCache>
            </c:numRef>
          </c:cat>
          <c:val>
            <c:numRef>
              <c:f>'СВ ПК средние   (2)'!$M$6:$N$6</c:f>
              <c:numCache>
                <c:formatCode>#,##0</c:formatCode>
                <c:ptCount val="2"/>
                <c:pt idx="0">
                  <c:v>68143</c:v>
                </c:pt>
                <c:pt idx="1">
                  <c:v>84760.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09-46D0-803D-A37EBA24320E}"/>
            </c:ext>
          </c:extLst>
        </c:ser>
        <c:ser>
          <c:idx val="3"/>
          <c:order val="3"/>
          <c:tx>
            <c:strRef>
              <c:f>'СВ ПК средние   (2)'!$A$7</c:f>
              <c:strCache>
                <c:ptCount val="1"/>
                <c:pt idx="0">
                  <c:v>асырауындағы 4 адаммен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>
              <a:innerShdw>
                <a:schemeClr val="tx1">
                  <a:lumMod val="65000"/>
                  <a:lumOff val="35000"/>
                </a:schemeClr>
              </a:innerShdw>
            </a:effectLst>
          </c:spPr>
          <c:invertIfNegative val="0"/>
          <c:dLbls>
            <c:spPr>
              <a:noFill/>
              <a:ln w="25400"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>
                  <a:defRPr lang="ru-KZ"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СВ ПК средние   (2)'!$M$3:$N$3</c:f>
              <c:numCache>
                <c:formatCode>General</c:formatCode>
                <c:ptCount val="2"/>
                <c:pt idx="0">
                  <c:v>2023</c:v>
                </c:pt>
                <c:pt idx="1">
                  <c:v>2024</c:v>
                </c:pt>
              </c:numCache>
            </c:numRef>
          </c:cat>
          <c:val>
            <c:numRef>
              <c:f>'СВ ПК средние   (2)'!$M$7:$N$7</c:f>
              <c:numCache>
                <c:formatCode>#,##0</c:formatCode>
                <c:ptCount val="2"/>
                <c:pt idx="0">
                  <c:v>80788</c:v>
                </c:pt>
                <c:pt idx="1">
                  <c:v>104732.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09-46D0-803D-A37EBA2432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0"/>
        <c:axId val="108259200"/>
        <c:axId val="108260736"/>
      </c:barChart>
      <c:catAx>
        <c:axId val="1082592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rgbClr val="000000"/>
            </a:solidFill>
            <a:prstDash val="solid"/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Arial Cyr"/>
                <a:cs typeface="Arial" panose="020B0604020202020204" pitchFamily="34" charset="0"/>
              </a:defRPr>
            </a:pPr>
            <a:endParaRPr lang="ru-RU"/>
          </a:p>
        </c:txPr>
        <c:crossAx val="108260736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108260736"/>
        <c:scaling>
          <c:orientation val="minMax"/>
          <c:max val="80000"/>
        </c:scaling>
        <c:delete val="1"/>
        <c:axPos val="l"/>
        <c:numFmt formatCode="#,##0" sourceLinked="1"/>
        <c:majorTickMark val="out"/>
        <c:minorTickMark val="none"/>
        <c:tickLblPos val="nextTo"/>
        <c:crossAx val="108259200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6.3313996170953957E-2"/>
          <c:y val="0.80169714358951039"/>
          <c:w val="0.86949922155889869"/>
          <c:h val="0.14508696568917256"/>
        </c:manualLayout>
      </c:layout>
      <c:overlay val="0"/>
      <c:spPr>
        <a:noFill/>
        <a:ln w="25400"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Arial Cyr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accent1">
        <a:lumMod val="20000"/>
        <a:lumOff val="80000"/>
        <a:alpha val="0"/>
      </a:schemeClr>
    </a:solidFill>
    <a:ln w="38100" cap="flat" cmpd="sng" algn="ctr">
      <a:noFill/>
      <a:prstDash val="solid"/>
      <a:miter lim="800000"/>
    </a:ln>
    <a:effectLst/>
  </c:spPr>
  <c:txPr>
    <a:bodyPr/>
    <a:lstStyle/>
    <a:p>
      <a:pPr>
        <a:defRPr sz="1100" b="0" i="0" u="none" strike="noStrike" baseline="0">
          <a:solidFill>
            <a:srgbClr val="002060"/>
          </a:solidFill>
          <a:latin typeface="Arial" panose="020B0604020202020204" pitchFamily="34" charset="0"/>
          <a:ea typeface="Arial Cyr"/>
          <a:cs typeface="Arial" panose="020B0604020202020204" pitchFamily="34" charset="0"/>
        </a:defRPr>
      </a:pPr>
      <a:endParaRPr lang="ru-RU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1.8838578793223669E-2"/>
          <c:y val="0.115152283768755"/>
          <c:w val="0.93602003392724331"/>
          <c:h val="0.6073750767179296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получатели и суммы'!$F$17</c:f>
              <c:strCache>
                <c:ptCount val="1"/>
                <c:pt idx="0">
                  <c:v>алушылар саны (адам)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5556389584911429E-2"/>
                  <c:y val="0.16980751505743399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671-4A2D-A95B-1A9399FA5025}"/>
                </c:ext>
              </c:extLst>
            </c:dLbl>
            <c:dLbl>
              <c:idx val="1"/>
              <c:layout>
                <c:manualLayout>
                  <c:x val="-1.2445111667929143E-2"/>
                  <c:y val="0.29473208958971098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671-4A2D-A95B-1A9399FA5025}"/>
                </c:ext>
              </c:extLst>
            </c:dLbl>
            <c:dLbl>
              <c:idx val="2"/>
              <c:layout>
                <c:manualLayout>
                  <c:x val="-1.5556389584911543E-2"/>
                  <c:y val="0.25970190663667519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671-4A2D-A95B-1A9399FA50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получатели и суммы'!$G$16:$I$16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'получатели и суммы'!$G$17:$I$17</c:f>
              <c:numCache>
                <c:formatCode>#,##0</c:formatCode>
                <c:ptCount val="3"/>
                <c:pt idx="0">
                  <c:v>110619</c:v>
                </c:pt>
                <c:pt idx="1">
                  <c:v>224145</c:v>
                </c:pt>
                <c:pt idx="2">
                  <c:v>2935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A2F-489A-B9B0-5018BAB9757D}"/>
            </c:ext>
          </c:extLst>
        </c:ser>
        <c:ser>
          <c:idx val="1"/>
          <c:order val="1"/>
          <c:tx>
            <c:strRef>
              <c:f>'получатели и суммы'!$F$18</c:f>
              <c:strCache>
                <c:ptCount val="1"/>
                <c:pt idx="0">
                  <c:v>жаңа тағайындаулар саны (адам)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1112779169822856E-3"/>
                  <c:y val="0.16903262209989608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671-4A2D-A95B-1A9399FA5025}"/>
                </c:ext>
              </c:extLst>
            </c:dLbl>
            <c:dLbl>
              <c:idx val="1"/>
              <c:layout>
                <c:manualLayout>
                  <c:x val="-9.3338337509469137E-3"/>
                  <c:y val="0.20201429615804584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671-4A2D-A95B-1A9399FA5025}"/>
                </c:ext>
              </c:extLst>
            </c:dLbl>
            <c:dLbl>
              <c:idx val="2"/>
              <c:layout>
                <c:manualLayout>
                  <c:x val="-1.244511166792903E-2"/>
                  <c:y val="0.30536697415576664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671-4A2D-A95B-1A9399FA50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ctr">
                  <a:defRPr sz="9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получатели и суммы'!$G$16:$I$16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'получатели и суммы'!$G$18:$I$18</c:f>
              <c:numCache>
                <c:formatCode>#,##0</c:formatCode>
                <c:ptCount val="3"/>
                <c:pt idx="0">
                  <c:v>109923</c:v>
                </c:pt>
                <c:pt idx="1">
                  <c:v>203902</c:v>
                </c:pt>
                <c:pt idx="2">
                  <c:v>2585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A2F-489A-B9B0-5018BAB9757D}"/>
            </c:ext>
          </c:extLst>
        </c:ser>
        <c:dLbls>
          <c:dLblPos val="inBase"/>
          <c:showLegendKey val="0"/>
          <c:showVal val="1"/>
          <c:showCatName val="0"/>
          <c:showSerName val="0"/>
          <c:showPercent val="0"/>
          <c:showBubbleSize val="0"/>
        </c:dLbls>
        <c:gapWidth val="145"/>
        <c:axId val="1978877839"/>
        <c:axId val="1923827247"/>
      </c:barChart>
      <c:lineChart>
        <c:grouping val="standard"/>
        <c:varyColors val="0"/>
        <c:ser>
          <c:idx val="2"/>
          <c:order val="2"/>
          <c:tx>
            <c:strRef>
              <c:f>'получатели и суммы'!$F$19</c:f>
              <c:strCache>
                <c:ptCount val="1"/>
                <c:pt idx="0">
                  <c:v>төлемдер сомасы (млрд.теңге)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diamond"/>
            <c:size val="5"/>
            <c:spPr>
              <a:solidFill>
                <a:srgbClr val="FFC000"/>
              </a:solidFill>
              <a:ln w="9525">
                <a:solidFill>
                  <a:srgbClr val="FFC00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5.2777777777777805E-2"/>
                  <c:y val="-0.1018518518518518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A2F-489A-B9B0-5018BAB9757D}"/>
                </c:ext>
              </c:extLst>
            </c:dLbl>
            <c:dLbl>
              <c:idx val="1"/>
              <c:layout>
                <c:manualLayout>
                  <c:x val="-5.2125909252597608E-2"/>
                  <c:y val="-0.1064994838302265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A2F-489A-B9B0-5018BAB9757D}"/>
                </c:ext>
              </c:extLst>
            </c:dLbl>
            <c:dLbl>
              <c:idx val="2"/>
              <c:layout>
                <c:manualLayout>
                  <c:x val="-4.6530884416550337E-2"/>
                  <c:y val="-3.364550355662114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A2F-489A-B9B0-5018BAB9757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получатели и суммы'!$G$16:$I$16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'получатели и суммы'!$G$19:$I$19</c:f>
              <c:numCache>
                <c:formatCode>General</c:formatCode>
                <c:ptCount val="3"/>
                <c:pt idx="0">
                  <c:v>19.100000000000001</c:v>
                </c:pt>
                <c:pt idx="1">
                  <c:v>49.9</c:v>
                </c:pt>
                <c:pt idx="2">
                  <c:v>88.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A2F-489A-B9B0-5018BAB9757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694476063"/>
        <c:axId val="1514163599"/>
      </c:lineChart>
      <c:catAx>
        <c:axId val="197887783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923827247"/>
        <c:crosses val="autoZero"/>
        <c:auto val="1"/>
        <c:lblAlgn val="ctr"/>
        <c:lblOffset val="100"/>
        <c:noMultiLvlLbl val="0"/>
      </c:catAx>
      <c:valAx>
        <c:axId val="1923827247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978877839"/>
        <c:crosses val="autoZero"/>
        <c:crossBetween val="between"/>
      </c:valAx>
      <c:valAx>
        <c:axId val="1514163599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694476063"/>
        <c:crosses val="max"/>
        <c:crossBetween val="between"/>
      </c:valAx>
      <c:catAx>
        <c:axId val="1694476063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51416359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3.1112779169822856E-3"/>
          <c:y val="0.83237971712364489"/>
          <c:w val="0.98595466255618669"/>
          <c:h val="0.1460033822120372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878675132990583"/>
          <c:y val="0.1722209254558201"/>
          <c:w val="0.3858222149532945"/>
          <c:h val="0.68188196953149915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4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D46-438F-9C5B-8EC2EF128BAC}"/>
              </c:ext>
            </c:extLst>
          </c:dPt>
          <c:dPt>
            <c:idx val="1"/>
            <c:bubble3D val="0"/>
            <c:spPr>
              <a:solidFill>
                <a:srgbClr val="0088B8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D46-438F-9C5B-8EC2EF128BA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D46-438F-9C5B-8EC2EF128BAC}"/>
              </c:ext>
            </c:extLst>
          </c:dPt>
          <c:dPt>
            <c:idx val="3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D46-438F-9C5B-8EC2EF128BAC}"/>
              </c:ext>
            </c:extLst>
          </c:dPt>
          <c:dPt>
            <c:idx val="4"/>
            <c:bubble3D val="0"/>
            <c:spPr>
              <a:solidFill>
                <a:schemeClr val="accent6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5D46-438F-9C5B-8EC2EF128BAC}"/>
              </c:ext>
            </c:extLst>
          </c:dPt>
          <c:dPt>
            <c:idx val="5"/>
            <c:bubble3D val="0"/>
            <c:spPr>
              <a:solidFill>
                <a:srgbClr val="0D536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5D46-438F-9C5B-8EC2EF128BAC}"/>
              </c:ext>
            </c:extLst>
          </c:dPt>
          <c:dLbls>
            <c:dLbl>
              <c:idx val="0"/>
              <c:layout>
                <c:manualLayout>
                  <c:x val="0.14476688246890865"/>
                  <c:y val="-0.157188424021379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700" b="0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4E0A89B5-4218-4D9E-8AB3-F6A514D9BFB6}" type="CATEGORYNAME">
                      <a:rPr lang="ru-RU" sz="70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7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sz="7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</a:t>
                    </a:r>
                    <a:fld id="{C6F65B0B-73B2-451E-A0EF-674376E086A6}" type="PERCENTAGE">
                      <a:rPr lang="ru-RU" sz="700" b="1" baseline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7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ПРОЦЕНТ]</a:t>
                    </a:fld>
                    <a:endParaRPr lang="ru-RU" sz="700" baseline="0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c:rich>
              </c:tx>
              <c:spPr>
                <a:solidFill>
                  <a:sysClr val="window" lastClr="FFFFFF">
                    <a:alpha val="0"/>
                  </a:sys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70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24634"/>
                        <a:gd name="adj2" fmla="val 50956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40327541278115225"/>
                      <c:h val="0.18737554499902384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5D46-438F-9C5B-8EC2EF128BAC}"/>
                </c:ext>
              </c:extLst>
            </c:dLbl>
            <c:dLbl>
              <c:idx val="1"/>
              <c:layout>
                <c:manualLayout>
                  <c:x val="0.21990773348374049"/>
                  <c:y val="-4.5630867831387936E-2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700" b="0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89A40805-5719-4038-AF47-19E1424344CC}" type="CATEGORYNAME">
                      <a:rPr lang="ru-RU" sz="70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7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sz="7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</a:t>
                    </a:r>
                    <a:fld id="{0DD81572-9430-46B2-9466-82C07493A266}" type="PERCENTAGE">
                      <a:rPr lang="ru-RU" sz="700" b="1" baseline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7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ПРОЦЕНТ]</a:t>
                    </a:fld>
                    <a:endParaRPr lang="ru-RU" sz="700" baseline="0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c:rich>
              </c:tx>
              <c:spPr>
                <a:solidFill>
                  <a:sysClr val="window" lastClr="FFFFFF">
                    <a:alpha val="0"/>
                  </a:sys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70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50469"/>
                        <a:gd name="adj2" fmla="val 19969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41754629436374491"/>
                      <c:h val="0.1672183635023012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5D46-438F-9C5B-8EC2EF128BAC}"/>
                </c:ext>
              </c:extLst>
            </c:dLbl>
            <c:dLbl>
              <c:idx val="2"/>
              <c:layout>
                <c:manualLayout>
                  <c:x val="0.22563027034015784"/>
                  <c:y val="-1.4110059587415125E-2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700" b="0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D993FB33-E32D-438B-B8BA-63C75709333F}" type="CATEGORYNAME">
                      <a:rPr lang="ru-RU" sz="70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7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sz="7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</a:t>
                    </a:r>
                    <a:fld id="{4B81E2AF-2D11-40A4-92EC-7A0DF0A1CAA8}" type="PERCENTAGE">
                      <a:rPr lang="ru-RU" sz="700" b="1" baseline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7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ПРОЦЕНТ]</a:t>
                    </a:fld>
                    <a:endParaRPr lang="ru-RU" sz="700" baseline="0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c:rich>
              </c:tx>
              <c:spPr>
                <a:solidFill>
                  <a:sysClr val="window" lastClr="FFFFFF">
                    <a:alpha val="0"/>
                  </a:sys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70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50266"/>
                        <a:gd name="adj2" fmla="val -16526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37268476857779392"/>
                      <c:h val="0.17124976164358488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5D46-438F-9C5B-8EC2EF128BAC}"/>
                </c:ext>
              </c:extLst>
            </c:dLbl>
            <c:dLbl>
              <c:idx val="3"/>
              <c:layout>
                <c:manualLayout>
                  <c:x val="0.22743799792507716"/>
                  <c:y val="1.9216794082052513E-2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700" b="0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7E58EAF2-7F75-4473-9898-7BBD26FD1A22}" type="CATEGORYNAME">
                      <a:rPr lang="ru-RU" sz="70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7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sz="7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</a:t>
                    </a:r>
                    <a:fld id="{3D143B29-4E58-455D-B2D2-DB9CA30AA055}" type="PERCENTAGE">
                      <a:rPr lang="ru-RU" sz="700" b="1" baseline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7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ПРОЦЕНТ]</a:t>
                    </a:fld>
                    <a:endParaRPr lang="ru-RU" sz="700" baseline="0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c:rich>
              </c:tx>
              <c:spPr>
                <a:solidFill>
                  <a:sysClr val="window" lastClr="FFFFFF">
                    <a:alpha val="0"/>
                  </a:sys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70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50266"/>
                        <a:gd name="adj2" fmla="val -18592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37630022374763256"/>
                      <c:h val="0.1752811597848685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5D46-438F-9C5B-8EC2EF128BAC}"/>
                </c:ext>
              </c:extLst>
            </c:dLbl>
            <c:dLbl>
              <c:idx val="4"/>
              <c:layout>
                <c:manualLayout>
                  <c:x val="0.2214148679905418"/>
                  <c:y val="0.14835788854590681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700" b="0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D93AB481-FFAF-44D2-8BF7-721D4F31ACD6}" type="CATEGORYNAME">
                      <a:rPr lang="ru-RU" sz="70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7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sz="7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</a:t>
                    </a:r>
                    <a:fld id="{3F9E1514-A663-4D04-A13A-5AA96EDD2725}" type="PERCENTAGE">
                      <a:rPr lang="ru-RU" sz="700" b="1" baseline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7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ПРОЦЕНТ]</a:t>
                    </a:fld>
                    <a:endParaRPr lang="ru-RU" sz="700" baseline="0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c:rich>
              </c:tx>
              <c:spPr>
                <a:solidFill>
                  <a:sysClr val="window" lastClr="FFFFFF">
                    <a:alpha val="0"/>
                  </a:sys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70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22904"/>
                        <a:gd name="adj2" fmla="val -55087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490703033811691"/>
                      <c:h val="0.17124989914937441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5D46-438F-9C5B-8EC2EF128BAC}"/>
                </c:ext>
              </c:extLst>
            </c:dLbl>
            <c:dLbl>
              <c:idx val="5"/>
              <c:layout>
                <c:manualLayout>
                  <c:x val="-0.17282269191705912"/>
                  <c:y val="-0.10634440926969925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700" b="0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DBF02630-383A-495A-953E-7F347C46060F}" type="CATEGORYNAME">
                      <a:rPr lang="ru-RU" sz="70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7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sz="7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</a:t>
                    </a:r>
                    <a:fld id="{53D85B3B-E2A1-4E94-B72A-AE63C8B91288}" type="PERCENTAGE">
                      <a:rPr lang="ru-RU" sz="700" b="1" baseline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7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ПРОЦЕНТ]</a:t>
                    </a:fld>
                    <a:endParaRPr lang="ru-RU" sz="700" baseline="0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c:rich>
              </c:tx>
              <c:spPr>
                <a:solidFill>
                  <a:sysClr val="window" lastClr="FFFFFF">
                    <a:alpha val="0"/>
                  </a:sys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70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22604"/>
                        <a:gd name="adj2" fmla="val 50955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20555605952176967"/>
                      <c:h val="0.31597237657779115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5D46-438F-9C5B-8EC2EF128BAC}"/>
                </c:ext>
              </c:extLst>
            </c:dLbl>
            <c:spPr>
              <a:solidFill>
                <a:sysClr val="window" lastClr="FFFFFF">
                  <a:alpha val="0"/>
                </a:sysClr>
              </a:solidFill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'структ СВпр'!$A$2:$F$2</c:f>
              <c:strCache>
                <c:ptCount val="6"/>
                <c:pt idx="0">
                  <c:v>6 айдан 12 айға дейін 
(1ай төлеу құқығымен)</c:v>
                </c:pt>
                <c:pt idx="1">
                  <c:v>12 айдан 24 айға дейін 
(1ай төлеу құқығымен)</c:v>
                </c:pt>
                <c:pt idx="2">
                  <c:v>24 айдан 36 айға дейін 
(1ай төлеу құқығымен)</c:v>
                </c:pt>
                <c:pt idx="3">
                  <c:v>36 айдан 48 айға дейін 
(1ай төлеу құқығымен)</c:v>
                </c:pt>
                <c:pt idx="4">
                  <c:v>48 айдан 60 айға дейін 
(1ай төлеу құқығымен)</c:v>
                </c:pt>
                <c:pt idx="5">
                  <c:v>60 айдан астам
(6 ай төлеу құқығымен)</c:v>
                </c:pt>
              </c:strCache>
            </c:strRef>
          </c:cat>
          <c:val>
            <c:numRef>
              <c:f>'структ СВпр'!$A$3:$F$3</c:f>
              <c:numCache>
                <c:formatCode>#,##0</c:formatCode>
                <c:ptCount val="6"/>
                <c:pt idx="0">
                  <c:v>19982</c:v>
                </c:pt>
                <c:pt idx="1">
                  <c:v>28958</c:v>
                </c:pt>
                <c:pt idx="2">
                  <c:v>22907</c:v>
                </c:pt>
                <c:pt idx="3">
                  <c:v>20659</c:v>
                </c:pt>
                <c:pt idx="4">
                  <c:v>18835</c:v>
                </c:pt>
                <c:pt idx="5">
                  <c:v>1472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5D46-438F-9C5B-8EC2EF128B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5"/>
      </c:doughnutChart>
      <c:spPr>
        <a:noFill/>
        <a:ln>
          <a:noFill/>
        </a:ln>
        <a:effectLst/>
      </c:spPr>
    </c:plotArea>
    <c:plotVisOnly val="1"/>
    <c:dispBlanksAs val="zero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786460459094723E-2"/>
          <c:y val="5.5503406901723493E-2"/>
          <c:w val="0.92007875397551708"/>
          <c:h val="0.6890997008991990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пол и возраст СВпр'!$A$12</c:f>
              <c:strCache>
                <c:ptCount val="1"/>
                <c:pt idx="0">
                  <c:v>20 жастан 34 жасқа дейін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dLbl>
              <c:idx val="3"/>
              <c:layout>
                <c:manualLayout>
                  <c:x val="7.1301247771836003E-3"/>
                  <c:y val="-3.044140030441400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F49-435D-828F-178378B7FC96}"/>
                </c:ext>
              </c:extLst>
            </c:dLbl>
            <c:dLbl>
              <c:idx val="4"/>
              <c:layout>
                <c:manualLayout>
                  <c:x val="5.7040998217468804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F49-435D-828F-178378B7FC96}"/>
                </c:ext>
              </c:extLst>
            </c:dLbl>
            <c:dLbl>
              <c:idx val="5"/>
              <c:layout>
                <c:manualLayout>
                  <c:x val="5.7040998217468804E-3"/>
                  <c:y val="-6.088280060882800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F49-435D-828F-178378B7FC9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пол и возраст СВпр'!$N$9:$Q$10</c:f>
              <c:strCache>
                <c:ptCount val="2"/>
                <c:pt idx="0">
                  <c:v>ер адамдар</c:v>
                </c:pt>
                <c:pt idx="1">
                  <c:v>әйел адамдар</c:v>
                </c:pt>
              </c:strCache>
            </c:strRef>
          </c:cat>
          <c:val>
            <c:numRef>
              <c:f>'пол и возраст СВпр'!$N$12:$Q$12</c:f>
              <c:numCache>
                <c:formatCode>#,##0</c:formatCode>
                <c:ptCount val="2"/>
                <c:pt idx="0">
                  <c:v>60364</c:v>
                </c:pt>
                <c:pt idx="1">
                  <c:v>473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F49-435D-828F-178378B7FC96}"/>
            </c:ext>
          </c:extLst>
        </c:ser>
        <c:ser>
          <c:idx val="1"/>
          <c:order val="1"/>
          <c:tx>
            <c:strRef>
              <c:f>'пол и возраст СВпр'!$A$13</c:f>
              <c:strCache>
                <c:ptCount val="1"/>
                <c:pt idx="0">
                  <c:v>35 жастан 49 жасқа дейін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пол и возраст СВпр'!$N$9:$Q$10</c:f>
              <c:strCache>
                <c:ptCount val="2"/>
                <c:pt idx="0">
                  <c:v>ер адамдар</c:v>
                </c:pt>
                <c:pt idx="1">
                  <c:v>әйел адамдар</c:v>
                </c:pt>
              </c:strCache>
            </c:strRef>
          </c:cat>
          <c:val>
            <c:numRef>
              <c:f>'пол и возраст СВпр'!$N$13:$Q$13</c:f>
              <c:numCache>
                <c:formatCode>#,##0</c:formatCode>
                <c:ptCount val="2"/>
                <c:pt idx="0">
                  <c:v>67083</c:v>
                </c:pt>
                <c:pt idx="1">
                  <c:v>585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F49-435D-828F-178378B7FC96}"/>
            </c:ext>
          </c:extLst>
        </c:ser>
        <c:ser>
          <c:idx val="2"/>
          <c:order val="2"/>
          <c:tx>
            <c:strRef>
              <c:f>'пол и возраст СВпр'!$A$14</c:f>
              <c:strCache>
                <c:ptCount val="1"/>
                <c:pt idx="0">
                  <c:v>50 жастан 64 жасқа дейін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пол и возраст СВпр'!$N$9:$Q$10</c:f>
              <c:strCache>
                <c:ptCount val="2"/>
                <c:pt idx="0">
                  <c:v>ер адамдар</c:v>
                </c:pt>
                <c:pt idx="1">
                  <c:v>әйел адамдар</c:v>
                </c:pt>
              </c:strCache>
            </c:strRef>
          </c:cat>
          <c:val>
            <c:numRef>
              <c:f>'пол и возраст СВпр'!$N$14:$Q$14</c:f>
              <c:numCache>
                <c:formatCode>#,##0</c:formatCode>
                <c:ptCount val="2"/>
                <c:pt idx="0">
                  <c:v>31430</c:v>
                </c:pt>
                <c:pt idx="1">
                  <c:v>288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F49-435D-828F-178378B7FC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14246016"/>
        <c:axId val="114247552"/>
      </c:barChart>
      <c:catAx>
        <c:axId val="11424601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6350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14247552"/>
        <c:crosses val="autoZero"/>
        <c:auto val="1"/>
        <c:lblAlgn val="ctr"/>
        <c:lblOffset val="100"/>
        <c:noMultiLvlLbl val="0"/>
      </c:catAx>
      <c:valAx>
        <c:axId val="114247552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extTo"/>
        <c:crossAx val="1142460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7982678845965505"/>
          <c:y val="0.8211815335127558"/>
          <c:w val="0.62866743411841564"/>
          <c:h val="0.1532407960595318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1100" baseline="0"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254547262056502E-2"/>
          <c:y val="6.0080827420941244E-2"/>
          <c:w val="0.92914280033536711"/>
          <c:h val="0.806857987761058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ср размер'!$B$9</c:f>
              <c:strCache>
                <c:ptCount val="1"/>
                <c:pt idx="0">
                  <c:v>Тағайындалған төлемдердің орташа мөлшері (теңге)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р размер'!$C$8:$E$8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'ср размер'!$C$9:$E$9</c:f>
              <c:numCache>
                <c:formatCode>#,##0</c:formatCode>
                <c:ptCount val="3"/>
                <c:pt idx="0">
                  <c:v>44896</c:v>
                </c:pt>
                <c:pt idx="1">
                  <c:v>59797</c:v>
                </c:pt>
                <c:pt idx="2">
                  <c:v>81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6E2-4DFE-BDCC-A803C481E284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390603200"/>
        <c:axId val="1393709744"/>
      </c:barChart>
      <c:catAx>
        <c:axId val="13906032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393709744"/>
        <c:crosses val="autoZero"/>
        <c:auto val="1"/>
        <c:lblAlgn val="ctr"/>
        <c:lblOffset val="100"/>
        <c:noMultiLvlLbl val="0"/>
      </c:catAx>
      <c:valAx>
        <c:axId val="1393709744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extTo"/>
        <c:crossAx val="1390603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0733247077719277E-2"/>
          <c:y val="3.1665020354949648E-2"/>
          <c:w val="0.84366578923886859"/>
          <c:h val="0.742384143839223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свбр!$E$11</c:f>
              <c:strCache>
                <c:ptCount val="1"/>
                <c:pt idx="0">
                  <c:v>алушылар саны (адам)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свбр!$F$10:$H$10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свбр!$F$11:$H$11</c:f>
              <c:numCache>
                <c:formatCode>#,##0</c:formatCode>
                <c:ptCount val="3"/>
                <c:pt idx="0">
                  <c:v>251105</c:v>
                </c:pt>
                <c:pt idx="1">
                  <c:v>287513</c:v>
                </c:pt>
                <c:pt idx="2">
                  <c:v>2457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A7E-4FD2-9E6C-BEEC65CCE71B}"/>
            </c:ext>
          </c:extLst>
        </c:ser>
        <c:dLbls>
          <c:dLblPos val="inBase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281613263"/>
        <c:axId val="1923832239"/>
      </c:barChart>
      <c:lineChart>
        <c:grouping val="standard"/>
        <c:varyColors val="0"/>
        <c:ser>
          <c:idx val="2"/>
          <c:order val="2"/>
          <c:tx>
            <c:strRef>
              <c:f>свбр!$E$13</c:f>
              <c:strCache>
                <c:ptCount val="1"/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0.05"/>
                  <c:y val="-7.407407407407411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A7E-4FD2-9E6C-BEEC65CCE71B}"/>
                </c:ext>
              </c:extLst>
            </c:dLbl>
            <c:dLbl>
              <c:idx val="1"/>
              <c:layout>
                <c:manualLayout>
                  <c:x val="-3.0555555555555659E-2"/>
                  <c:y val="-5.55555555555555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A7E-4FD2-9E6C-BEEC65CCE71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900" b="1" i="0" u="none" strike="noStrike" kern="1200" baseline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свбр!$F$10:$H$10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свбр!$F$13:$H$13</c:f>
              <c:numCache>
                <c:formatCode>General</c:formatCode>
                <c:ptCount val="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A7E-4FD2-9E6C-BEEC65CCE7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81613263"/>
        <c:axId val="1923832239"/>
      </c:lineChart>
      <c:lineChart>
        <c:grouping val="standard"/>
        <c:varyColors val="0"/>
        <c:ser>
          <c:idx val="1"/>
          <c:order val="1"/>
          <c:tx>
            <c:strRef>
              <c:f>свбр!$E$12</c:f>
              <c:strCache>
                <c:ptCount val="1"/>
                <c:pt idx="0">
                  <c:v>төлемдер сомасы (млрд.теңге)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Pt>
            <c:idx val="1"/>
            <c:marker>
              <c:symbol val="none"/>
            </c:marker>
            <c:bubble3D val="0"/>
            <c:spPr>
              <a:ln w="28575" cap="rnd">
                <a:solidFill>
                  <a:srgbClr val="FFC00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EA7E-4FD2-9E6C-BEEC65CCE71B}"/>
              </c:ext>
            </c:extLst>
          </c:dPt>
          <c:dPt>
            <c:idx val="2"/>
            <c:marker>
              <c:symbol val="none"/>
            </c:marker>
            <c:bubble3D val="0"/>
            <c:spPr>
              <a:ln w="28575" cap="rnd">
                <a:solidFill>
                  <a:srgbClr val="FFC00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7-EA7E-4FD2-9E6C-BEEC65CCE71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900" b="1" i="0" u="none" strike="noStrike" kern="1200" baseline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свбр!$F$10:$H$10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свбр!$F$12:$H$12</c:f>
              <c:numCache>
                <c:formatCode>#,##0.0</c:formatCode>
                <c:ptCount val="3"/>
                <c:pt idx="0">
                  <c:v>197.9</c:v>
                </c:pt>
                <c:pt idx="1">
                  <c:v>348.2</c:v>
                </c:pt>
                <c:pt idx="2" formatCode="General">
                  <c:v>385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EA7E-4FD2-9E6C-BEEC65CCE7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89693000"/>
        <c:axId val="489692344"/>
      </c:lineChart>
      <c:catAx>
        <c:axId val="28161326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1923832239"/>
        <c:crosses val="autoZero"/>
        <c:auto val="1"/>
        <c:lblAlgn val="ctr"/>
        <c:lblOffset val="100"/>
        <c:noMultiLvlLbl val="0"/>
      </c:catAx>
      <c:valAx>
        <c:axId val="1923832239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" b="0" i="0" u="none" strike="noStrike" kern="1200" baseline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81613263"/>
        <c:crosses val="autoZero"/>
        <c:crossBetween val="between"/>
      </c:valAx>
      <c:valAx>
        <c:axId val="489692344"/>
        <c:scaling>
          <c:orientation val="minMax"/>
        </c:scaling>
        <c:delete val="0"/>
        <c:axPos val="r"/>
        <c:numFmt formatCode="#,##0.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89693000"/>
        <c:crosses val="max"/>
        <c:crossBetween val="between"/>
      </c:valAx>
      <c:catAx>
        <c:axId val="48969300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89692344"/>
        <c:crosses val="autoZero"/>
        <c:auto val="1"/>
        <c:lblAlgn val="ctr"/>
        <c:lblOffset val="100"/>
        <c:noMultiLvlLbl val="0"/>
      </c:catAx>
      <c:spPr>
        <a:noFill/>
        <a:ln w="25400">
          <a:noFill/>
        </a:ln>
        <a:effectLst/>
      </c:spPr>
    </c:plotArea>
    <c:legend>
      <c:legendPos val="b"/>
      <c:legendEntry>
        <c:idx val="1"/>
        <c:delete val="1"/>
      </c:legendEntry>
      <c:layout>
        <c:manualLayout>
          <c:xMode val="edge"/>
          <c:yMode val="edge"/>
          <c:x val="3.866757383777996E-2"/>
          <c:y val="0.90276925367605654"/>
          <c:w val="0.91133220308735607"/>
          <c:h val="9.72307463239433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lang="ru-KZ" sz="900" b="0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495103241001118E-2"/>
          <c:y val="3.4100157623085083E-2"/>
          <c:w val="0.92300979351799772"/>
          <c:h val="0.7843729307872631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свбр (3)'!$E$11</c:f>
              <c:strCache>
                <c:ptCount val="1"/>
                <c:pt idx="0">
                  <c:v>кол-во получателей (человек)</c:v>
                </c:pt>
              </c:strCache>
            </c:strRef>
          </c:tx>
          <c:spPr>
            <a:solidFill>
              <a:schemeClr val="accent5">
                <a:shade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вбр (3)'!$F$10:$H$10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'свбр (3)'!$F$11:$H$11</c:f>
            </c:numRef>
          </c:val>
          <c:extLst>
            <c:ext xmlns:c16="http://schemas.microsoft.com/office/drawing/2014/chart" uri="{C3380CC4-5D6E-409C-BE32-E72D297353CC}">
              <c16:uniqueId val="{00000000-E7AE-40BA-BE93-81A25062E2D9}"/>
            </c:ext>
          </c:extLst>
        </c:ser>
        <c:ser>
          <c:idx val="1"/>
          <c:order val="1"/>
          <c:tx>
            <c:strRef>
              <c:f>'свбр (3)'!$E$12</c:f>
              <c:strCache>
                <c:ptCount val="1"/>
                <c:pt idx="0">
                  <c:v>кол-во новых назначений (человек)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вбр (3)'!$F$10:$H$10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'свбр (3)'!$F$12:$H$12</c:f>
              <c:numCache>
                <c:formatCode>#,##0</c:formatCode>
                <c:ptCount val="3"/>
                <c:pt idx="0">
                  <c:v>241569</c:v>
                </c:pt>
                <c:pt idx="1">
                  <c:v>272957</c:v>
                </c:pt>
                <c:pt idx="2">
                  <c:v>2309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7AE-40BA-BE93-81A25062E2D9}"/>
            </c:ext>
          </c:extLst>
        </c:ser>
        <c:dLbls>
          <c:dLblPos val="inBase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81613263"/>
        <c:axId val="1923832239"/>
      </c:barChart>
      <c:lineChart>
        <c:grouping val="standard"/>
        <c:varyColors val="0"/>
        <c:ser>
          <c:idx val="2"/>
          <c:order val="2"/>
          <c:tx>
            <c:strRef>
              <c:f>'свбр (3)'!$E$13</c:f>
              <c:strCache>
                <c:ptCount val="1"/>
                <c:pt idx="0">
                  <c:v>сумма выплат (млрд.тенге)</c:v>
                </c:pt>
              </c:strCache>
            </c:strRef>
          </c:tx>
          <c:spPr>
            <a:ln w="28575" cap="rnd">
              <a:solidFill>
                <a:schemeClr val="accent5">
                  <a:tint val="6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tint val="65000"/>
                </a:schemeClr>
              </a:solidFill>
              <a:ln w="9525">
                <a:solidFill>
                  <a:schemeClr val="accent5">
                    <a:tint val="65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0.05"/>
                  <c:y val="-7.407407407407411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7AE-40BA-BE93-81A25062E2D9}"/>
                </c:ext>
              </c:extLst>
            </c:dLbl>
            <c:dLbl>
              <c:idx val="1"/>
              <c:layout>
                <c:manualLayout>
                  <c:x val="-3.0555555555555659E-2"/>
                  <c:y val="-5.55555555555555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7AE-40BA-BE93-81A25062E2D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900" b="1" i="0" u="none" strike="noStrike" kern="1200" baseline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вбр (3)'!$F$10:$H$10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'свбр (3)'!$F$13:$H$13</c:f>
            </c:numRef>
          </c:val>
          <c:smooth val="0"/>
          <c:extLst>
            <c:ext xmlns:c16="http://schemas.microsoft.com/office/drawing/2014/chart" uri="{C3380CC4-5D6E-409C-BE32-E72D297353CC}">
              <c16:uniqueId val="{00000004-E7AE-40BA-BE93-81A25062E2D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91933999"/>
        <c:axId val="1927264863"/>
      </c:lineChart>
      <c:catAx>
        <c:axId val="28161326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923832239"/>
        <c:crosses val="autoZero"/>
        <c:auto val="1"/>
        <c:lblAlgn val="ctr"/>
        <c:lblOffset val="100"/>
        <c:noMultiLvlLbl val="0"/>
      </c:catAx>
      <c:valAx>
        <c:axId val="1923832239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281613263"/>
        <c:crosses val="autoZero"/>
        <c:crossBetween val="between"/>
      </c:valAx>
      <c:valAx>
        <c:axId val="1927264863"/>
        <c:scaling>
          <c:orientation val="minMax"/>
        </c:scaling>
        <c:delete val="1"/>
        <c:axPos val="r"/>
        <c:numFmt formatCode="General" sourceLinked="1"/>
        <c:majorTickMark val="out"/>
        <c:minorTickMark val="none"/>
        <c:tickLblPos val="nextTo"/>
        <c:crossAx val="291933999"/>
        <c:crosses val="max"/>
        <c:crossBetween val="between"/>
      </c:valAx>
      <c:catAx>
        <c:axId val="29193399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92726486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5891104641359979E-2"/>
          <c:y val="2.2892878752464291E-2"/>
          <c:w val="0.91259892447252011"/>
          <c:h val="0.7614435852771750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ср.размер!$D$11</c:f>
              <c:strCache>
                <c:ptCount val="1"/>
                <c:pt idx="0">
                  <c:v>средний размер назначенных выплат (тенге)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ср.размер!$E$10:$G$10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ср.размер!$E$11:$G$11</c:f>
              <c:numCache>
                <c:formatCode>#,##0</c:formatCode>
                <c:ptCount val="3"/>
                <c:pt idx="0">
                  <c:v>810523</c:v>
                </c:pt>
                <c:pt idx="1">
                  <c:v>1244813</c:v>
                </c:pt>
                <c:pt idx="2">
                  <c:v>16212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2F4-473D-B34D-115E61F9F90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7"/>
        <c:axId val="1522725280"/>
        <c:axId val="1667284800"/>
      </c:barChart>
      <c:catAx>
        <c:axId val="15227252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667284800"/>
        <c:crosses val="autoZero"/>
        <c:auto val="1"/>
        <c:lblAlgn val="ctr"/>
        <c:lblOffset val="100"/>
        <c:noMultiLvlLbl val="0"/>
      </c:catAx>
      <c:valAx>
        <c:axId val="1667284800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15227252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1632251720747297E-2"/>
          <c:y val="0.13604118050954309"/>
          <c:w val="0.53457521349654313"/>
          <c:h val="0.69168333467238385"/>
        </c:manualLayout>
      </c:layout>
      <c:pieChart>
        <c:varyColors val="1"/>
        <c:ser>
          <c:idx val="0"/>
          <c:order val="0"/>
          <c:tx>
            <c:strRef>
              <c:f>Список!$A$7</c:f>
              <c:strCache>
                <c:ptCount val="1"/>
                <c:pt idx="0">
                  <c:v>1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ln>
                      <a:noFill/>
                    </a:ln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dk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multiLvlStrRef>
              <c:f>Список!$B$5:$O$6</c:f>
              <c:multiLvlStrCache>
                <c:ptCount val="12"/>
                <c:lvl>
                  <c:pt idx="0">
                    <c:v>1 ай</c:v>
                  </c:pt>
                  <c:pt idx="1">
                    <c:v>2 ай</c:v>
                  </c:pt>
                  <c:pt idx="2">
                    <c:v>3 ай</c:v>
                  </c:pt>
                  <c:pt idx="3">
                    <c:v>4 ай</c:v>
                  </c:pt>
                  <c:pt idx="4">
                    <c:v>5 ай</c:v>
                  </c:pt>
                  <c:pt idx="5">
                    <c:v>6 ай</c:v>
                  </c:pt>
                  <c:pt idx="6">
                    <c:v>7 ай</c:v>
                  </c:pt>
                  <c:pt idx="7">
                    <c:v>8 ай</c:v>
                  </c:pt>
                  <c:pt idx="8">
                    <c:v>9 ай</c:v>
                  </c:pt>
                  <c:pt idx="9">
                    <c:v>10 ай</c:v>
                  </c:pt>
                  <c:pt idx="10">
                    <c:v>11 ай</c:v>
                  </c:pt>
                  <c:pt idx="11">
                    <c:v>12 ай</c:v>
                  </c:pt>
                </c:lvl>
                <c:lvl>
                  <c:pt idx="0">
                    <c:v>Төлем жиілігімен қатысушылар саны</c:v>
                  </c:pt>
                </c:lvl>
              </c:multiLvlStrCache>
            </c:multiLvlStrRef>
          </c:cat>
          <c:val>
            <c:numRef>
              <c:f>Список!$B$7:$O$7</c:f>
            </c:numRef>
          </c:val>
          <c:extLst>
            <c:ext xmlns:c16="http://schemas.microsoft.com/office/drawing/2014/chart" uri="{C3380CC4-5D6E-409C-BE32-E72D297353CC}">
              <c16:uniqueId val="{00000000-8904-4907-BB38-7A708D08E5C4}"/>
            </c:ext>
          </c:extLst>
        </c:ser>
        <c:ser>
          <c:idx val="1"/>
          <c:order val="1"/>
          <c:tx>
            <c:strRef>
              <c:f>Список!$A$8</c:f>
              <c:strCache>
                <c:ptCount val="1"/>
                <c:pt idx="0">
                  <c:v>1. Наемные ЮЛ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ln>
                      <a:noFill/>
                    </a:ln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dk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multiLvlStrRef>
              <c:f>Список!$B$5:$O$6</c:f>
              <c:multiLvlStrCache>
                <c:ptCount val="12"/>
                <c:lvl>
                  <c:pt idx="0">
                    <c:v>1 ай</c:v>
                  </c:pt>
                  <c:pt idx="1">
                    <c:v>2 ай</c:v>
                  </c:pt>
                  <c:pt idx="2">
                    <c:v>3 ай</c:v>
                  </c:pt>
                  <c:pt idx="3">
                    <c:v>4 ай</c:v>
                  </c:pt>
                  <c:pt idx="4">
                    <c:v>5 ай</c:v>
                  </c:pt>
                  <c:pt idx="5">
                    <c:v>6 ай</c:v>
                  </c:pt>
                  <c:pt idx="6">
                    <c:v>7 ай</c:v>
                  </c:pt>
                  <c:pt idx="7">
                    <c:v>8 ай</c:v>
                  </c:pt>
                  <c:pt idx="8">
                    <c:v>9 ай</c:v>
                  </c:pt>
                  <c:pt idx="9">
                    <c:v>10 ай</c:v>
                  </c:pt>
                  <c:pt idx="10">
                    <c:v>11 ай</c:v>
                  </c:pt>
                  <c:pt idx="11">
                    <c:v>12 ай</c:v>
                  </c:pt>
                </c:lvl>
                <c:lvl>
                  <c:pt idx="0">
                    <c:v>Төлем жиілігімен қатысушылар саны</c:v>
                  </c:pt>
                </c:lvl>
              </c:multiLvlStrCache>
            </c:multiLvlStrRef>
          </c:cat>
          <c:val>
            <c:numRef>
              <c:f>Список!$B$8:$O$8</c:f>
            </c:numRef>
          </c:val>
          <c:extLst>
            <c:ext xmlns:c16="http://schemas.microsoft.com/office/drawing/2014/chart" uri="{C3380CC4-5D6E-409C-BE32-E72D297353CC}">
              <c16:uniqueId val="{00000001-8904-4907-BB38-7A708D08E5C4}"/>
            </c:ext>
          </c:extLst>
        </c:ser>
        <c:ser>
          <c:idx val="2"/>
          <c:order val="2"/>
          <c:tx>
            <c:strRef>
              <c:f>Список!$A$9</c:f>
              <c:strCache>
                <c:ptCount val="1"/>
                <c:pt idx="0">
                  <c:v>2. Объединенные платежи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ln>
                      <a:noFill/>
                    </a:ln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dk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multiLvlStrRef>
              <c:f>Список!$B$5:$O$6</c:f>
              <c:multiLvlStrCache>
                <c:ptCount val="12"/>
                <c:lvl>
                  <c:pt idx="0">
                    <c:v>1 ай</c:v>
                  </c:pt>
                  <c:pt idx="1">
                    <c:v>2 ай</c:v>
                  </c:pt>
                  <c:pt idx="2">
                    <c:v>3 ай</c:v>
                  </c:pt>
                  <c:pt idx="3">
                    <c:v>4 ай</c:v>
                  </c:pt>
                  <c:pt idx="4">
                    <c:v>5 ай</c:v>
                  </c:pt>
                  <c:pt idx="5">
                    <c:v>6 ай</c:v>
                  </c:pt>
                  <c:pt idx="6">
                    <c:v>7 ай</c:v>
                  </c:pt>
                  <c:pt idx="7">
                    <c:v>8 ай</c:v>
                  </c:pt>
                  <c:pt idx="8">
                    <c:v>9 ай</c:v>
                  </c:pt>
                  <c:pt idx="9">
                    <c:v>10 ай</c:v>
                  </c:pt>
                  <c:pt idx="10">
                    <c:v>11 ай</c:v>
                  </c:pt>
                  <c:pt idx="11">
                    <c:v>12 ай</c:v>
                  </c:pt>
                </c:lvl>
                <c:lvl>
                  <c:pt idx="0">
                    <c:v>Төлем жиілігімен қатысушылар саны</c:v>
                  </c:pt>
                </c:lvl>
              </c:multiLvlStrCache>
            </c:multiLvlStrRef>
          </c:cat>
          <c:val>
            <c:numRef>
              <c:f>Список!$B$9:$O$9</c:f>
            </c:numRef>
          </c:val>
          <c:extLst>
            <c:ext xmlns:c16="http://schemas.microsoft.com/office/drawing/2014/chart" uri="{C3380CC4-5D6E-409C-BE32-E72D297353CC}">
              <c16:uniqueId val="{00000002-8904-4907-BB38-7A708D08E5C4}"/>
            </c:ext>
          </c:extLst>
        </c:ser>
        <c:ser>
          <c:idx val="3"/>
          <c:order val="3"/>
          <c:tx>
            <c:strRef>
              <c:f>Список!$A$10</c:f>
              <c:strCache>
                <c:ptCount val="1"/>
                <c:pt idx="0">
                  <c:v>3. Платформенная занятость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ln>
                      <a:noFill/>
                    </a:ln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dk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multiLvlStrRef>
              <c:f>Список!$B$5:$O$6</c:f>
              <c:multiLvlStrCache>
                <c:ptCount val="12"/>
                <c:lvl>
                  <c:pt idx="0">
                    <c:v>1 ай</c:v>
                  </c:pt>
                  <c:pt idx="1">
                    <c:v>2 ай</c:v>
                  </c:pt>
                  <c:pt idx="2">
                    <c:v>3 ай</c:v>
                  </c:pt>
                  <c:pt idx="3">
                    <c:v>4 ай</c:v>
                  </c:pt>
                  <c:pt idx="4">
                    <c:v>5 ай</c:v>
                  </c:pt>
                  <c:pt idx="5">
                    <c:v>6 ай</c:v>
                  </c:pt>
                  <c:pt idx="6">
                    <c:v>7 ай</c:v>
                  </c:pt>
                  <c:pt idx="7">
                    <c:v>8 ай</c:v>
                  </c:pt>
                  <c:pt idx="8">
                    <c:v>9 ай</c:v>
                  </c:pt>
                  <c:pt idx="9">
                    <c:v>10 ай</c:v>
                  </c:pt>
                  <c:pt idx="10">
                    <c:v>11 ай</c:v>
                  </c:pt>
                  <c:pt idx="11">
                    <c:v>12 ай</c:v>
                  </c:pt>
                </c:lvl>
                <c:lvl>
                  <c:pt idx="0">
                    <c:v>Төлем жиілігімен қатысушылар саны</c:v>
                  </c:pt>
                </c:lvl>
              </c:multiLvlStrCache>
            </c:multiLvlStrRef>
          </c:cat>
          <c:val>
            <c:numRef>
              <c:f>Список!$B$10:$O$10</c:f>
            </c:numRef>
          </c:val>
          <c:extLst>
            <c:ext xmlns:c16="http://schemas.microsoft.com/office/drawing/2014/chart" uri="{C3380CC4-5D6E-409C-BE32-E72D297353CC}">
              <c16:uniqueId val="{00000003-8904-4907-BB38-7A708D08E5C4}"/>
            </c:ext>
          </c:extLst>
        </c:ser>
        <c:ser>
          <c:idx val="4"/>
          <c:order val="4"/>
          <c:tx>
            <c:strRef>
              <c:f>Список!$A$11</c:f>
              <c:strCache>
                <c:ptCount val="1"/>
                <c:pt idx="0">
                  <c:v>4. ИП руководители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ln>
                      <a:noFill/>
                    </a:ln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dk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multiLvlStrRef>
              <c:f>Список!$B$5:$O$6</c:f>
              <c:multiLvlStrCache>
                <c:ptCount val="12"/>
                <c:lvl>
                  <c:pt idx="0">
                    <c:v>1 ай</c:v>
                  </c:pt>
                  <c:pt idx="1">
                    <c:v>2 ай</c:v>
                  </c:pt>
                  <c:pt idx="2">
                    <c:v>3 ай</c:v>
                  </c:pt>
                  <c:pt idx="3">
                    <c:v>4 ай</c:v>
                  </c:pt>
                  <c:pt idx="4">
                    <c:v>5 ай</c:v>
                  </c:pt>
                  <c:pt idx="5">
                    <c:v>6 ай</c:v>
                  </c:pt>
                  <c:pt idx="6">
                    <c:v>7 ай</c:v>
                  </c:pt>
                  <c:pt idx="7">
                    <c:v>8 ай</c:v>
                  </c:pt>
                  <c:pt idx="8">
                    <c:v>9 ай</c:v>
                  </c:pt>
                  <c:pt idx="9">
                    <c:v>10 ай</c:v>
                  </c:pt>
                  <c:pt idx="10">
                    <c:v>11 ай</c:v>
                  </c:pt>
                  <c:pt idx="11">
                    <c:v>12 ай</c:v>
                  </c:pt>
                </c:lvl>
                <c:lvl>
                  <c:pt idx="0">
                    <c:v>Төлем жиілігімен қатысушылар саны</c:v>
                  </c:pt>
                </c:lvl>
              </c:multiLvlStrCache>
            </c:multiLvlStrRef>
          </c:cat>
          <c:val>
            <c:numRef>
              <c:f>Список!$B$11:$O$11</c:f>
            </c:numRef>
          </c:val>
          <c:extLst>
            <c:ext xmlns:c16="http://schemas.microsoft.com/office/drawing/2014/chart" uri="{C3380CC4-5D6E-409C-BE32-E72D297353CC}">
              <c16:uniqueId val="{00000004-8904-4907-BB38-7A708D08E5C4}"/>
            </c:ext>
          </c:extLst>
        </c:ser>
        <c:ser>
          <c:idx val="5"/>
          <c:order val="5"/>
          <c:tx>
            <c:strRef>
              <c:f>Список!$A$12</c:f>
              <c:strCache>
                <c:ptCount val="1"/>
                <c:pt idx="0">
                  <c:v>5. ИП наемные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ln>
                      <a:noFill/>
                    </a:ln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dk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multiLvlStrRef>
              <c:f>Список!$B$5:$O$6</c:f>
              <c:multiLvlStrCache>
                <c:ptCount val="12"/>
                <c:lvl>
                  <c:pt idx="0">
                    <c:v>1 ай</c:v>
                  </c:pt>
                  <c:pt idx="1">
                    <c:v>2 ай</c:v>
                  </c:pt>
                  <c:pt idx="2">
                    <c:v>3 ай</c:v>
                  </c:pt>
                  <c:pt idx="3">
                    <c:v>4 ай</c:v>
                  </c:pt>
                  <c:pt idx="4">
                    <c:v>5 ай</c:v>
                  </c:pt>
                  <c:pt idx="5">
                    <c:v>6 ай</c:v>
                  </c:pt>
                  <c:pt idx="6">
                    <c:v>7 ай</c:v>
                  </c:pt>
                  <c:pt idx="7">
                    <c:v>8 ай</c:v>
                  </c:pt>
                  <c:pt idx="8">
                    <c:v>9 ай</c:v>
                  </c:pt>
                  <c:pt idx="9">
                    <c:v>10 ай</c:v>
                  </c:pt>
                  <c:pt idx="10">
                    <c:v>11 ай</c:v>
                  </c:pt>
                  <c:pt idx="11">
                    <c:v>12 ай</c:v>
                  </c:pt>
                </c:lvl>
                <c:lvl>
                  <c:pt idx="0">
                    <c:v>Төлем жиілігімен қатысушылар саны</c:v>
                  </c:pt>
                </c:lvl>
              </c:multiLvlStrCache>
            </c:multiLvlStrRef>
          </c:cat>
          <c:val>
            <c:numRef>
              <c:f>Список!$B$12:$O$12</c:f>
            </c:numRef>
          </c:val>
          <c:extLst>
            <c:ext xmlns:c16="http://schemas.microsoft.com/office/drawing/2014/chart" uri="{C3380CC4-5D6E-409C-BE32-E72D297353CC}">
              <c16:uniqueId val="{00000005-8904-4907-BB38-7A708D08E5C4}"/>
            </c:ext>
          </c:extLst>
        </c:ser>
        <c:ser>
          <c:idx val="6"/>
          <c:order val="6"/>
          <c:tx>
            <c:strRef>
              <c:f>Список!$A$13</c:f>
              <c:strCache>
                <c:ptCount val="1"/>
                <c:pt idx="0">
                  <c:v>6. Смешанные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ln>
                      <a:noFill/>
                    </a:ln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dk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multiLvlStrRef>
              <c:f>Список!$B$5:$O$6</c:f>
              <c:multiLvlStrCache>
                <c:ptCount val="12"/>
                <c:lvl>
                  <c:pt idx="0">
                    <c:v>1 ай</c:v>
                  </c:pt>
                  <c:pt idx="1">
                    <c:v>2 ай</c:v>
                  </c:pt>
                  <c:pt idx="2">
                    <c:v>3 ай</c:v>
                  </c:pt>
                  <c:pt idx="3">
                    <c:v>4 ай</c:v>
                  </c:pt>
                  <c:pt idx="4">
                    <c:v>5 ай</c:v>
                  </c:pt>
                  <c:pt idx="5">
                    <c:v>6 ай</c:v>
                  </c:pt>
                  <c:pt idx="6">
                    <c:v>7 ай</c:v>
                  </c:pt>
                  <c:pt idx="7">
                    <c:v>8 ай</c:v>
                  </c:pt>
                  <c:pt idx="8">
                    <c:v>9 ай</c:v>
                  </c:pt>
                  <c:pt idx="9">
                    <c:v>10 ай</c:v>
                  </c:pt>
                  <c:pt idx="10">
                    <c:v>11 ай</c:v>
                  </c:pt>
                  <c:pt idx="11">
                    <c:v>12 ай</c:v>
                  </c:pt>
                </c:lvl>
                <c:lvl>
                  <c:pt idx="0">
                    <c:v>Төлем жиілігімен қатысушылар саны</c:v>
                  </c:pt>
                </c:lvl>
              </c:multiLvlStrCache>
            </c:multiLvlStrRef>
          </c:cat>
          <c:val>
            <c:numRef>
              <c:f>Список!$B$13:$O$13</c:f>
            </c:numRef>
          </c:val>
          <c:extLst>
            <c:ext xmlns:c16="http://schemas.microsoft.com/office/drawing/2014/chart" uri="{C3380CC4-5D6E-409C-BE32-E72D297353CC}">
              <c16:uniqueId val="{00000006-8904-4907-BB38-7A708D08E5C4}"/>
            </c:ext>
          </c:extLst>
        </c:ser>
        <c:ser>
          <c:idx val="7"/>
          <c:order val="7"/>
          <c:tx>
            <c:strRef>
              <c:f>Список!$A$14</c:f>
              <c:strCache>
                <c:ptCount val="1"/>
                <c:pt idx="0">
                  <c:v>7. ЕСП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ln>
                      <a:noFill/>
                    </a:ln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dk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multiLvlStrRef>
              <c:f>Список!$B$5:$O$6</c:f>
              <c:multiLvlStrCache>
                <c:ptCount val="12"/>
                <c:lvl>
                  <c:pt idx="0">
                    <c:v>1 ай</c:v>
                  </c:pt>
                  <c:pt idx="1">
                    <c:v>2 ай</c:v>
                  </c:pt>
                  <c:pt idx="2">
                    <c:v>3 ай</c:v>
                  </c:pt>
                  <c:pt idx="3">
                    <c:v>4 ай</c:v>
                  </c:pt>
                  <c:pt idx="4">
                    <c:v>5 ай</c:v>
                  </c:pt>
                  <c:pt idx="5">
                    <c:v>6 ай</c:v>
                  </c:pt>
                  <c:pt idx="6">
                    <c:v>7 ай</c:v>
                  </c:pt>
                  <c:pt idx="7">
                    <c:v>8 ай</c:v>
                  </c:pt>
                  <c:pt idx="8">
                    <c:v>9 ай</c:v>
                  </c:pt>
                  <c:pt idx="9">
                    <c:v>10 ай</c:v>
                  </c:pt>
                  <c:pt idx="10">
                    <c:v>11 ай</c:v>
                  </c:pt>
                  <c:pt idx="11">
                    <c:v>12 ай</c:v>
                  </c:pt>
                </c:lvl>
                <c:lvl>
                  <c:pt idx="0">
                    <c:v>Төлем жиілігімен қатысушылар саны</c:v>
                  </c:pt>
                </c:lvl>
              </c:multiLvlStrCache>
            </c:multiLvlStrRef>
          </c:cat>
          <c:val>
            <c:numRef>
              <c:f>Список!$B$14:$O$14</c:f>
            </c:numRef>
          </c:val>
          <c:extLst>
            <c:ext xmlns:c16="http://schemas.microsoft.com/office/drawing/2014/chart" uri="{C3380CC4-5D6E-409C-BE32-E72D297353CC}">
              <c16:uniqueId val="{00000007-8904-4907-BB38-7A708D08E5C4}"/>
            </c:ext>
          </c:extLst>
        </c:ser>
        <c:ser>
          <c:idx val="8"/>
          <c:order val="8"/>
          <c:tx>
            <c:strRef>
              <c:f>Список!$A$15</c:f>
              <c:strCache>
                <c:ptCount val="1"/>
                <c:pt idx="0">
                  <c:v>Всего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ln>
                      <a:noFill/>
                    </a:ln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dk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multiLvlStrRef>
              <c:f>Список!$B$5:$O$6</c:f>
              <c:multiLvlStrCache>
                <c:ptCount val="12"/>
                <c:lvl>
                  <c:pt idx="0">
                    <c:v>1 ай</c:v>
                  </c:pt>
                  <c:pt idx="1">
                    <c:v>2 ай</c:v>
                  </c:pt>
                  <c:pt idx="2">
                    <c:v>3 ай</c:v>
                  </c:pt>
                  <c:pt idx="3">
                    <c:v>4 ай</c:v>
                  </c:pt>
                  <c:pt idx="4">
                    <c:v>5 ай</c:v>
                  </c:pt>
                  <c:pt idx="5">
                    <c:v>6 ай</c:v>
                  </c:pt>
                  <c:pt idx="6">
                    <c:v>7 ай</c:v>
                  </c:pt>
                  <c:pt idx="7">
                    <c:v>8 ай</c:v>
                  </c:pt>
                  <c:pt idx="8">
                    <c:v>9 ай</c:v>
                  </c:pt>
                  <c:pt idx="9">
                    <c:v>10 ай</c:v>
                  </c:pt>
                  <c:pt idx="10">
                    <c:v>11 ай</c:v>
                  </c:pt>
                  <c:pt idx="11">
                    <c:v>12 ай</c:v>
                  </c:pt>
                </c:lvl>
                <c:lvl>
                  <c:pt idx="0">
                    <c:v>Төлем жиілігімен қатысушылар саны</c:v>
                  </c:pt>
                </c:lvl>
              </c:multiLvlStrCache>
            </c:multiLvlStrRef>
          </c:cat>
          <c:val>
            <c:numRef>
              <c:f>Список!$B$15:$O$15</c:f>
            </c:numRef>
          </c:val>
          <c:extLst>
            <c:ext xmlns:c16="http://schemas.microsoft.com/office/drawing/2014/chart" uri="{C3380CC4-5D6E-409C-BE32-E72D297353CC}">
              <c16:uniqueId val="{00000008-8904-4907-BB38-7A708D08E5C4}"/>
            </c:ext>
          </c:extLst>
        </c:ser>
        <c:ser>
          <c:idx val="9"/>
          <c:order val="9"/>
          <c:tx>
            <c:strRef>
              <c:f>Список!$A$16</c:f>
              <c:strCache>
                <c:ptCount val="1"/>
                <c:pt idx="0">
                  <c:v>Всего</c:v>
                </c:pt>
              </c:strCache>
            </c:strRef>
          </c:tx>
          <c:dPt>
            <c:idx val="0"/>
            <c:bubble3D val="0"/>
            <c:spPr>
              <a:gradFill>
                <a:gsLst>
                  <a:gs pos="100000">
                    <a:schemeClr val="accent1">
                      <a:lumMod val="60000"/>
                      <a:lumOff val="40000"/>
                    </a:schemeClr>
                  </a:gs>
                  <a:gs pos="0">
                    <a:schemeClr val="accent1"/>
                  </a:gs>
                </a:gsLst>
                <a:lin ang="5400000" scaled="0"/>
              </a:gra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A-8904-4907-BB38-7A708D08E5C4}"/>
              </c:ext>
            </c:extLst>
          </c:dPt>
          <c:dPt>
            <c:idx val="1"/>
            <c:bubble3D val="0"/>
            <c:spPr>
              <a:gradFill>
                <a:gsLst>
                  <a:gs pos="100000">
                    <a:schemeClr val="accent2">
                      <a:lumMod val="60000"/>
                      <a:lumOff val="40000"/>
                    </a:schemeClr>
                  </a:gs>
                  <a:gs pos="0">
                    <a:schemeClr val="accent2"/>
                  </a:gs>
                </a:gsLst>
                <a:lin ang="5400000" scaled="0"/>
              </a:gra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C-8904-4907-BB38-7A708D08E5C4}"/>
              </c:ext>
            </c:extLst>
          </c:dPt>
          <c:dPt>
            <c:idx val="2"/>
            <c:bubble3D val="0"/>
            <c:spPr>
              <a:gradFill>
                <a:gsLst>
                  <a:gs pos="100000">
                    <a:schemeClr val="accent3">
                      <a:lumMod val="60000"/>
                      <a:lumOff val="40000"/>
                    </a:schemeClr>
                  </a:gs>
                  <a:gs pos="0">
                    <a:schemeClr val="accent3"/>
                  </a:gs>
                </a:gsLst>
                <a:lin ang="5400000" scaled="0"/>
              </a:gra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E-8904-4907-BB38-7A708D08E5C4}"/>
              </c:ext>
            </c:extLst>
          </c:dPt>
          <c:dPt>
            <c:idx val="3"/>
            <c:bubble3D val="0"/>
            <c:spPr>
              <a:gradFill>
                <a:gsLst>
                  <a:gs pos="100000">
                    <a:schemeClr val="accent4">
                      <a:lumMod val="60000"/>
                      <a:lumOff val="40000"/>
                    </a:schemeClr>
                  </a:gs>
                  <a:gs pos="0">
                    <a:schemeClr val="accent4"/>
                  </a:gs>
                </a:gsLst>
                <a:lin ang="5400000" scaled="0"/>
              </a:gra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0-8904-4907-BB38-7A708D08E5C4}"/>
              </c:ext>
            </c:extLst>
          </c:dPt>
          <c:dPt>
            <c:idx val="4"/>
            <c:bubble3D val="0"/>
            <c:spPr>
              <a:gradFill>
                <a:gsLst>
                  <a:gs pos="100000">
                    <a:schemeClr val="accent5">
                      <a:lumMod val="60000"/>
                      <a:lumOff val="40000"/>
                    </a:schemeClr>
                  </a:gs>
                  <a:gs pos="0">
                    <a:schemeClr val="accent5"/>
                  </a:gs>
                </a:gsLst>
                <a:lin ang="5400000" scaled="0"/>
              </a:gra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2-8904-4907-BB38-7A708D08E5C4}"/>
              </c:ext>
            </c:extLst>
          </c:dPt>
          <c:dPt>
            <c:idx val="5"/>
            <c:bubble3D val="0"/>
            <c:spPr>
              <a:gradFill>
                <a:gsLst>
                  <a:gs pos="100000">
                    <a:schemeClr val="accent6">
                      <a:lumMod val="60000"/>
                      <a:lumOff val="40000"/>
                    </a:schemeClr>
                  </a:gs>
                  <a:gs pos="0">
                    <a:schemeClr val="accent6"/>
                  </a:gs>
                </a:gsLst>
                <a:lin ang="5400000" scaled="0"/>
              </a:gra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4-8904-4907-BB38-7A708D08E5C4}"/>
              </c:ext>
            </c:extLst>
          </c:dPt>
          <c:dPt>
            <c:idx val="6"/>
            <c:bubble3D val="0"/>
            <c:spPr>
              <a:gradFill>
                <a:gsLst>
                  <a:gs pos="100000">
                    <a:schemeClr val="accent1">
                      <a:lumMod val="60000"/>
                      <a:lumMod val="60000"/>
                      <a:lumOff val="40000"/>
                    </a:schemeClr>
                  </a:gs>
                  <a:gs pos="0">
                    <a:schemeClr val="accent1">
                      <a:lumMod val="60000"/>
                    </a:schemeClr>
                  </a:gs>
                </a:gsLst>
                <a:lin ang="5400000" scaled="0"/>
              </a:gra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6-8904-4907-BB38-7A708D08E5C4}"/>
              </c:ext>
            </c:extLst>
          </c:dPt>
          <c:dPt>
            <c:idx val="7"/>
            <c:bubble3D val="0"/>
            <c:spPr>
              <a:gradFill>
                <a:gsLst>
                  <a:gs pos="100000">
                    <a:schemeClr val="accent2">
                      <a:lumMod val="60000"/>
                      <a:lumMod val="60000"/>
                      <a:lumOff val="40000"/>
                    </a:schemeClr>
                  </a:gs>
                  <a:gs pos="0">
                    <a:schemeClr val="accent2">
                      <a:lumMod val="60000"/>
                    </a:schemeClr>
                  </a:gs>
                </a:gsLst>
                <a:lin ang="5400000" scaled="0"/>
              </a:gra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8-8904-4907-BB38-7A708D08E5C4}"/>
              </c:ext>
            </c:extLst>
          </c:dPt>
          <c:dPt>
            <c:idx val="8"/>
            <c:bubble3D val="0"/>
            <c:spPr>
              <a:gradFill>
                <a:gsLst>
                  <a:gs pos="100000">
                    <a:schemeClr val="accent3">
                      <a:lumMod val="60000"/>
                      <a:lumMod val="60000"/>
                      <a:lumOff val="40000"/>
                    </a:schemeClr>
                  </a:gs>
                  <a:gs pos="0">
                    <a:schemeClr val="accent3">
                      <a:lumMod val="60000"/>
                    </a:schemeClr>
                  </a:gs>
                </a:gsLst>
                <a:lin ang="5400000" scaled="0"/>
              </a:gra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A-8904-4907-BB38-7A708D08E5C4}"/>
              </c:ext>
            </c:extLst>
          </c:dPt>
          <c:dPt>
            <c:idx val="9"/>
            <c:bubble3D val="0"/>
            <c:spPr>
              <a:gradFill>
                <a:gsLst>
                  <a:gs pos="100000">
                    <a:schemeClr val="accent4">
                      <a:lumMod val="60000"/>
                      <a:lumMod val="60000"/>
                      <a:lumOff val="40000"/>
                    </a:schemeClr>
                  </a:gs>
                  <a:gs pos="0">
                    <a:schemeClr val="accent4">
                      <a:lumMod val="60000"/>
                    </a:schemeClr>
                  </a:gs>
                </a:gsLst>
                <a:lin ang="5400000" scaled="0"/>
              </a:gra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C-8904-4907-BB38-7A708D08E5C4}"/>
              </c:ext>
            </c:extLst>
          </c:dPt>
          <c:dPt>
            <c:idx val="10"/>
            <c:bubble3D val="0"/>
            <c:spPr>
              <a:gradFill>
                <a:gsLst>
                  <a:gs pos="100000">
                    <a:schemeClr val="accent5">
                      <a:lumMod val="60000"/>
                      <a:lumMod val="60000"/>
                      <a:lumOff val="40000"/>
                    </a:schemeClr>
                  </a:gs>
                  <a:gs pos="0">
                    <a:schemeClr val="accent5">
                      <a:lumMod val="60000"/>
                    </a:schemeClr>
                  </a:gs>
                </a:gsLst>
                <a:lin ang="5400000" scaled="0"/>
              </a:gra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E-8904-4907-BB38-7A708D08E5C4}"/>
              </c:ext>
            </c:extLst>
          </c:dPt>
          <c:dPt>
            <c:idx val="11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0-8904-4907-BB38-7A708D08E5C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ln>
                      <a:noFill/>
                    </a:ln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dk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multiLvlStrRef>
              <c:f>Список!$B$5:$O$6</c:f>
              <c:multiLvlStrCache>
                <c:ptCount val="12"/>
                <c:lvl>
                  <c:pt idx="0">
                    <c:v>1 ай</c:v>
                  </c:pt>
                  <c:pt idx="1">
                    <c:v>2 ай</c:v>
                  </c:pt>
                  <c:pt idx="2">
                    <c:v>3 ай</c:v>
                  </c:pt>
                  <c:pt idx="3">
                    <c:v>4 ай</c:v>
                  </c:pt>
                  <c:pt idx="4">
                    <c:v>5 ай</c:v>
                  </c:pt>
                  <c:pt idx="5">
                    <c:v>6 ай</c:v>
                  </c:pt>
                  <c:pt idx="6">
                    <c:v>7 ай</c:v>
                  </c:pt>
                  <c:pt idx="7">
                    <c:v>8 ай</c:v>
                  </c:pt>
                  <c:pt idx="8">
                    <c:v>9 ай</c:v>
                  </c:pt>
                  <c:pt idx="9">
                    <c:v>10 ай</c:v>
                  </c:pt>
                  <c:pt idx="10">
                    <c:v>11 ай</c:v>
                  </c:pt>
                  <c:pt idx="11">
                    <c:v>12 ай</c:v>
                  </c:pt>
                </c:lvl>
                <c:lvl>
                  <c:pt idx="0">
                    <c:v>Төлем жиілігімен қатысушылар саны</c:v>
                  </c:pt>
                </c:lvl>
              </c:multiLvlStrCache>
            </c:multiLvlStrRef>
          </c:cat>
          <c:val>
            <c:numRef>
              <c:f>Список!$B$16:$O$16</c:f>
              <c:numCache>
                <c:formatCode>0.0</c:formatCode>
                <c:ptCount val="12"/>
                <c:pt idx="0">
                  <c:v>6.3083937863848192</c:v>
                </c:pt>
                <c:pt idx="1">
                  <c:v>5.3573021796446563</c:v>
                </c:pt>
                <c:pt idx="2">
                  <c:v>4.7534249741040862</c:v>
                </c:pt>
                <c:pt idx="3">
                  <c:v>4.3451749060185296</c:v>
                </c:pt>
                <c:pt idx="4">
                  <c:v>3.9846651726360123</c:v>
                </c:pt>
                <c:pt idx="5">
                  <c:v>3.8707407035790333</c:v>
                </c:pt>
                <c:pt idx="6">
                  <c:v>3.9390017765138028</c:v>
                </c:pt>
                <c:pt idx="7">
                  <c:v>4.6381110038838758</c:v>
                </c:pt>
                <c:pt idx="8">
                  <c:v>6.0781900094573835</c:v>
                </c:pt>
                <c:pt idx="9">
                  <c:v>8.2036587467050541</c:v>
                </c:pt>
                <c:pt idx="10">
                  <c:v>13.817843125611198</c:v>
                </c:pt>
                <c:pt idx="11">
                  <c:v>34.7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1-8904-4907-BB38-7A708D08E5C4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229746207896897"/>
          <c:y val="1.9796663295246299E-2"/>
          <c:w val="0.46522606136244232"/>
          <c:h val="0.93251109063779913"/>
        </c:manualLayout>
      </c:layout>
      <c:overlay val="0"/>
      <c:spPr>
        <a:solidFill>
          <a:schemeClr val="lt1">
            <a:alpha val="50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cap="none" spc="0" baseline="0">
              <a:ln w="0"/>
              <a:solidFill>
                <a:schemeClr val="tx1"/>
              </a:solidFill>
              <a:effectLst/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ysClr val="window" lastClr="FFFFFF"/>
    </a:solidFill>
    <a:ln w="9525" cap="flat" cmpd="sng" algn="ctr">
      <a:solidFill>
        <a:schemeClr val="bg1"/>
      </a:solidFill>
      <a:round/>
    </a:ln>
    <a:effectLst/>
  </c:spPr>
  <c:txPr>
    <a:bodyPr/>
    <a:lstStyle/>
    <a:p>
      <a:pPr>
        <a:defRPr>
          <a:ln>
            <a:noFill/>
          </a:ln>
          <a:solidFill>
            <a:sysClr val="windowText" lastClr="000000"/>
          </a:solidFill>
        </a:defRPr>
      </a:pPr>
      <a:endParaRPr lang="ru-RU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lang="ru-KZ" sz="1080" b="0" i="0" u="none" strike="noStrike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ru-RU"/>
              <a:t>Жұмыс берушілердің саны бойынша ӘТжб алушыларының  үлесі  2023-2024 жж.</a:t>
            </a:r>
          </a:p>
        </c:rich>
      </c:tx>
      <c:layout>
        <c:manualLayout>
          <c:xMode val="edge"/>
          <c:yMode val="edge"/>
          <c:x val="6.9269974786739463E-2"/>
          <c:y val="2.697429160716562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ru-KZ" sz="1080" b="0" i="0" u="none" strike="noStrike" kern="1200" spc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29219445970749502"/>
          <c:y val="0.26026962995438718"/>
          <c:w val="0.70780554029250509"/>
          <c:h val="0.524934025816351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ctr">
                  <a:defRPr lang="ru-KZ" sz="8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1 жұмыс беруші</c:v>
                </c:pt>
                <c:pt idx="1">
                  <c:v>2 жұмыс беруші</c:v>
                </c:pt>
                <c:pt idx="2">
                  <c:v>3 жұмыс беруші</c:v>
                </c:pt>
                <c:pt idx="3">
                  <c:v>4 және одан да көп жұмыс беруші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64.099999999999994</c:v>
                </c:pt>
                <c:pt idx="1">
                  <c:v>27.4</c:v>
                </c:pt>
                <c:pt idx="2">
                  <c:v>5.7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275-4024-9E57-FFE31C928D74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ru-KZ" sz="8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1 жұмыс беруші</c:v>
                </c:pt>
                <c:pt idx="1">
                  <c:v>2 жұмыс беруші</c:v>
                </c:pt>
                <c:pt idx="2">
                  <c:v>3 жұмыс беруші</c:v>
                </c:pt>
                <c:pt idx="3">
                  <c:v>4 және одан да көп жұмыс беруші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 formatCode="0.0">
                  <c:v>62</c:v>
                </c:pt>
                <c:pt idx="1">
                  <c:v>31.2</c:v>
                </c:pt>
                <c:pt idx="2">
                  <c:v>5.8</c:v>
                </c:pt>
                <c:pt idx="3" formatCode="0.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275-4024-9E57-FFE31C928D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418928927"/>
        <c:axId val="314562271"/>
      </c:barChart>
      <c:catAx>
        <c:axId val="41892892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6350" cap="flat" cmpd="thickThin" algn="ctr">
            <a:solidFill>
              <a:schemeClr val="tx1">
                <a:lumMod val="15000"/>
                <a:lumOff val="85000"/>
              </a:schemeClr>
            </a:solidFill>
            <a:prstDash val="sysDot"/>
            <a:round/>
            <a:headEnd type="none"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314562271"/>
        <c:crosses val="autoZero"/>
        <c:auto val="1"/>
        <c:lblAlgn val="ctr"/>
        <c:lblOffset val="100"/>
        <c:tickMarkSkip val="1"/>
        <c:noMultiLvlLbl val="0"/>
      </c:catAx>
      <c:valAx>
        <c:axId val="314562271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1892892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9264543268749036"/>
          <c:y val="0.82786075780768464"/>
          <c:w val="0.19089294135932083"/>
          <c:h val="9.03207208665165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ru-KZ" sz="9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 algn="ctr">
        <a:defRPr lang="ru-KZ" sz="900" b="0" i="0" u="none" strike="noStrike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pPr>
      <a:endParaRPr lang="ru-RU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7.9277421940877182E-2"/>
          <c:y val="6.8287769319972116E-2"/>
          <c:w val="0.81128747418490554"/>
          <c:h val="0.5355002303143925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алушылар саны (мың адам)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88B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B5FE-444C-98A0-2B013DCB9D7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7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Лист1!$B$2:$B$17</c:f>
              <c:numCache>
                <c:formatCode>0</c:formatCode>
                <c:ptCount val="3"/>
                <c:pt idx="0">
                  <c:v>642.6</c:v>
                </c:pt>
                <c:pt idx="1">
                  <c:v>575.70000000000005</c:v>
                </c:pt>
                <c:pt idx="2">
                  <c:v>672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66-4998-8826-42BCCA4C2758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жаңа тағайындаулар саны (мың адам)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7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Лист1!$C$2:$C$17</c:f>
              <c:numCache>
                <c:formatCode>0.0</c:formatCode>
                <c:ptCount val="3"/>
                <c:pt idx="0">
                  <c:v>323.3</c:v>
                </c:pt>
                <c:pt idx="1">
                  <c:v>312.7</c:v>
                </c:pt>
                <c:pt idx="2">
                  <c:v>276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B66-4998-8826-42BCCA4C27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75"/>
        <c:overlap val="100"/>
        <c:axId val="748873136"/>
        <c:axId val="995487488"/>
      </c:barChart>
      <c:lineChart>
        <c:grouping val="standard"/>
        <c:varyColors val="0"/>
        <c:ser>
          <c:idx val="2"/>
          <c:order val="2"/>
          <c:tx>
            <c:strRef>
              <c:f>Лист1!$D$1</c:f>
              <c:strCache>
                <c:ptCount val="1"/>
                <c:pt idx="0">
                  <c:v>төлемдер соммасы (млрд.теңге)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diamond"/>
            <c:size val="5"/>
            <c:spPr>
              <a:solidFill>
                <a:srgbClr val="FFC000"/>
              </a:solidFill>
              <a:ln w="9525">
                <a:solidFill>
                  <a:srgbClr val="FFC00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8.1478078453190481E-2"/>
                  <c:y val="-5.543260567636854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AA6-43B7-A977-747E15ACEBBD}"/>
                </c:ext>
              </c:extLst>
            </c:dLbl>
            <c:dLbl>
              <c:idx val="1"/>
              <c:layout>
                <c:manualLayout>
                  <c:x val="-7.8534062021652196E-2"/>
                  <c:y val="-6.012738575924603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B66-4998-8826-42BCCA4C2758}"/>
                </c:ext>
              </c:extLst>
            </c:dLbl>
            <c:dLbl>
              <c:idx val="2"/>
              <c:layout>
                <c:manualLayout>
                  <c:x val="-9.1177791700241345E-2"/>
                  <c:y val="-5.186616442483141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B66-4998-8826-42BCCA4C2758}"/>
                </c:ext>
              </c:extLst>
            </c:dLbl>
            <c:numFmt formatCode="#,##0" sourceLinked="0"/>
            <c:spPr>
              <a:solidFill>
                <a:srgbClr val="FFC00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17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Лист1!$D$2:$D$17</c:f>
              <c:numCache>
                <c:formatCode>0.0</c:formatCode>
                <c:ptCount val="3"/>
                <c:pt idx="0">
                  <c:v>171.9</c:v>
                </c:pt>
                <c:pt idx="1">
                  <c:v>287</c:v>
                </c:pt>
                <c:pt idx="2">
                  <c:v>404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7B66-4998-8826-42BCCA4C27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94502447"/>
        <c:axId val="726488319"/>
      </c:lineChart>
      <c:catAx>
        <c:axId val="7488731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800" b="1" i="0" u="none" strike="noStrike" kern="120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ru-RU"/>
          </a:p>
        </c:txPr>
        <c:crossAx val="995487488"/>
        <c:crosses val="autoZero"/>
        <c:auto val="1"/>
        <c:lblAlgn val="ctr"/>
        <c:lblOffset val="100"/>
        <c:noMultiLvlLbl val="0"/>
      </c:catAx>
      <c:valAx>
        <c:axId val="995487488"/>
        <c:scaling>
          <c:orientation val="minMax"/>
        </c:scaling>
        <c:delete val="0"/>
        <c:axPos val="l"/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4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748873136"/>
        <c:crosses val="autoZero"/>
        <c:crossBetween val="between"/>
      </c:valAx>
      <c:valAx>
        <c:axId val="726488319"/>
        <c:scaling>
          <c:orientation val="minMax"/>
        </c:scaling>
        <c:delete val="0"/>
        <c:axPos val="r"/>
        <c:numFmt formatCode="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4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94502447"/>
        <c:crosses val="max"/>
        <c:crossBetween val="between"/>
      </c:valAx>
      <c:catAx>
        <c:axId val="594502447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72648831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9.4149131413670904E-3"/>
          <c:y val="0.74940225797721227"/>
          <c:w val="0.98116991394536113"/>
          <c:h val="0.2164538573628016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3617784475582208E-2"/>
          <c:y val="5.5290060564656171E-2"/>
          <c:w val="0.84896361650117491"/>
          <c:h val="0.71057828858284622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'СВур очередность'!$B$15</c:f>
              <c:strCache>
                <c:ptCount val="1"/>
                <c:pt idx="0">
                  <c:v>1 балаға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>
                  <a:defRPr lang="ru-KZ" sz="8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СВур очередность'!$U$13:$W$13</c:f>
              <c:numCache>
                <c:formatCode>General</c:formatCode>
                <c:ptCount val="2"/>
                <c:pt idx="0">
                  <c:v>2023</c:v>
                </c:pt>
                <c:pt idx="1">
                  <c:v>2024</c:v>
                </c:pt>
              </c:numCache>
            </c:numRef>
          </c:cat>
          <c:val>
            <c:numRef>
              <c:f>'СВур очередность'!$U$15:$W$15</c:f>
              <c:numCache>
                <c:formatCode>0.0%</c:formatCode>
                <c:ptCount val="2"/>
                <c:pt idx="0">
                  <c:v>0.24170437471230427</c:v>
                </c:pt>
                <c:pt idx="1">
                  <c:v>0.233223212745838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565-4105-AEB0-813C81AAC781}"/>
            </c:ext>
          </c:extLst>
        </c:ser>
        <c:ser>
          <c:idx val="2"/>
          <c:order val="1"/>
          <c:tx>
            <c:strRef>
              <c:f>'СВур очередность'!$B$16</c:f>
              <c:strCache>
                <c:ptCount val="1"/>
                <c:pt idx="0">
                  <c:v>2 балаға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Вур очередность'!$U$13:$W$13</c:f>
              <c:numCache>
                <c:formatCode>General</c:formatCode>
                <c:ptCount val="2"/>
                <c:pt idx="0">
                  <c:v>2023</c:v>
                </c:pt>
                <c:pt idx="1">
                  <c:v>2024</c:v>
                </c:pt>
              </c:numCache>
            </c:numRef>
          </c:cat>
          <c:val>
            <c:numRef>
              <c:f>'СВур очередность'!$U$16:$W$16</c:f>
              <c:numCache>
                <c:formatCode>0.0%</c:formatCode>
                <c:ptCount val="2"/>
                <c:pt idx="0">
                  <c:v>0.24388782254492397</c:v>
                </c:pt>
                <c:pt idx="1">
                  <c:v>0.240743328833356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565-4105-AEB0-813C81AAC781}"/>
            </c:ext>
          </c:extLst>
        </c:ser>
        <c:ser>
          <c:idx val="3"/>
          <c:order val="2"/>
          <c:tx>
            <c:strRef>
              <c:f>'СВур очередность'!$B$17</c:f>
              <c:strCache>
                <c:ptCount val="1"/>
                <c:pt idx="0">
                  <c:v>3 балаға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Вур очередность'!$U$13:$W$13</c:f>
              <c:numCache>
                <c:formatCode>General</c:formatCode>
                <c:ptCount val="2"/>
                <c:pt idx="0">
                  <c:v>2023</c:v>
                </c:pt>
                <c:pt idx="1">
                  <c:v>2024</c:v>
                </c:pt>
              </c:numCache>
            </c:numRef>
          </c:cat>
          <c:val>
            <c:numRef>
              <c:f>'СВур очередность'!$U$17:$W$17</c:f>
              <c:numCache>
                <c:formatCode>0.0%</c:formatCode>
                <c:ptCount val="2"/>
                <c:pt idx="0">
                  <c:v>0.21924803932637943</c:v>
                </c:pt>
                <c:pt idx="1">
                  <c:v>0.218507097871530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565-4105-AEB0-813C81AAC781}"/>
            </c:ext>
          </c:extLst>
        </c:ser>
        <c:ser>
          <c:idx val="4"/>
          <c:order val="3"/>
          <c:tx>
            <c:strRef>
              <c:f>'СВур очередность'!$B$18</c:f>
              <c:strCache>
                <c:ptCount val="1"/>
                <c:pt idx="0">
                  <c:v>4 және одан да көп балаға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Вур очередность'!$U$13:$W$13</c:f>
              <c:numCache>
                <c:formatCode>General</c:formatCode>
                <c:ptCount val="2"/>
                <c:pt idx="0">
                  <c:v>2023</c:v>
                </c:pt>
                <c:pt idx="1">
                  <c:v>2024</c:v>
                </c:pt>
              </c:numCache>
            </c:numRef>
          </c:cat>
          <c:val>
            <c:numRef>
              <c:f>'СВур очередность'!$U$18:$W$18</c:f>
              <c:numCache>
                <c:formatCode>0.0%</c:formatCode>
                <c:ptCount val="2"/>
                <c:pt idx="0">
                  <c:v>0.29515976341639238</c:v>
                </c:pt>
                <c:pt idx="1">
                  <c:v>0.307526360549274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565-4105-AEB0-813C81AAC781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09810048"/>
        <c:axId val="109811584"/>
      </c:barChart>
      <c:catAx>
        <c:axId val="1098100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ru-KZ" sz="8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09811584"/>
        <c:crosses val="autoZero"/>
        <c:auto val="1"/>
        <c:lblAlgn val="ctr"/>
        <c:lblOffset val="100"/>
        <c:noMultiLvlLbl val="0"/>
      </c:catAx>
      <c:valAx>
        <c:axId val="109811584"/>
        <c:scaling>
          <c:orientation val="minMax"/>
        </c:scaling>
        <c:delete val="1"/>
        <c:axPos val="l"/>
        <c:numFmt formatCode="0.0%" sourceLinked="1"/>
        <c:majorTickMark val="out"/>
        <c:minorTickMark val="none"/>
        <c:tickLblPos val="nextTo"/>
        <c:crossAx val="1098100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2292905115022005E-2"/>
          <c:y val="0.838885035833416"/>
          <c:w val="0.84685911048859708"/>
          <c:h val="0.1396153463728165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lang="ru-KZ" sz="8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>
          <a:latin typeface="Times New Roman" pitchFamily="18" charset="0"/>
          <a:cs typeface="Times New Roman" pitchFamily="18" charset="0"/>
        </a:defRPr>
      </a:pPr>
      <a:endParaRPr lang="ru-RU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25890866777035"/>
          <c:y val="0.11452681620745941"/>
          <c:w val="0.72888962460524576"/>
          <c:h val="0.6841933158524102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СВур работод гос)'!$C$46</c:f>
              <c:strCache>
                <c:ptCount val="1"/>
                <c:pt idx="0">
                  <c:v>2024</c:v>
                </c:pt>
              </c:strCache>
            </c:strRef>
          </c:tx>
          <c:spPr>
            <a:pattFill prst="sphere">
              <a:fgClr>
                <a:srgbClr val="FF0000"/>
              </a:fgClr>
              <a:bgClr>
                <a:srgbClr val="FFC000"/>
              </a:bgClr>
            </a:pattFill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solidFill>
                      <a:schemeClr val="tx2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СВур работод гос)'!$B$47:$B$50</c:f>
              <c:strCache>
                <c:ptCount val="4"/>
                <c:pt idx="0">
                  <c:v>1 жұмыс беруші </c:v>
                </c:pt>
                <c:pt idx="1">
                  <c:v>2 жұмыс беруші</c:v>
                </c:pt>
                <c:pt idx="2">
                  <c:v>3 жұмыс беруші</c:v>
                </c:pt>
                <c:pt idx="3">
                  <c:v>4 және одан да көп жұмыс беруші</c:v>
                </c:pt>
              </c:strCache>
            </c:strRef>
          </c:cat>
          <c:val>
            <c:numRef>
              <c:f>'СВур работод гос)'!$C$47:$C$50</c:f>
              <c:numCache>
                <c:formatCode>0.0</c:formatCode>
                <c:ptCount val="4"/>
                <c:pt idx="0">
                  <c:v>48.963307590611251</c:v>
                </c:pt>
                <c:pt idx="1">
                  <c:v>33.366685690755013</c:v>
                </c:pt>
                <c:pt idx="2">
                  <c:v>11.773863792343647</c:v>
                </c:pt>
                <c:pt idx="3">
                  <c:v>5.89614292629008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9AD-4221-8364-DE73D875DA21}"/>
            </c:ext>
          </c:extLst>
        </c:ser>
        <c:ser>
          <c:idx val="1"/>
          <c:order val="1"/>
          <c:tx>
            <c:strRef>
              <c:f>'СВур работод гос)'!$D$46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rgbClr val="65CCE1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СВур работод гос)'!$B$47:$B$50</c:f>
              <c:strCache>
                <c:ptCount val="4"/>
                <c:pt idx="0">
                  <c:v>1 жұмыс беруші </c:v>
                </c:pt>
                <c:pt idx="1">
                  <c:v>2 жұмыс беруші</c:v>
                </c:pt>
                <c:pt idx="2">
                  <c:v>3 жұмыс беруші</c:v>
                </c:pt>
                <c:pt idx="3">
                  <c:v>4 және одан да көп жұмыс беруші</c:v>
                </c:pt>
              </c:strCache>
            </c:strRef>
          </c:cat>
          <c:val>
            <c:numRef>
              <c:f>'СВур работод гос)'!$D$47:$D$50</c:f>
              <c:numCache>
                <c:formatCode>0.0</c:formatCode>
                <c:ptCount val="4"/>
                <c:pt idx="0">
                  <c:v>48.075520933266816</c:v>
                </c:pt>
                <c:pt idx="1">
                  <c:v>35.757319927856017</c:v>
                </c:pt>
                <c:pt idx="2">
                  <c:v>11.761451577829797</c:v>
                </c:pt>
                <c:pt idx="3">
                  <c:v>4.40570756104736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9AD-4221-8364-DE73D875DA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7210624"/>
        <c:axId val="127212160"/>
      </c:barChart>
      <c:catAx>
        <c:axId val="12721062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 anchor="b"/>
          <a:lstStyle/>
          <a:p>
            <a:pPr>
              <a:defRPr sz="10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ru-RU"/>
          </a:p>
        </c:txPr>
        <c:crossAx val="127212160"/>
        <c:crosses val="autoZero"/>
        <c:auto val="1"/>
        <c:lblAlgn val="r"/>
        <c:lblOffset val="100"/>
        <c:noMultiLvlLbl val="0"/>
      </c:catAx>
      <c:valAx>
        <c:axId val="127212160"/>
        <c:scaling>
          <c:orientation val="minMax"/>
        </c:scaling>
        <c:delete val="0"/>
        <c:axPos val="b"/>
        <c:numFmt formatCode="0.0" sourceLinked="1"/>
        <c:majorTickMark val="out"/>
        <c:minorTickMark val="none"/>
        <c:tickLblPos val="nextTo"/>
        <c:txPr>
          <a:bodyPr/>
          <a:lstStyle/>
          <a:p>
            <a:pPr>
              <a:defRPr sz="10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ru-RU"/>
          </a:p>
        </c:txPr>
        <c:crossAx val="127210624"/>
        <c:crosses val="autoZero"/>
        <c:crossBetween val="between"/>
      </c:valAx>
      <c:spPr>
        <a:noFill/>
      </c:spPr>
    </c:plotArea>
    <c:legend>
      <c:legendPos val="b"/>
      <c:layout>
        <c:manualLayout>
          <c:xMode val="edge"/>
          <c:yMode val="edge"/>
          <c:x val="0.1956107957435553"/>
          <c:y val="0.9102912882158386"/>
          <c:w val="0.64622810230116579"/>
          <c:h val="7.0028485245314465E-2"/>
        </c:manualLayout>
      </c:layout>
      <c:overlay val="0"/>
      <c:txPr>
        <a:bodyPr/>
        <a:lstStyle/>
        <a:p>
          <a:pPr>
            <a:defRPr sz="1000" b="1" i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</c:spPr>
  <c:txPr>
    <a:bodyPr anchor="t"/>
    <a:lstStyle/>
    <a:p>
      <a:pPr>
        <a:defRPr sz="1400" i="1">
          <a:latin typeface="Times New Roman" pitchFamily="18" charset="0"/>
          <a:cs typeface="Times New Roman" pitchFamily="18" charset="0"/>
        </a:defRPr>
      </a:pPr>
      <a:endParaRPr lang="ru-RU"/>
    </a:p>
  </c:txPr>
  <c:externalData r:id="rId1">
    <c:autoUpdate val="0"/>
  </c:externalData>
  <c:userShapes r:id="rId2"/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299508852481527E-2"/>
          <c:y val="6.32365932405725E-2"/>
          <c:w val="0.94078423377045051"/>
          <c:h val="0.835259960904515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0088B8">
                <a:alpha val="70000"/>
              </a:srgb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9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6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Лист1!$B$2:$B$16</c:f>
              <c:numCache>
                <c:formatCode>#,##0</c:formatCode>
                <c:ptCount val="3"/>
                <c:pt idx="0">
                  <c:v>45997</c:v>
                </c:pt>
                <c:pt idx="1">
                  <c:v>68957</c:v>
                </c:pt>
                <c:pt idx="2">
                  <c:v>867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5D3-4E04-B0DD-A072734BA4E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7"/>
        <c:axId val="748890336"/>
        <c:axId val="1171503728"/>
      </c:barChart>
      <c:catAx>
        <c:axId val="7488903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8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171503728"/>
        <c:crosses val="autoZero"/>
        <c:auto val="1"/>
        <c:lblAlgn val="ctr"/>
        <c:lblOffset val="100"/>
        <c:noMultiLvlLbl val="0"/>
      </c:catAx>
      <c:valAx>
        <c:axId val="1171503728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7488903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3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9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1 балаға</c:v>
                </c:pt>
                <c:pt idx="1">
                  <c:v>2 балаға</c:v>
                </c:pt>
                <c:pt idx="2">
                  <c:v>3 балаға</c:v>
                </c:pt>
                <c:pt idx="3">
                  <c:v>4 және одан да көп балаға</c:v>
                </c:pt>
              </c:strCache>
            </c:strRef>
          </c:cat>
          <c:val>
            <c:numRef>
              <c:f>Лист1!$B$2:$B$5</c:f>
              <c:numCache>
                <c:formatCode>#,##0</c:formatCode>
                <c:ptCount val="4"/>
                <c:pt idx="0">
                  <c:v>82975</c:v>
                </c:pt>
                <c:pt idx="1">
                  <c:v>83570</c:v>
                </c:pt>
                <c:pt idx="2">
                  <c:v>90814</c:v>
                </c:pt>
                <c:pt idx="3">
                  <c:v>894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D94-4236-8956-310D0457AEA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7"/>
        <c:axId val="251485088"/>
        <c:axId val="75430816"/>
      </c:barChart>
      <c:catAx>
        <c:axId val="2514850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8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75430816"/>
        <c:crosses val="autoZero"/>
        <c:auto val="1"/>
        <c:lblAlgn val="ctr"/>
        <c:lblOffset val="100"/>
        <c:noMultiLvlLbl val="0"/>
      </c:catAx>
      <c:valAx>
        <c:axId val="75430816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2514850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367614070430008E-2"/>
          <c:y val="7.0089777127553363E-2"/>
          <c:w val="0.93764360684933523"/>
          <c:h val="0.579227035689092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асыраушысынан айырылу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23</c:v>
                </c:pt>
                <c:pt idx="1">
                  <c:v>2024</c:v>
                </c:pt>
              </c:numCache>
            </c:numRef>
          </c:cat>
          <c:val>
            <c:numRef>
              <c:f>Лист1!$B$2:$B$3</c:f>
              <c:numCache>
                <c:formatCode>0%</c:formatCode>
                <c:ptCount val="2"/>
                <c:pt idx="0">
                  <c:v>0.01</c:v>
                </c:pt>
                <c:pt idx="1">
                  <c:v>0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E93-4676-8F19-D94D976EEDC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еңбек қабілеттілігінен айырылу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23</c:v>
                </c:pt>
                <c:pt idx="1">
                  <c:v>2024</c:v>
                </c:pt>
              </c:numCache>
            </c:numRef>
          </c:cat>
          <c:val>
            <c:numRef>
              <c:f>Лист1!$C$2:$C$3</c:f>
              <c:numCache>
                <c:formatCode>0%</c:formatCode>
                <c:ptCount val="2"/>
                <c:pt idx="0">
                  <c:v>0.02</c:v>
                </c:pt>
                <c:pt idx="1">
                  <c:v>0.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E93-4676-8F19-D94D976EEDC5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жұмысынан айырылу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23</c:v>
                </c:pt>
                <c:pt idx="1">
                  <c:v>2024</c:v>
                </c:pt>
              </c:numCache>
            </c:numRef>
          </c:cat>
          <c:val>
            <c:numRef>
              <c:f>Лист1!$D$2:$D$3</c:f>
              <c:numCache>
                <c:formatCode>0%</c:formatCode>
                <c:ptCount val="2"/>
                <c:pt idx="0">
                  <c:v>0.26</c:v>
                </c:pt>
                <c:pt idx="1">
                  <c:v>0.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E93-4676-8F19-D94D976EEDC5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жүктілік және босану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23</c:v>
                </c:pt>
                <c:pt idx="1">
                  <c:v>2024</c:v>
                </c:pt>
              </c:numCache>
            </c:numRef>
          </c:cat>
          <c:val>
            <c:numRef>
              <c:f>Лист1!$E$2:$E$3</c:f>
              <c:numCache>
                <c:formatCode>0%</c:formatCode>
                <c:ptCount val="2"/>
                <c:pt idx="0">
                  <c:v>0.34</c:v>
                </c:pt>
                <c:pt idx="1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E93-4676-8F19-D94D976EEDC5}"/>
            </c:ext>
          </c:extLst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бала күтімі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23</c:v>
                </c:pt>
                <c:pt idx="1">
                  <c:v>2024</c:v>
                </c:pt>
              </c:numCache>
            </c:numRef>
          </c:cat>
          <c:val>
            <c:numRef>
              <c:f>Лист1!$F$2:$F$3</c:f>
              <c:numCache>
                <c:formatCode>0%</c:formatCode>
                <c:ptCount val="2"/>
                <c:pt idx="0">
                  <c:v>0.37</c:v>
                </c:pt>
                <c:pt idx="1">
                  <c:v>0.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E93-4676-8F19-D94D976EEDC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823809071"/>
        <c:axId val="732924879"/>
      </c:barChart>
      <c:catAx>
        <c:axId val="82380907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732924879"/>
        <c:crosses val="autoZero"/>
        <c:auto val="1"/>
        <c:lblAlgn val="ctr"/>
        <c:lblOffset val="100"/>
        <c:noMultiLvlLbl val="0"/>
      </c:catAx>
      <c:valAx>
        <c:axId val="732924879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82380907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1.4898374280445138E-2"/>
          <c:y val="0.77042060890305741"/>
          <c:w val="0.97329314044640391"/>
          <c:h val="0.2104639973348826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just">
            <a:defRPr lang="ru-KZ"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588451399200548E-2"/>
          <c:y val="8.459466720546735E-2"/>
          <c:w val="0.94482309720159896"/>
          <c:h val="0.6902169930925456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D$9</c:f>
              <c:strCache>
                <c:ptCount val="1"/>
                <c:pt idx="0">
                  <c:v>дәстүрлі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E$8:$F$8</c:f>
              <c:numCache>
                <c:formatCode>General</c:formatCode>
                <c:ptCount val="2"/>
                <c:pt idx="0">
                  <c:v>2023</c:v>
                </c:pt>
                <c:pt idx="1">
                  <c:v>2024</c:v>
                </c:pt>
              </c:numCache>
            </c:numRef>
          </c:cat>
          <c:val>
            <c:numRef>
              <c:f>Лист1!$E$9:$F$9</c:f>
              <c:numCache>
                <c:formatCode>0.0%</c:formatCode>
                <c:ptCount val="2"/>
                <c:pt idx="0">
                  <c:v>0.39</c:v>
                </c:pt>
                <c:pt idx="1">
                  <c:v>0.291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564-46F4-A564-9FDECEF5430E}"/>
            </c:ext>
          </c:extLst>
        </c:ser>
        <c:ser>
          <c:idx val="1"/>
          <c:order val="1"/>
          <c:tx>
            <c:strRef>
              <c:f>Лист1!$D$10</c:f>
              <c:strCache>
                <c:ptCount val="1"/>
                <c:pt idx="0">
                  <c:v>электрондық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E$8:$F$8</c:f>
              <c:numCache>
                <c:formatCode>General</c:formatCode>
                <c:ptCount val="2"/>
                <c:pt idx="0">
                  <c:v>2023</c:v>
                </c:pt>
                <c:pt idx="1">
                  <c:v>2024</c:v>
                </c:pt>
              </c:numCache>
            </c:numRef>
          </c:cat>
          <c:val>
            <c:numRef>
              <c:f>Лист1!$E$10:$F$10</c:f>
              <c:numCache>
                <c:formatCode>0.0%</c:formatCode>
                <c:ptCount val="2"/>
                <c:pt idx="0">
                  <c:v>0.59599999999999997</c:v>
                </c:pt>
                <c:pt idx="1">
                  <c:v>0.704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564-46F4-A564-9FDECEF5430E}"/>
            </c:ext>
          </c:extLst>
        </c:ser>
        <c:ser>
          <c:idx val="2"/>
          <c:order val="2"/>
          <c:tx>
            <c:strRef>
              <c:f>Лист1!$D$11</c:f>
              <c:strCache>
                <c:ptCount val="1"/>
                <c:pt idx="0">
                  <c:v>композиттік</c:v>
                </c:pt>
              </c:strCache>
            </c:strRef>
          </c:tx>
          <c:spPr>
            <a:solidFill>
              <a:srgbClr val="0D5369"/>
            </a:solidFill>
            <a:ln>
              <a:solidFill>
                <a:srgbClr val="0D5369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E$8:$F$8</c:f>
              <c:numCache>
                <c:formatCode>General</c:formatCode>
                <c:ptCount val="2"/>
                <c:pt idx="0">
                  <c:v>2023</c:v>
                </c:pt>
                <c:pt idx="1">
                  <c:v>2024</c:v>
                </c:pt>
              </c:numCache>
            </c:numRef>
          </c:cat>
          <c:val>
            <c:numRef>
              <c:f>Лист1!$E$11:$F$11</c:f>
              <c:numCache>
                <c:formatCode>0.0%</c:formatCode>
                <c:ptCount val="2"/>
                <c:pt idx="0">
                  <c:v>1.4E-2</c:v>
                </c:pt>
                <c:pt idx="1">
                  <c:v>3.000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564-46F4-A564-9FDECEF5430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968307088"/>
        <c:axId val="1968061008"/>
      </c:barChart>
      <c:catAx>
        <c:axId val="19683070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968061008"/>
        <c:crosses val="autoZero"/>
        <c:auto val="1"/>
        <c:lblAlgn val="ctr"/>
        <c:lblOffset val="100"/>
        <c:noMultiLvlLbl val="0"/>
      </c:catAx>
      <c:valAx>
        <c:axId val="1968061008"/>
        <c:scaling>
          <c:orientation val="minMax"/>
        </c:scaling>
        <c:delete val="1"/>
        <c:axPos val="l"/>
        <c:numFmt formatCode="0.0%" sourceLinked="1"/>
        <c:majorTickMark val="none"/>
        <c:minorTickMark val="none"/>
        <c:tickLblPos val="nextTo"/>
        <c:crossAx val="19683070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3245689477266979"/>
          <c:y val="0.87057282357460219"/>
          <c:w val="0.53508601297111424"/>
          <c:h val="8.994966506284650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lang="ru-KZ" sz="9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2593147614383E-2"/>
          <c:y val="3.6835394492908222E-2"/>
          <c:w val="0.8882087785407502"/>
          <c:h val="0.7059374327538777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қайтаруға өтінімдер саны (мың)</c:v>
                </c:pt>
              </c:strCache>
            </c:strRef>
          </c:tx>
          <c:spPr>
            <a:solidFill>
              <a:srgbClr val="00669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2"/>
                <c:pt idx="0">
                  <c:v>2023 жылдағы 12 ай</c:v>
                </c:pt>
                <c:pt idx="1">
                  <c:v>2024 жылдағы 12 ай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2"/>
                <c:pt idx="0">
                  <c:v>84.2</c:v>
                </c:pt>
                <c:pt idx="1">
                  <c:v>1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3E2-4949-92EF-DC576B26E87D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қатысушылар саны (мың адам)</c:v>
                </c:pt>
              </c:strCache>
            </c:strRef>
          </c:tx>
          <c:spPr>
            <a:solidFill>
              <a:srgbClr val="7F6000">
                <a:alpha val="70000"/>
              </a:srgbClr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 prstMaterial="dkEdge">
              <a:bevelB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2"/>
                <c:pt idx="0">
                  <c:v>2023 жылдағы 12 ай</c:v>
                </c:pt>
                <c:pt idx="1">
                  <c:v>2024 жылдағы 12 ай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2"/>
                <c:pt idx="0">
                  <c:v>134.80000000000001</c:v>
                </c:pt>
                <c:pt idx="1">
                  <c:v>40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3E2-4949-92EF-DC576B26E87D}"/>
            </c:ext>
          </c:extLst>
        </c:ser>
        <c:dLbls>
          <c:dLblPos val="inBase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415704608"/>
        <c:axId val="415701696"/>
      </c:barChart>
      <c:lineChart>
        <c:grouping val="standard"/>
        <c:varyColors val="0"/>
        <c:ser>
          <c:idx val="2"/>
          <c:order val="2"/>
          <c:tx>
            <c:strRef>
              <c:f>Лист1!$D$1</c:f>
              <c:strCache>
                <c:ptCount val="1"/>
                <c:pt idx="0">
                  <c:v>ӘА қайтару сомасы (млрд.тг)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diamond"/>
            <c:size val="5"/>
            <c:spPr>
              <a:solidFill>
                <a:srgbClr val="FFC000"/>
              </a:solidFill>
              <a:ln w="9525">
                <a:solidFill>
                  <a:srgbClr val="FFC00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7.8482984818265544E-2"/>
                  <c:y val="-4.01542143501646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3E2-4949-92EF-DC576B26E87D}"/>
                </c:ext>
              </c:extLst>
            </c:dLbl>
            <c:dLbl>
              <c:idx val="1"/>
              <c:layout>
                <c:manualLayout>
                  <c:x val="-7.8482984818265544E-2"/>
                  <c:y val="-4.39441331131955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3E2-4949-92EF-DC576B26E87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2"/>
                <c:pt idx="0">
                  <c:v>2023 жылдағы 12 ай</c:v>
                </c:pt>
                <c:pt idx="1">
                  <c:v>2024 жылдағы 12 ай</c:v>
                </c:pt>
              </c:strCache>
            </c:strRef>
          </c:cat>
          <c:val>
            <c:numRef>
              <c:f>Лист1!$D$2:$D$4</c:f>
              <c:numCache>
                <c:formatCode>General</c:formatCode>
                <c:ptCount val="2"/>
                <c:pt idx="0" formatCode="0.0">
                  <c:v>1</c:v>
                </c:pt>
                <c:pt idx="1">
                  <c:v>2.299999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43E2-4949-92EF-DC576B26E87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415719168"/>
        <c:axId val="415726656"/>
      </c:lineChart>
      <c:catAx>
        <c:axId val="4157046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415701696"/>
        <c:crosses val="autoZero"/>
        <c:auto val="1"/>
        <c:lblAlgn val="ctr"/>
        <c:lblOffset val="100"/>
        <c:noMultiLvlLbl val="0"/>
      </c:catAx>
      <c:valAx>
        <c:axId val="4157016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15704608"/>
        <c:crosses val="autoZero"/>
        <c:crossBetween val="between"/>
      </c:valAx>
      <c:valAx>
        <c:axId val="415726656"/>
        <c:scaling>
          <c:orientation val="minMax"/>
        </c:scaling>
        <c:delete val="0"/>
        <c:axPos val="r"/>
        <c:numFmt formatCode="0.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5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15719168"/>
        <c:crosses val="max"/>
        <c:crossBetween val="between"/>
      </c:valAx>
      <c:catAx>
        <c:axId val="41571916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1572665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1.7710846436784208E-2"/>
          <c:y val="0.83594874101685335"/>
          <c:w val="0.96009356513681654"/>
          <c:h val="0.1322595017170393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9525" cap="flat" cmpd="sng" algn="ctr">
      <a:solidFill>
        <a:srgbClr val="B2B2B2"/>
      </a:solidFill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</c:spPr>
          <c:dPt>
            <c:idx val="0"/>
            <c:bubble3D val="0"/>
            <c:spPr>
              <a:solidFill>
                <a:schemeClr val="accent1">
                  <a:lumMod val="9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F76-4287-B5A4-A7161C2C06E5}"/>
              </c:ext>
            </c:extLst>
          </c:dPt>
          <c:dPt>
            <c:idx val="1"/>
            <c:bubble3D val="0"/>
            <c:spPr>
              <a:solidFill>
                <a:srgbClr val="FFC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F76-4287-B5A4-A7161C2C06E5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95299999999999996</c:v>
                </c:pt>
                <c:pt idx="1">
                  <c:v>4.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F76-4287-B5A4-A7161C2C06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E$8</c:f>
              <c:strCache>
                <c:ptCount val="1"/>
                <c:pt idx="0">
                  <c:v>СО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10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D$9:$D$11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Лист1!$E$9:$E$11</c:f>
              <c:numCache>
                <c:formatCode>General</c:formatCode>
                <c:ptCount val="3"/>
                <c:pt idx="0">
                  <c:v>432.3</c:v>
                </c:pt>
                <c:pt idx="1">
                  <c:v>538</c:v>
                </c:pt>
                <c:pt idx="2">
                  <c:v>6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2EF-4FE7-927C-F9984E445A6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793266895"/>
        <c:axId val="773019391"/>
      </c:barChart>
      <c:catAx>
        <c:axId val="79326689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ru-RU"/>
          </a:p>
        </c:txPr>
        <c:crossAx val="773019391"/>
        <c:crosses val="autoZero"/>
        <c:auto val="1"/>
        <c:lblAlgn val="ctr"/>
        <c:lblOffset val="100"/>
        <c:noMultiLvlLbl val="0"/>
      </c:catAx>
      <c:valAx>
        <c:axId val="773019391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9326689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32056371906615"/>
          <c:y val="0.17914418924700828"/>
          <c:w val="0.5518302811845569"/>
          <c:h val="0.74047052976870498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rgbClr val="00669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51C-4902-88F7-CBC0698E17F7}"/>
              </c:ext>
            </c:extLst>
          </c:dPt>
          <c:dPt>
            <c:idx val="1"/>
            <c:bubble3D val="0"/>
            <c:spPr>
              <a:solidFill>
                <a:schemeClr val="bg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51C-4902-88F7-CBC0698E17F7}"/>
              </c:ext>
            </c:extLst>
          </c:dPt>
          <c:dPt>
            <c:idx val="2"/>
            <c:bubble3D val="0"/>
            <c:spPr>
              <a:solidFill>
                <a:srgbClr val="0D536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51C-4902-88F7-CBC0698E17F7}"/>
              </c:ext>
            </c:extLst>
          </c:dPt>
          <c:dPt>
            <c:idx val="3"/>
            <c:bubble3D val="0"/>
            <c:spPr>
              <a:solidFill>
                <a:srgbClr val="FFCA2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D51C-4902-88F7-CBC0698E17F7}"/>
              </c:ext>
            </c:extLst>
          </c:dPt>
          <c:dPt>
            <c:idx val="4"/>
            <c:bubble3D val="0"/>
            <c:spPr>
              <a:solidFill>
                <a:srgbClr val="F9D9C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D51C-4902-88F7-CBC0698E17F7}"/>
              </c:ext>
            </c:extLst>
          </c:dPt>
          <c:dPt>
            <c:idx val="5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D51C-4902-88F7-CBC0698E17F7}"/>
              </c:ext>
            </c:extLst>
          </c:dPt>
          <c:dPt>
            <c:idx val="6"/>
            <c:bubble3D val="0"/>
            <c:spPr>
              <a:solidFill>
                <a:srgbClr val="9DC3E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D51C-4902-88F7-CBC0698E17F7}"/>
              </c:ext>
            </c:extLst>
          </c:dPt>
          <c:dLbls>
            <c:dLbl>
              <c:idx val="0"/>
              <c:layout>
                <c:manualLayout>
                  <c:x val="0.24132371545037745"/>
                  <c:y val="0.1257195300888968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1" u="none" strike="noStrike" kern="1200" baseline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ru-RU" sz="1000" dirty="0" err="1"/>
                      <a:t>жүктілігі</a:t>
                    </a:r>
                    <a:r>
                      <a:rPr lang="ru-RU" sz="1000" dirty="0"/>
                      <a:t> </a:t>
                    </a:r>
                    <a:r>
                      <a:rPr lang="ru-RU" sz="1000" dirty="0" err="1"/>
                      <a:t>және</a:t>
                    </a:r>
                    <a:r>
                      <a:rPr lang="ru-RU" sz="1000" dirty="0"/>
                      <a:t> </a:t>
                    </a:r>
                    <a:r>
                      <a:rPr lang="ru-RU" sz="1000" dirty="0" err="1"/>
                      <a:t>босануы</a:t>
                    </a:r>
                    <a:r>
                      <a:rPr lang="ru-RU" sz="1000" dirty="0"/>
                      <a:t> </a:t>
                    </a:r>
                    <a:r>
                      <a:rPr lang="ru-RU" sz="1000" dirty="0" err="1"/>
                      <a:t>бойынша</a:t>
                    </a:r>
                    <a:r>
                      <a:rPr lang="ru-RU" sz="1000" baseline="0" dirty="0"/>
                      <a:t>; </a:t>
                    </a:r>
                    <a:fld id="{A50A7055-29EF-4BE1-A278-81109CAAA8DC}" type="VALUE">
                      <a:rPr lang="en-US" sz="1000" baseline="0"/>
                      <a:pPr>
                        <a:defRPr sz="1000" i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ЗНАЧЕНИЕ]</a:t>
                    </a:fld>
                    <a:endParaRPr lang="ru-RU" sz="1000" baseline="0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1" u="none" strike="noStrike" kern="1200" baseline="0">
                      <a:solidFill>
                        <a:srgbClr val="00206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584346419858785"/>
                      <c:h val="0.23674275269703518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D51C-4902-88F7-CBC0698E17F7}"/>
                </c:ext>
              </c:extLst>
            </c:dLbl>
            <c:dLbl>
              <c:idx val="1"/>
              <c:layout>
                <c:manualLayout>
                  <c:x val="-0.1558029581236825"/>
                  <c:y val="0.31597130429738929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1" u="none" strike="noStrike" kern="1200" baseline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ru-RU" dirty="0" err="1"/>
                      <a:t>жұмысынан</a:t>
                    </a:r>
                    <a:r>
                      <a:rPr lang="ru-RU" dirty="0"/>
                      <a:t> </a:t>
                    </a:r>
                    <a:r>
                      <a:rPr lang="ru-RU" dirty="0" err="1"/>
                      <a:t>айырылу</a:t>
                    </a:r>
                    <a:r>
                      <a:rPr lang="ru-RU" dirty="0"/>
                      <a:t> </a:t>
                    </a:r>
                    <a:r>
                      <a:rPr lang="ru-RU" dirty="0" err="1"/>
                      <a:t>бойынша</a:t>
                    </a:r>
                    <a:r>
                      <a:rPr lang="ru-RU" baseline="0" dirty="0"/>
                      <a:t>;</a:t>
                    </a:r>
                  </a:p>
                  <a:p>
                    <a:pPr>
                      <a:defRPr sz="1000" i="1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pPr>
                    <a:r>
                      <a:rPr lang="ru-RU" baseline="0" dirty="0"/>
                      <a:t> </a:t>
                    </a:r>
                    <a:fld id="{B7986A08-7FA1-4D5C-9E1F-7979392015D4}" type="VALUE">
                      <a:rPr lang="en-US" baseline="0"/>
                      <a:pPr>
                        <a:defRPr sz="1000" i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ЗНАЧЕНИЕ]</a:t>
                    </a:fld>
                    <a:endParaRPr lang="ru-RU" baseline="0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1" u="none" strike="noStrike" kern="1200" baseline="0">
                      <a:solidFill>
                        <a:srgbClr val="00206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026268480675557"/>
                      <c:h val="0.24959391466265204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D51C-4902-88F7-CBC0698E17F7}"/>
                </c:ext>
              </c:extLst>
            </c:dLbl>
            <c:dLbl>
              <c:idx val="2"/>
              <c:layout>
                <c:manualLayout>
                  <c:x val="-0.17171845521358375"/>
                  <c:y val="-2.513408536979108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1" u="none" strike="noStrike" kern="1200" baseline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ru-RU" dirty="0"/>
                      <a:t>бала </a:t>
                    </a:r>
                    <a:r>
                      <a:rPr lang="ru-RU" dirty="0" err="1"/>
                      <a:t>күтімі</a:t>
                    </a:r>
                    <a:r>
                      <a:rPr lang="ru-RU" dirty="0"/>
                      <a:t> </a:t>
                    </a:r>
                    <a:r>
                      <a:rPr lang="ru-RU" dirty="0" err="1"/>
                      <a:t>бойынша</a:t>
                    </a:r>
                    <a:endParaRPr lang="ru-RU" dirty="0"/>
                  </a:p>
                  <a:p>
                    <a:pPr>
                      <a:defRPr sz="1000" i="1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pPr>
                    <a:fld id="{D8FEC92D-C6E2-4DE3-85F9-963F1ACF96DE}" type="VALUE">
                      <a:rPr lang="en-US" baseline="0" smtClean="0"/>
                      <a:pPr>
                        <a:defRPr sz="1000" i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ЗНАЧЕНИЕ]</a:t>
                    </a:fld>
                    <a:endParaRPr lang="ru-RU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1" u="none" strike="noStrike" kern="1200" baseline="0">
                      <a:solidFill>
                        <a:srgbClr val="00206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289218032833047"/>
                      <c:h val="0.1743195594469315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D51C-4902-88F7-CBC0698E17F7}"/>
                </c:ext>
              </c:extLst>
            </c:dLbl>
            <c:dLbl>
              <c:idx val="3"/>
              <c:layout>
                <c:manualLayout>
                  <c:x val="-0.24020665295380716"/>
                  <c:y val="-0.22886006998798117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1" u="none" strike="noStrike" kern="1200" baseline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ru-RU" sz="1000" baseline="0" dirty="0" err="1"/>
                      <a:t>әлеуметтік</a:t>
                    </a:r>
                    <a:r>
                      <a:rPr lang="ru-RU" sz="1000" baseline="0" dirty="0"/>
                      <a:t> </a:t>
                    </a:r>
                    <a:r>
                      <a:rPr lang="ru-RU" sz="1000" baseline="0" dirty="0" err="1"/>
                      <a:t>аударымдар</a:t>
                    </a:r>
                    <a:r>
                      <a:rPr lang="ru-RU" sz="1000" baseline="0" dirty="0"/>
                      <a:t>; </a:t>
                    </a:r>
                    <a:fld id="{EDF9CC6B-A744-4FC7-A240-F26970CECA99}" type="VALUE">
                      <a:rPr lang="en-US" sz="1000" baseline="0"/>
                      <a:pPr>
                        <a:defRPr sz="1000" i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ЗНАЧЕНИЕ]</a:t>
                    </a:fld>
                    <a:endParaRPr lang="ru-RU" sz="1000" baseline="0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1" u="none" strike="noStrike" kern="1200" baseline="0">
                      <a:solidFill>
                        <a:srgbClr val="00206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877703878989678"/>
                      <c:h val="0.2848048192644663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D51C-4902-88F7-CBC0698E17F7}"/>
                </c:ext>
              </c:extLst>
            </c:dLbl>
            <c:dLbl>
              <c:idx val="4"/>
              <c:layout>
                <c:manualLayout>
                  <c:x val="2.2012483775838108E-2"/>
                  <c:y val="-0.16885093830584286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1" u="none" strike="noStrike" kern="1200" baseline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ru-RU" baseline="0" dirty="0" err="1"/>
                      <a:t>еңбекке</a:t>
                    </a:r>
                    <a:r>
                      <a:rPr lang="ru-RU" baseline="0" dirty="0"/>
                      <a:t> </a:t>
                    </a:r>
                    <a:r>
                      <a:rPr lang="ru-RU" baseline="0" dirty="0" err="1"/>
                      <a:t>қабілеттілігінен</a:t>
                    </a:r>
                    <a:endParaRPr lang="ru-RU" baseline="0" dirty="0"/>
                  </a:p>
                  <a:p>
                    <a:pPr>
                      <a:defRPr sz="1000" i="1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pPr>
                    <a:r>
                      <a:rPr lang="ru-RU" baseline="0" dirty="0" err="1"/>
                      <a:t>айырылу</a:t>
                    </a:r>
                    <a:r>
                      <a:rPr lang="ru-RU" baseline="0" dirty="0"/>
                      <a:t> бойынша;</a:t>
                    </a:r>
                  </a:p>
                  <a:p>
                    <a:pPr>
                      <a:defRPr sz="1000" i="1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pPr>
                    <a:r>
                      <a:rPr lang="ru-RU" baseline="0" dirty="0"/>
                      <a:t> </a:t>
                    </a:r>
                    <a:fld id="{4FF36920-3AAD-427A-A083-DBE84063A6F5}" type="VALUE">
                      <a:rPr lang="en-US" baseline="0"/>
                      <a:pPr>
                        <a:defRPr sz="1000" i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ЗНАЧЕНИЕ]</a:t>
                    </a:fld>
                    <a:endParaRPr lang="ru-RU" baseline="0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1" u="none" strike="noStrike" kern="1200" baseline="0">
                      <a:solidFill>
                        <a:srgbClr val="00206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6598506637533201"/>
                      <c:h val="0.2278275914432872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D51C-4902-88F7-CBC0698E17F7}"/>
                </c:ext>
              </c:extLst>
            </c:dLbl>
            <c:dLbl>
              <c:idx val="5"/>
              <c:layout>
                <c:manualLayout>
                  <c:x val="0.3289771110034922"/>
                  <c:y val="-0.2181970299644282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1" u="none" strike="noStrike" kern="1200" baseline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ru-RU" dirty="0" err="1"/>
                      <a:t>асыраушысынан</a:t>
                    </a:r>
                    <a:r>
                      <a:rPr lang="ru-RU" baseline="0" dirty="0"/>
                      <a:t> </a:t>
                    </a:r>
                    <a:r>
                      <a:rPr lang="ru-RU" baseline="0" dirty="0" err="1"/>
                      <a:t>айырылу</a:t>
                    </a:r>
                    <a:r>
                      <a:rPr lang="ru-RU" baseline="0" dirty="0"/>
                      <a:t> </a:t>
                    </a:r>
                    <a:r>
                      <a:rPr lang="ru-RU" baseline="0" dirty="0" err="1"/>
                      <a:t>бойынша</a:t>
                    </a:r>
                    <a:r>
                      <a:rPr lang="ru-RU" baseline="0" dirty="0"/>
                      <a:t>;</a:t>
                    </a:r>
                  </a:p>
                  <a:p>
                    <a:pPr>
                      <a:defRPr sz="1000" i="1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pPr>
                    <a:r>
                      <a:rPr lang="ru-RU" baseline="0" dirty="0"/>
                      <a:t> </a:t>
                    </a:r>
                    <a:fld id="{1FBF66C5-49F8-4559-A71F-5817D3B8E83F}" type="VALUE">
                      <a:rPr lang="en-US" baseline="0"/>
                      <a:pPr>
                        <a:defRPr sz="1000" i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ЗНАЧЕНИЕ]</a:t>
                    </a:fld>
                    <a:endParaRPr lang="ru-RU" baseline="0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1" u="none" strike="noStrike" kern="1200" baseline="0">
                      <a:solidFill>
                        <a:srgbClr val="00206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207415270549303"/>
                      <c:h val="0.18422412564410995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D51C-4902-88F7-CBC0698E17F7}"/>
                </c:ext>
              </c:extLst>
            </c:dLbl>
            <c:dLbl>
              <c:idx val="6"/>
              <c:layout>
                <c:manualLayout>
                  <c:x val="0.32175406415144392"/>
                  <c:y val="-2.7441445844943527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1" u="none" strike="noStrike" kern="1200" baseline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ru-RU" dirty="0" err="1"/>
                      <a:t>басқалары</a:t>
                    </a:r>
                    <a:r>
                      <a:rPr lang="ru-RU" baseline="0" dirty="0"/>
                      <a:t>; </a:t>
                    </a:r>
                    <a:fld id="{8F585C97-8906-4FA4-A2B1-705764884296}" type="VALUE">
                      <a:rPr lang="en-US" baseline="0"/>
                      <a:pPr>
                        <a:defRPr sz="1000" i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ЗНАЧЕНИЕ]</a:t>
                    </a:fld>
                    <a:endParaRPr lang="ru-RU" baseline="0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1" u="none" strike="noStrike" kern="1200" baseline="0">
                      <a:solidFill>
                        <a:srgbClr val="00206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852115329120963"/>
                      <c:h val="0.1228160532467017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D-D51C-4902-88F7-CBC0698E17F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1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10</c:f>
              <c:strCache>
                <c:ptCount val="7"/>
                <c:pt idx="0">
                  <c:v>по беременности и родам</c:v>
                </c:pt>
                <c:pt idx="1">
                  <c:v>по потере работы</c:v>
                </c:pt>
                <c:pt idx="2">
                  <c:v>по уходу за ребенком</c:v>
                </c:pt>
                <c:pt idx="3">
                  <c:v>социальные отчисления</c:v>
                </c:pt>
                <c:pt idx="4">
                  <c:v>по утрате трудоспособности</c:v>
                </c:pt>
                <c:pt idx="5">
                  <c:v>по потере кормильца</c:v>
                </c:pt>
                <c:pt idx="6">
                  <c:v>прочее</c:v>
                </c:pt>
              </c:strCache>
            </c:strRef>
          </c:cat>
          <c:val>
            <c:numRef>
              <c:f>Лист1!$B$2:$B$10</c:f>
              <c:numCache>
                <c:formatCode>0.0%</c:formatCode>
                <c:ptCount val="7"/>
                <c:pt idx="0">
                  <c:v>0.8</c:v>
                </c:pt>
                <c:pt idx="1">
                  <c:v>5.3999999999999999E-2</c:v>
                </c:pt>
                <c:pt idx="2">
                  <c:v>5.2999999999999999E-2</c:v>
                </c:pt>
                <c:pt idx="3">
                  <c:v>3.5000000000000003E-2</c:v>
                </c:pt>
                <c:pt idx="4">
                  <c:v>5.0000000000000001E-3</c:v>
                </c:pt>
                <c:pt idx="5">
                  <c:v>2E-3</c:v>
                </c:pt>
                <c:pt idx="6">
                  <c:v>5.099999999999999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D51C-4902-88F7-CBC0698E17F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486177967495061"/>
          <c:y val="0.10027098735171967"/>
          <c:w val="0.4653193279016245"/>
          <c:h val="0.70749139763922686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rgbClr val="0088B8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4CB-4EB4-8F86-2B5DC90DC5F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BAC-4D9C-A59E-36CE19825C2D}"/>
              </c:ext>
            </c:extLst>
          </c:dPt>
          <c:dPt>
            <c:idx val="2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4CB-4EB4-8F86-2B5DC90DC5F8}"/>
              </c:ext>
            </c:extLst>
          </c:dPt>
          <c:dPt>
            <c:idx val="3"/>
            <c:bubble3D val="0"/>
            <c:spPr>
              <a:solidFill>
                <a:schemeClr val="accent2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BAC-4D9C-A59E-36CE19825C2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BBAC-4D9C-A59E-36CE19825C2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54CB-4EB4-8F86-2B5DC90DC5F8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54CB-4EB4-8F86-2B5DC90DC5F8}"/>
              </c:ext>
            </c:extLst>
          </c:dPt>
          <c:dPt>
            <c:idx val="7"/>
            <c:bubble3D val="0"/>
            <c:spPr>
              <a:solidFill>
                <a:srgbClr val="0D536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54CB-4EB4-8F86-2B5DC90DC5F8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09BD-4CB2-85B6-D3B4DF192845}"/>
              </c:ext>
            </c:extLst>
          </c:dPt>
          <c:dLbls>
            <c:dLbl>
              <c:idx val="1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3-BBAC-4D9C-A59E-36CE19825C2D}"/>
                </c:ext>
              </c:extLst>
            </c:dLbl>
            <c:dLbl>
              <c:idx val="3"/>
              <c:layout>
                <c:manualLayout>
                  <c:x val="-1.6065457605349987E-2"/>
                  <c:y val="-7.0068604704196472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BAC-4D9C-A59E-36CE19825C2D}"/>
                </c:ext>
              </c:extLst>
            </c:dLbl>
            <c:dLbl>
              <c:idx val="4"/>
              <c:layout>
                <c:manualLayout>
                  <c:x val="2.8122854801922097E-2"/>
                  <c:y val="2.8027441881678588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BAC-4D9C-A59E-36CE19825C2D}"/>
                </c:ext>
              </c:extLst>
            </c:dLbl>
            <c:dLbl>
              <c:idx val="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F-54CB-4EB4-8F86-2B5DC90DC5F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10</c:f>
              <c:strCache>
                <c:ptCount val="9"/>
                <c:pt idx="0">
                  <c:v>шешімдер МӘСҚ пайдасына шығарылды</c:v>
                </c:pt>
                <c:pt idx="1">
                  <c:v>талап-арыздан бас тартылды</c:v>
                </c:pt>
                <c:pt idx="2">
                  <c:v>медиативтік келісімдер жасалды</c:v>
                </c:pt>
                <c:pt idx="3">
                  <c:v>бітімгершілік келісім жасалды</c:v>
                </c:pt>
                <c:pt idx="4">
                  <c:v>артық төлем сомаларын өтеуге байланысты іс бойынша іс жүргізу тоқтатылды</c:v>
                </c:pt>
                <c:pt idx="5">
                  <c:v>артық төлем сомаларын өтеуге байланысты сот қараусыз қалдырды</c:v>
                </c:pt>
                <c:pt idx="6">
                  <c:v>артық төлем сомаларын толық өтеуге байланысты қайтарылды</c:v>
                </c:pt>
                <c:pt idx="7">
                  <c:v>қарауда</c:v>
                </c:pt>
                <c:pt idx="8">
                  <c:v>өнім берушінің шарттық міндеттемелерді орындауына байланысты өндіріс тоқтатылды</c:v>
                </c:pt>
              </c:strCache>
            </c:str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200</c:v>
                </c:pt>
                <c:pt idx="1">
                  <c:v>1</c:v>
                </c:pt>
                <c:pt idx="2">
                  <c:v>116</c:v>
                </c:pt>
                <c:pt idx="3">
                  <c:v>7</c:v>
                </c:pt>
                <c:pt idx="4">
                  <c:v>12</c:v>
                </c:pt>
                <c:pt idx="5">
                  <c:v>11</c:v>
                </c:pt>
                <c:pt idx="6">
                  <c:v>8</c:v>
                </c:pt>
                <c:pt idx="7">
                  <c:v>45</c:v>
                </c:pt>
                <c:pt idx="8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BAC-4D9C-A59E-36CE19825C2D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2141230614790699"/>
          <c:y val="5.1866951305813966E-2"/>
          <c:w val="0.33963384928807105"/>
          <c:h val="0.9119224765371323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8.0813781725807693E-2"/>
          <c:y val="6.6018173191612434E-2"/>
          <c:w val="0.86455593663997898"/>
          <c:h val="0.5977661711727724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ИУ с переоценкой'!$B$5</c:f>
              <c:strCache>
                <c:ptCount val="1"/>
                <c:pt idx="0">
                  <c:v>Кезең соңындағы қаржы құралдарына орналастырылған МӘСҚ активтері (млрд.тг)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0"/>
                  <c:y val="0.31448053368328954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E20-420D-A2CC-5257004EFB36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ИУ с переоценкой'!$D$4:$K$4</c:f>
              <c:numCache>
                <c:formatCode>General</c:formatCode>
                <c:ptCount val="4"/>
                <c:pt idx="0" formatCode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</c:numCache>
            </c:numRef>
          </c:cat>
          <c:val>
            <c:numRef>
              <c:f>'ИУ с переоценкой'!$D$5:$K$5</c:f>
              <c:numCache>
                <c:formatCode>_ * #\ ##0.0_)\ _₽_ ;_ * \(#\ ##0.0\)\ _₽_ ;_ * "-"??_)\ _₽_ ;_ @_ </c:formatCode>
                <c:ptCount val="4"/>
                <c:pt idx="0">
                  <c:v>1215.5957601077623</c:v>
                </c:pt>
                <c:pt idx="1">
                  <c:v>1314.1</c:v>
                </c:pt>
                <c:pt idx="2" formatCode="General">
                  <c:v>1150.3</c:v>
                </c:pt>
                <c:pt idx="3" formatCode="General">
                  <c:v>938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E20-420D-A2CC-5257004EFB36}"/>
            </c:ext>
          </c:extLst>
        </c:ser>
        <c:ser>
          <c:idx val="1"/>
          <c:order val="1"/>
          <c:tx>
            <c:strRef>
              <c:f>'ИУ с переоценкой'!$B$6</c:f>
              <c:strCache>
                <c:ptCount val="1"/>
                <c:pt idx="0">
                  <c:v>Есепті кезеңдегі инвестициялық кіріс (млрд.тг)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1.388888888888888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E20-420D-A2CC-5257004EFB36}"/>
                </c:ext>
              </c:extLst>
            </c:dLbl>
            <c:dLbl>
              <c:idx val="1"/>
              <c:layout>
                <c:manualLayout>
                  <c:x val="0"/>
                  <c:y val="4.629629629629629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E20-420D-A2CC-5257004EFB36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C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ИУ с переоценкой'!$D$4:$K$4</c:f>
              <c:numCache>
                <c:formatCode>General</c:formatCode>
                <c:ptCount val="4"/>
                <c:pt idx="0" formatCode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</c:numCache>
            </c:numRef>
          </c:cat>
          <c:val>
            <c:numRef>
              <c:f>'ИУ с переоценкой'!$D$6:$K$6</c:f>
              <c:numCache>
                <c:formatCode>_ * #\ ##0.0_)\ _₽_ ;_ * \(#\ ##0.0\)\ _₽_ ;_ * "-"??_)\ _₽_ ;_ @_ </c:formatCode>
                <c:ptCount val="4"/>
                <c:pt idx="0" formatCode="General">
                  <c:v>122.9</c:v>
                </c:pt>
                <c:pt idx="1">
                  <c:v>130.5</c:v>
                </c:pt>
                <c:pt idx="2" formatCode="General">
                  <c:v>95.9</c:v>
                </c:pt>
                <c:pt idx="3" formatCode="General">
                  <c:v>146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E20-420D-A2CC-5257004EFB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999266655"/>
        <c:axId val="1"/>
      </c:barChart>
      <c:lineChart>
        <c:grouping val="standard"/>
        <c:varyColors val="0"/>
        <c:ser>
          <c:idx val="2"/>
          <c:order val="2"/>
          <c:tx>
            <c:strRef>
              <c:f>'ИУ с переоценкой'!$B$7</c:f>
              <c:strCache>
                <c:ptCount val="1"/>
                <c:pt idx="0">
                  <c:v>Есепті кезеңдегі активтердің кірістілігі,  %</c:v>
                </c:pt>
              </c:strCache>
            </c:strRef>
          </c:tx>
          <c:spPr>
            <a:ln w="19050" cap="rnd" cmpd="sng" algn="ctr">
              <a:solidFill>
                <a:srgbClr val="FFC000"/>
              </a:solidFill>
              <a:prstDash val="solid"/>
              <a:round/>
            </a:ln>
            <a:effectLst/>
          </c:spPr>
          <c:marker>
            <c:symbol val="diamond"/>
            <c:size val="7"/>
            <c:spPr>
              <a:solidFill>
                <a:srgbClr val="FFC000"/>
              </a:solidFill>
              <a:ln w="6350" cap="flat" cmpd="sng" algn="ctr">
                <a:solidFill>
                  <a:srgbClr val="FFC000"/>
                </a:solidFill>
                <a:prstDash val="solid"/>
                <a:round/>
              </a:ln>
              <a:effectLst/>
            </c:spPr>
          </c:marker>
          <c:dLbls>
            <c:dLbl>
              <c:idx val="0"/>
              <c:layout>
                <c:manualLayout>
                  <c:x val="-1.3888888888888888E-2"/>
                  <c:y val="-2.777777777777777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E20-420D-A2CC-5257004EFB36}"/>
                </c:ext>
              </c:extLst>
            </c:dLbl>
            <c:dLbl>
              <c:idx val="1"/>
              <c:layout>
                <c:manualLayout>
                  <c:x val="-1.1111111111111162E-2"/>
                  <c:y val="-2.777777777777777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7E20-420D-A2CC-5257004EFB36}"/>
                </c:ext>
              </c:extLst>
            </c:dLbl>
            <c:dLbl>
              <c:idx val="2"/>
              <c:layout>
                <c:manualLayout>
                  <c:x val="-9.5447642241941154E-3"/>
                  <c:y val="0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E20-420D-A2CC-5257004EFB36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accent3">
                        <a:lumMod val="50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ИУ с переоценкой'!$D$4:$K$4</c:f>
              <c:numCache>
                <c:formatCode>General</c:formatCode>
                <c:ptCount val="4"/>
                <c:pt idx="0" formatCode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</c:numCache>
            </c:numRef>
          </c:cat>
          <c:val>
            <c:numRef>
              <c:f>'ИУ с переоценкой'!$D$7:$K$7</c:f>
              <c:numCache>
                <c:formatCode>_ * #\ ##0.00_)\ _₽_ ;_ * \(#\ ##0.00\)\ _₽_ ;_ * "-"??_)\ _₽_ ;_ @_ </c:formatCode>
                <c:ptCount val="4"/>
                <c:pt idx="0" formatCode="General">
                  <c:v>11.02</c:v>
                </c:pt>
                <c:pt idx="1">
                  <c:v>10.7</c:v>
                </c:pt>
                <c:pt idx="2" formatCode="General">
                  <c:v>7.3</c:v>
                </c:pt>
                <c:pt idx="3" formatCode="General">
                  <c:v>1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7E20-420D-A2CC-5257004EFB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4"/>
      </c:lineChart>
      <c:catAx>
        <c:axId val="1999266655"/>
        <c:scaling>
          <c:orientation val="minMax"/>
        </c:scaling>
        <c:delete val="0"/>
        <c:axPos val="b"/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6350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700" b="0" i="0" u="none" strike="noStrike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999266655"/>
        <c:crosses val="autoZero"/>
        <c:crossBetween val="between"/>
      </c:valAx>
      <c:catAx>
        <c:axId val="3"/>
        <c:scaling>
          <c:orientation val="minMax"/>
        </c:scaling>
        <c:delete val="1"/>
        <c:axPos val="b"/>
        <c:numFmt formatCode="0" sourceLinked="1"/>
        <c:majorTickMark val="out"/>
        <c:minorTickMark val="none"/>
        <c:tickLblPos val="nextTo"/>
        <c:crossAx val="4"/>
        <c:crosses val="autoZero"/>
        <c:auto val="1"/>
        <c:lblAlgn val="ctr"/>
        <c:lblOffset val="100"/>
        <c:noMultiLvlLbl val="0"/>
      </c:catAx>
      <c:valAx>
        <c:axId val="4"/>
        <c:scaling>
          <c:orientation val="minMax"/>
        </c:scaling>
        <c:delete val="0"/>
        <c:axPos val="r"/>
        <c:numFmt formatCode="#,##0" sourceLinked="0"/>
        <c:majorTickMark val="out"/>
        <c:minorTickMark val="none"/>
        <c:tickLblPos val="nextTo"/>
        <c:spPr>
          <a:noFill/>
          <a:ln w="6350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3"/>
        <c:crosses val="max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7074837269868276"/>
          <c:w val="0.99876579646956543"/>
          <c:h val="0.2925162730131724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lang="ru-KZ"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ysClr val="window" lastClr="FFFFFF"/>
    </a:solidFill>
    <a:ln w="9525" cap="flat" cmpd="sng" algn="ctr">
      <a:noFill/>
      <a:prstDash val="solid"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30"/>
      <c:rotY val="0"/>
      <c:rAngAx val="0"/>
      <c:perspective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7.4690540025056901E-2"/>
          <c:y val="5.0673639687803876E-2"/>
          <c:w val="0.89232719213300127"/>
          <c:h val="0.94932624477300709"/>
        </c:manualLayout>
      </c:layout>
      <c:pie3DChart>
        <c:varyColors val="1"/>
        <c:ser>
          <c:idx val="0"/>
          <c:order val="0"/>
          <c:tx>
            <c:strRef>
              <c:f>'диаграмма 3'!$AD$6</c:f>
              <c:strCache>
                <c:ptCount val="1"/>
                <c:pt idx="0">
                  <c:v>на 01.01.2022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4352-4055-A333-ABE64EB98876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4352-4055-A333-ABE64EB98876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4352-4055-A333-ABE64EB98876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03-4352-4055-A333-ABE64EB98876}"/>
              </c:ext>
            </c:extLst>
          </c:dPt>
          <c:dPt>
            <c:idx val="4"/>
            <c:bubble3D val="0"/>
            <c:extLst>
              <c:ext xmlns:c16="http://schemas.microsoft.com/office/drawing/2014/chart" uri="{C3380CC4-5D6E-409C-BE32-E72D297353CC}">
                <c16:uniqueId val="{00000004-4352-4055-A333-ABE64EB98876}"/>
              </c:ext>
            </c:extLst>
          </c:dPt>
          <c:dPt>
            <c:idx val="5"/>
            <c:bubble3D val="0"/>
            <c:extLst>
              <c:ext xmlns:c16="http://schemas.microsoft.com/office/drawing/2014/chart" uri="{C3380CC4-5D6E-409C-BE32-E72D297353CC}">
                <c16:uniqueId val="{00000005-4352-4055-A333-ABE64EB98876}"/>
              </c:ext>
            </c:extLst>
          </c:dPt>
          <c:dPt>
            <c:idx val="6"/>
            <c:bubble3D val="0"/>
            <c:extLst>
              <c:ext xmlns:c16="http://schemas.microsoft.com/office/drawing/2014/chart" uri="{C3380CC4-5D6E-409C-BE32-E72D297353CC}">
                <c16:uniqueId val="{00000006-4352-4055-A333-ABE64EB98876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'диаграмма 3'!$A$7:$AC$13</c:f>
              <c:strCache>
                <c:ptCount val="7"/>
                <c:pt idx="0">
                  <c:v>Ноты НБ РК</c:v>
                </c:pt>
                <c:pt idx="1">
                  <c:v>ГЦБ (МФ РК)</c:v>
                </c:pt>
                <c:pt idx="2">
                  <c:v>Агентские облигации</c:v>
                </c:pt>
                <c:pt idx="3">
                  <c:v>Облигации МФО</c:v>
                </c:pt>
                <c:pt idx="4">
                  <c:v>Депозиты НБРК</c:v>
                </c:pt>
                <c:pt idx="5">
                  <c:v>Наличные</c:v>
                </c:pt>
                <c:pt idx="6">
                  <c:v>Обратное репо</c:v>
                </c:pt>
              </c:strCache>
            </c:strRef>
          </c:cat>
          <c:val>
            <c:numRef>
              <c:f>'диаграмма 3'!$AD$7:$AD$13</c:f>
            </c:numRef>
          </c:val>
          <c:extLst>
            <c:ext xmlns:c16="http://schemas.microsoft.com/office/drawing/2014/chart" uri="{C3380CC4-5D6E-409C-BE32-E72D297353CC}">
              <c16:uniqueId val="{00000007-4352-4055-A333-ABE64EB98876}"/>
            </c:ext>
          </c:extLst>
        </c:ser>
        <c:ser>
          <c:idx val="1"/>
          <c:order val="1"/>
          <c:tx>
            <c:strRef>
              <c:f>'диаграмма 3'!$AE$6</c:f>
              <c:strCache>
                <c:ptCount val="1"/>
                <c:pt idx="0">
                  <c:v>на 01.04.2022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8-4352-4055-A333-ABE64EB98876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9-4352-4055-A333-ABE64EB98876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A-4352-4055-A333-ABE64EB98876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0B-4352-4055-A333-ABE64EB98876}"/>
              </c:ext>
            </c:extLst>
          </c:dPt>
          <c:dPt>
            <c:idx val="4"/>
            <c:bubble3D val="0"/>
            <c:extLst>
              <c:ext xmlns:c16="http://schemas.microsoft.com/office/drawing/2014/chart" uri="{C3380CC4-5D6E-409C-BE32-E72D297353CC}">
                <c16:uniqueId val="{0000000C-4352-4055-A333-ABE64EB98876}"/>
              </c:ext>
            </c:extLst>
          </c:dPt>
          <c:dPt>
            <c:idx val="5"/>
            <c:bubble3D val="0"/>
            <c:extLst>
              <c:ext xmlns:c16="http://schemas.microsoft.com/office/drawing/2014/chart" uri="{C3380CC4-5D6E-409C-BE32-E72D297353CC}">
                <c16:uniqueId val="{0000000D-4352-4055-A333-ABE64EB98876}"/>
              </c:ext>
            </c:extLst>
          </c:dPt>
          <c:dPt>
            <c:idx val="6"/>
            <c:bubble3D val="0"/>
            <c:extLst>
              <c:ext xmlns:c16="http://schemas.microsoft.com/office/drawing/2014/chart" uri="{C3380CC4-5D6E-409C-BE32-E72D297353CC}">
                <c16:uniqueId val="{0000000E-4352-4055-A333-ABE64EB98876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'диаграмма 3'!$A$7:$AC$13</c:f>
              <c:strCache>
                <c:ptCount val="7"/>
                <c:pt idx="0">
                  <c:v>Ноты НБ РК</c:v>
                </c:pt>
                <c:pt idx="1">
                  <c:v>ГЦБ (МФ РК)</c:v>
                </c:pt>
                <c:pt idx="2">
                  <c:v>Агентские облигации</c:v>
                </c:pt>
                <c:pt idx="3">
                  <c:v>Облигации МФО</c:v>
                </c:pt>
                <c:pt idx="4">
                  <c:v>Депозиты НБРК</c:v>
                </c:pt>
                <c:pt idx="5">
                  <c:v>Наличные</c:v>
                </c:pt>
                <c:pt idx="6">
                  <c:v>Обратное репо</c:v>
                </c:pt>
              </c:strCache>
            </c:strRef>
          </c:cat>
          <c:val>
            <c:numRef>
              <c:f>'диаграмма 3'!$AE$7:$AE$13</c:f>
            </c:numRef>
          </c:val>
          <c:extLst>
            <c:ext xmlns:c16="http://schemas.microsoft.com/office/drawing/2014/chart" uri="{C3380CC4-5D6E-409C-BE32-E72D297353CC}">
              <c16:uniqueId val="{0000000F-4352-4055-A333-ABE64EB98876}"/>
            </c:ext>
          </c:extLst>
        </c:ser>
        <c:ser>
          <c:idx val="2"/>
          <c:order val="2"/>
          <c:tx>
            <c:strRef>
              <c:f>'диаграмма 3'!$AF$6</c:f>
              <c:strCache>
                <c:ptCount val="1"/>
                <c:pt idx="0">
                  <c:v>на 01.01.2024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1-4352-4055-A333-ABE64EB98876}"/>
              </c:ext>
            </c:extLst>
          </c:dPt>
          <c:dPt>
            <c:idx val="1"/>
            <c:bubble3D val="0"/>
            <c:spPr>
              <a:solidFill>
                <a:srgbClr val="0088B8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3-4352-4055-A333-ABE64EB98876}"/>
              </c:ext>
            </c:extLst>
          </c:dPt>
          <c:dPt>
            <c:idx val="2"/>
            <c:bubble3D val="0"/>
            <c:spPr>
              <a:solidFill>
                <a:srgbClr val="FFC000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5-4352-4055-A333-ABE64EB98876}"/>
              </c:ext>
            </c:extLst>
          </c:dPt>
          <c:dPt>
            <c:idx val="3"/>
            <c:bubble3D val="0"/>
            <c:spPr>
              <a:solidFill>
                <a:srgbClr val="0D5369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7-4352-4055-A333-ABE64EB98876}"/>
              </c:ext>
            </c:extLst>
          </c:dPt>
          <c:dPt>
            <c:idx val="4"/>
            <c:bubble3D val="0"/>
            <c:spPr>
              <a:solidFill>
                <a:srgbClr val="00B0F0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9-4352-4055-A333-ABE64EB98876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B-4352-4055-A333-ABE64EB98876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D-4352-4055-A333-ABE64EB98876}"/>
              </c:ext>
            </c:extLst>
          </c:dPt>
          <c:dLbls>
            <c:dLbl>
              <c:idx val="1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050" b="1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3-4352-4055-A333-ABE64EB98876}"/>
                </c:ext>
              </c:extLst>
            </c:dLbl>
            <c:dLbl>
              <c:idx val="3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050" b="1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7-4352-4055-A333-ABE64EB98876}"/>
                </c:ext>
              </c:extLst>
            </c:dLbl>
            <c:dLbl>
              <c:idx val="4"/>
              <c:layout>
                <c:manualLayout>
                  <c:x val="2.0663809046879505E-2"/>
                  <c:y val="2.6218383856309892E-2"/>
                </c:manualLayout>
              </c:layout>
              <c:tx>
                <c:rich>
                  <a:bodyPr wrap="square" lIns="38100" tIns="19050" rIns="38100" bIns="19050" anchor="ctr">
                    <a:noAutofit/>
                  </a:bodyPr>
                  <a:lstStyle/>
                  <a:p>
                    <a:pPr>
                      <a:defRPr sz="1050" b="1">
                        <a:latin typeface="Arial" panose="020B0604020202020204" pitchFamily="34" charset="0"/>
                        <a:cs typeface="Arial" panose="020B0604020202020204" pitchFamily="34" charset="0"/>
                      </a:defRPr>
                    </a:pPr>
                    <a:r>
                      <a:rPr lang="en-US" dirty="0"/>
                      <a:t>0,1%</a:t>
                    </a:r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7876490804333797"/>
                      <c:h val="0.1119588606541921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9-4352-4055-A333-ABE64EB98876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5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'диаграмма 3'!$A$7:$AC$13</c:f>
              <c:strCache>
                <c:ptCount val="7"/>
                <c:pt idx="0">
                  <c:v>Ноты НБ РК</c:v>
                </c:pt>
                <c:pt idx="1">
                  <c:v>ГЦБ (МФ РК)</c:v>
                </c:pt>
                <c:pt idx="2">
                  <c:v>Агентские облигации</c:v>
                </c:pt>
                <c:pt idx="3">
                  <c:v>Облигации МФО</c:v>
                </c:pt>
                <c:pt idx="4">
                  <c:v>Депозиты НБРК</c:v>
                </c:pt>
                <c:pt idx="5">
                  <c:v>Наличные</c:v>
                </c:pt>
                <c:pt idx="6">
                  <c:v>Обратное репо</c:v>
                </c:pt>
              </c:strCache>
            </c:strRef>
          </c:cat>
          <c:val>
            <c:numRef>
              <c:f>'диаграмма 3'!$AF$7:$AF$13</c:f>
              <c:numCache>
                <c:formatCode>0.0%</c:formatCode>
                <c:ptCount val="7"/>
                <c:pt idx="1">
                  <c:v>0.60599999999999998</c:v>
                </c:pt>
                <c:pt idx="2">
                  <c:v>0.25</c:v>
                </c:pt>
                <c:pt idx="3">
                  <c:v>0.14199999999999999</c:v>
                </c:pt>
                <c:pt idx="4">
                  <c:v>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E-4352-4055-A333-ABE64EB98876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</c:pie3DChart>
      <c:spPr>
        <a:noFill/>
        <a:ln w="25400">
          <a:noFill/>
        </a:ln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2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142831080254435E-2"/>
          <c:y val="2.2668583084149974E-2"/>
          <c:w val="0.36258966912958263"/>
          <c:h val="0.97733141691585002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умма государственной закупки по плану  (млн. тенге)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FFC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2520-443B-A694-1B2BF55C8FB2}"/>
              </c:ext>
            </c:extLst>
          </c:dPt>
          <c:dPt>
            <c:idx val="1"/>
            <c:bubble3D val="0"/>
            <c:spPr>
              <a:solidFill>
                <a:srgbClr val="FF6600"/>
              </a:solidFill>
              <a:ln w="19050">
                <a:solidFill>
                  <a:srgbClr val="FF66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520-443B-A694-1B2BF55C8FB2}"/>
              </c:ext>
            </c:extLst>
          </c:dPt>
          <c:dPt>
            <c:idx val="2"/>
            <c:bubble3D val="0"/>
            <c:spPr>
              <a:solidFill>
                <a:srgbClr val="0088B8"/>
              </a:solidFill>
              <a:ln w="285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520-443B-A694-1B2BF55C8FB2}"/>
              </c:ext>
            </c:extLst>
          </c:dPt>
          <c:dLbls>
            <c:dLbl>
              <c:idx val="1"/>
              <c:layout>
                <c:manualLayout>
                  <c:x val="1.4291857740552142E-2"/>
                  <c:y val="0.12996268126724042"/>
                </c:manualLayout>
              </c:layout>
              <c:spPr>
                <a:solidFill>
                  <a:srgbClr val="FF6600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Verdana" panose="020B0604030504040204" pitchFamily="34" charset="0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520-443B-A694-1B2BF55C8FB2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Verdana" panose="020B0604030504040204" pitchFamily="34" charset="0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2520-443B-A694-1B2BF55C8FB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тауарлар</c:v>
                </c:pt>
                <c:pt idx="1">
                  <c:v>жұмыстар</c:v>
                </c:pt>
                <c:pt idx="2">
                  <c:v>қызметтер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82</c:v>
                </c:pt>
                <c:pt idx="1">
                  <c:v>14.8</c:v>
                </c:pt>
                <c:pt idx="2">
                  <c:v>605.7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520-443B-A694-1B2BF55C8FB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100"/>
        <c:holeSize val="50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62346790561586418"/>
          <c:y val="0.71829555459268613"/>
          <c:w val="0.30432155876099726"/>
          <c:h val="0.2609100365151604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</a:defRPr>
      </a:pPr>
      <a:endParaRPr lang="ru-RU"/>
    </a:p>
  </c:txPr>
  <c:externalData r:id="rId3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835166930942676E-2"/>
          <c:y val="0"/>
          <c:w val="0.48087180290318432"/>
          <c:h val="1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-во закупок 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DCBD-4545-B7D2-D9EF84E3F414}"/>
              </c:ext>
            </c:extLst>
          </c:dPt>
          <c:dPt>
            <c:idx val="1"/>
            <c:bubble3D val="0"/>
            <c:spPr>
              <a:solidFill>
                <a:srgbClr val="0D536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CBD-4545-B7D2-D9EF84E3F414}"/>
              </c:ext>
            </c:extLst>
          </c:dPt>
          <c:dPt>
            <c:idx val="2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DCBD-4545-B7D2-D9EF84E3F414}"/>
              </c:ext>
            </c:extLst>
          </c:dPt>
          <c:dPt>
            <c:idx val="3"/>
            <c:bubble3D val="0"/>
            <c:spPr>
              <a:solidFill>
                <a:srgbClr val="0088B8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CBD-4545-B7D2-D9EF84E3F414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CBD-4545-B7D2-D9EF84E3F414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DCBD-4545-B7D2-D9EF84E3F414}"/>
              </c:ext>
            </c:extLst>
          </c:dPt>
          <c:dPt>
            <c:idx val="6"/>
            <c:bubble3D val="0"/>
            <c:spPr>
              <a:solidFill>
                <a:schemeClr val="accent5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DCBD-4545-B7D2-D9EF84E3F414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Verdana" panose="020B0604030504040204" pitchFamily="34" charset="0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1-DCBD-4545-B7D2-D9EF84E3F414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Verdana" panose="020B0604030504040204" pitchFamily="34" charset="0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3-DCBD-4545-B7D2-D9EF84E3F414}"/>
                </c:ext>
              </c:extLst>
            </c:dLbl>
            <c:dLbl>
              <c:idx val="4"/>
              <c:layout>
                <c:manualLayout>
                  <c:x val="-4.6461864960967887E-3"/>
                  <c:y val="-4.9234366828597338E-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CBD-4545-B7D2-D9EF84E3F414}"/>
                </c:ext>
              </c:extLst>
            </c:dLbl>
            <c:dLbl>
              <c:idx val="6"/>
              <c:layout>
                <c:manualLayout>
                  <c:x val="6.6733470198250952E-3"/>
                  <c:y val="7.9654388007222281E-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CBD-4545-B7D2-D9EF84E3F41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8</c:f>
              <c:strCache>
                <c:ptCount val="7"/>
                <c:pt idx="0">
                  <c:v>ашық байқау</c:v>
                </c:pt>
                <c:pt idx="1">
                  <c:v>баға ұсыныстарын сұрау</c:v>
                </c:pt>
                <c:pt idx="2">
                  <c:v>тікелей шарт жасасу арқылы бір көзден</c:v>
                </c:pt>
                <c:pt idx="3">
                  <c:v>өткізілмеген сатып алулар бойынша бір көзден</c:v>
                </c:pt>
                <c:pt idx="4">
                  <c:v>электрондық дүкен</c:v>
                </c:pt>
                <c:pt idx="5">
                  <c:v>конкурстың екінші кезеңі негіздемелік келісімді пайдалана отырып</c:v>
                </c:pt>
                <c:pt idx="6">
                  <c:v>алдын ала біліктілік іріктеумен конкурс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35</c:v>
                </c:pt>
                <c:pt idx="1">
                  <c:v>101</c:v>
                </c:pt>
                <c:pt idx="2">
                  <c:v>4</c:v>
                </c:pt>
                <c:pt idx="3">
                  <c:v>52</c:v>
                </c:pt>
                <c:pt idx="4">
                  <c:v>3</c:v>
                </c:pt>
                <c:pt idx="5">
                  <c:v>2</c:v>
                </c:pt>
                <c:pt idx="6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CBD-4545-B7D2-D9EF84E3F41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2520536043953914"/>
          <c:y val="0"/>
          <c:w val="0.47265317851914146"/>
          <c:h val="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</a:defRPr>
      </a:pPr>
      <a:endParaRPr lang="ru-RU"/>
    </a:p>
  </c:txPr>
  <c:externalData r:id="rId3">
    <c:autoUpdate val="0"/>
  </c:externalData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23510813574982E-2"/>
          <c:y val="0.18576199261847953"/>
          <c:w val="0.95489948809425262"/>
          <c:h val="0.6246692076744603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FF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EFE-4E94-AFD5-66390EEE473F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EFE-4E94-AFD5-66390EEE473F}"/>
              </c:ext>
            </c:extLst>
          </c:dPt>
          <c:dPt>
            <c:idx val="2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EFE-4E94-AFD5-66390EEE473F}"/>
              </c:ext>
            </c:extLst>
          </c:dPt>
          <c:dLbls>
            <c:delete val="1"/>
          </c:dLbls>
          <c:cat>
            <c:strRef>
              <c:f>Лист1!$A$3:$A$5</c:f>
              <c:strCache>
                <c:ptCount val="3"/>
                <c:pt idx="0">
                  <c:v>сары аймағы</c:v>
                </c:pt>
                <c:pt idx="1">
                  <c:v>қызғылт аймағы</c:v>
                </c:pt>
                <c:pt idx="2">
                  <c:v>қызыл аймағы </c:v>
                </c:pt>
              </c:strCache>
            </c:strRef>
          </c:cat>
          <c:val>
            <c:numRef>
              <c:f>Лист1!$B$3:$B$5</c:f>
              <c:numCache>
                <c:formatCode>General</c:formatCode>
                <c:ptCount val="3"/>
                <c:pt idx="0">
                  <c:v>6</c:v>
                </c:pt>
                <c:pt idx="1">
                  <c:v>3</c:v>
                </c:pt>
                <c:pt idx="2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EFE-4E94-AFD5-66390EEE473F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100"/>
        <c:axId val="110920880"/>
        <c:axId val="110922512"/>
      </c:barChart>
      <c:catAx>
        <c:axId val="1109208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28575" cap="flat" cmpd="sng" algn="ctr">
            <a:noFill/>
            <a:round/>
          </a:ln>
          <a:effectLst/>
        </c:spPr>
        <c:txPr>
          <a:bodyPr rot="-60000000" spcFirstLastPara="1" vertOverflow="ellipsis" vert="horz" wrap="square" anchor="t" anchorCtr="0"/>
          <a:lstStyle/>
          <a:p>
            <a:pPr>
              <a:defRPr sz="1000" b="0" i="0" u="none" strike="noStrike" kern="1200" baseline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10922512"/>
        <c:crosses val="autoZero"/>
        <c:auto val="1"/>
        <c:lblAlgn val="ctr"/>
        <c:lblOffset val="100"/>
        <c:noMultiLvlLbl val="0"/>
      </c:catAx>
      <c:valAx>
        <c:axId val="11092251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09208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bg2"/>
          </a:solidFill>
          <a:latin typeface="+mj-lt"/>
        </a:defRPr>
      </a:pPr>
      <a:endParaRPr lang="ru-RU"/>
    </a:p>
  </c:txPr>
  <c:externalData r:id="rId3">
    <c:autoUpdate val="0"/>
  </c:externalData>
  <c:userShapes r:id="rId4"/>
</c:chartSpace>
</file>

<file path=ppt/charts/chart4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360074083348736E-2"/>
          <c:y val="0"/>
          <c:w val="0.38835307112422968"/>
          <c:h val="1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dPt>
            <c:idx val="0"/>
            <c:bubble3D val="0"/>
            <c:spPr>
              <a:solidFill>
                <a:srgbClr val="00B0F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73B-4B38-9C92-E9F73B53F314}"/>
              </c:ext>
            </c:extLst>
          </c:dPt>
          <c:dPt>
            <c:idx val="1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73B-4B38-9C92-E9F73B53F314}"/>
              </c:ext>
            </c:extLst>
          </c:dPt>
          <c:dPt>
            <c:idx val="2"/>
            <c:bubble3D val="0"/>
            <c:spPr>
              <a:solidFill>
                <a:srgbClr val="7030A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73B-4B38-9C92-E9F73B53F314}"/>
              </c:ext>
            </c:extLst>
          </c:dPt>
          <c:dPt>
            <c:idx val="3"/>
            <c:bubble3D val="0"/>
            <c:spPr>
              <a:solidFill>
                <a:srgbClr val="3366CC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73B-4B38-9C92-E9F73B53F314}"/>
              </c:ext>
            </c:extLst>
          </c:dPt>
          <c:dPt>
            <c:idx val="4"/>
            <c:bubble3D val="0"/>
            <c:spPr>
              <a:solidFill>
                <a:srgbClr val="33996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573B-4B38-9C92-E9F73B53F31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6</c:f>
              <c:strCache>
                <c:ptCount val="5"/>
                <c:pt idx="0">
                  <c:v>стратегиялық</c:v>
                </c:pt>
                <c:pt idx="1">
                  <c:v>бедел</c:v>
                </c:pt>
                <c:pt idx="2">
                  <c:v>құқықтық</c:v>
                </c:pt>
                <c:pt idx="3">
                  <c:v>қаржылық</c:v>
                </c:pt>
                <c:pt idx="4">
                  <c:v>операциялық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1</c:v>
                </c:pt>
                <c:pt idx="1">
                  <c:v>3</c:v>
                </c:pt>
                <c:pt idx="2">
                  <c:v>1</c:v>
                </c:pt>
                <c:pt idx="3">
                  <c:v>2</c:v>
                </c:pt>
                <c:pt idx="4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573B-4B38-9C92-E9F73B53F3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3157362652620251"/>
          <c:y val="9.5445890067164363E-2"/>
          <c:w val="0.47551536646835901"/>
          <c:h val="0.8135810633161504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4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3892214258471531"/>
          <c:y val="0"/>
          <c:w val="0.33947131486641668"/>
          <c:h val="1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dPt>
            <c:idx val="0"/>
            <c:bubble3D val="0"/>
            <c:spPr>
              <a:solidFill>
                <a:srgbClr val="00B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4B5-46BE-AC61-42C6B8FD2FF3}"/>
              </c:ext>
            </c:extLst>
          </c:dPt>
          <c:dPt>
            <c:idx val="1"/>
            <c:bubble3D val="0"/>
            <c:spPr>
              <a:solidFill>
                <a:schemeClr val="accent5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4B5-46BE-AC61-42C6B8FD2FF3}"/>
              </c:ext>
            </c:extLst>
          </c:dPt>
          <c:dPt>
            <c:idx val="2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4B5-46BE-AC61-42C6B8FD2FF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Environmental</c:v>
                </c:pt>
                <c:pt idx="1">
                  <c:v>Social</c:v>
                </c:pt>
                <c:pt idx="2">
                  <c:v>Governance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</c:v>
                </c:pt>
                <c:pt idx="1">
                  <c:v>2</c:v>
                </c:pt>
                <c:pt idx="2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4B5-46BE-AC61-42C6B8FD2F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59207347686505862"/>
          <c:y val="0.13819711634325271"/>
          <c:w val="0.40792620375918048"/>
          <c:h val="0.7376443781367401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531062000486957"/>
          <c:y val="9.904210593064626E-2"/>
          <c:w val="0.32707150396771029"/>
          <c:h val="0.70403609712792203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rgbClr val="0D536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B81-4D3F-ADAC-F0BD2CF20118}"/>
              </c:ext>
            </c:extLst>
          </c:dPt>
          <c:dPt>
            <c:idx val="1"/>
            <c:bubble3D val="0"/>
            <c:spPr>
              <a:solidFill>
                <a:srgbClr val="0088B8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B81-4D3F-ADAC-F0BD2CF20118}"/>
              </c:ext>
            </c:extLst>
          </c:dPt>
          <c:dPt>
            <c:idx val="2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B81-4D3F-ADAC-F0BD2CF20118}"/>
              </c:ext>
            </c:extLst>
          </c:dPt>
          <c:dLbls>
            <c:dLbl>
              <c:idx val="0"/>
              <c:layout>
                <c:manualLayout>
                  <c:x val="6.6695550566518306E-3"/>
                  <c:y val="-1.1195893311070843E-2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B81-4D3F-ADAC-F0BD2CF20118}"/>
                </c:ext>
              </c:extLst>
            </c:dLbl>
            <c:dLbl>
              <c:idx val="1"/>
              <c:layout>
                <c:manualLayout>
                  <c:x val="6.6695550566518306E-3"/>
                  <c:y val="0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B81-4D3F-ADAC-F0BD2CF20118}"/>
                </c:ext>
              </c:extLst>
            </c:dLbl>
            <c:dLbl>
              <c:idx val="2"/>
              <c:layout>
                <c:manualLayout>
                  <c:x val="0"/>
                  <c:y val="1.119589331107084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B81-4D3F-ADAC-F0BD2CF20118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25 жастан 35 жасқа дейін</c:v>
                </c:pt>
                <c:pt idx="1">
                  <c:v>36 жастан 50 жасқа дейін</c:v>
                </c:pt>
                <c:pt idx="2">
                  <c:v>51 жастан жоғары</c:v>
                </c:pt>
              </c:strCache>
            </c:strRef>
          </c:cat>
          <c:val>
            <c:numRef>
              <c:f>Лист1!$B$2:$B$4</c:f>
              <c:numCache>
                <c:formatCode>0%</c:formatCode>
                <c:ptCount val="3"/>
                <c:pt idx="0">
                  <c:v>0.3</c:v>
                </c:pt>
                <c:pt idx="1">
                  <c:v>0.53</c:v>
                </c:pt>
                <c:pt idx="2">
                  <c:v>0.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363-49BD-AC59-AFF86E5CC10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65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7479196946223499"/>
          <c:y val="0.24824186175857371"/>
          <c:w val="0.26889187026063932"/>
          <c:h val="0.4897502737003910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882538646998723E-2"/>
          <c:y val="7.3653804084825428E-2"/>
          <c:w val="0.93378812902675457"/>
          <c:h val="0.62625838436862047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5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5.4963507036744789E-2"/>
                </c:manualLayout>
              </c:layout>
              <c:numFmt formatCode="#,##0" sourceLinked="0"/>
              <c:spPr>
                <a:solidFill>
                  <a:schemeClr val="accent5">
                    <a:lumMod val="50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ru-KZ" sz="9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Verdana" panose="020B0604030504040204" pitchFamily="34" charset="0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3EC-422C-A700-6AFB04B039AD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9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О и СВ '!$A$5:$A$24</c:f>
              <c:strCache>
                <c:ptCount val="20"/>
                <c:pt idx="0">
                  <c:v>Ұлытау</c:v>
                </c:pt>
                <c:pt idx="1">
                  <c:v>Жетісу</c:v>
                </c:pt>
                <c:pt idx="2">
                  <c:v>СҚО</c:v>
                </c:pt>
                <c:pt idx="3">
                  <c:v>Қызылорда</c:v>
                </c:pt>
                <c:pt idx="4">
                  <c:v>Абай</c:v>
                </c:pt>
                <c:pt idx="5">
                  <c:v>БҚО</c:v>
                </c:pt>
                <c:pt idx="6">
                  <c:v>Ақмола</c:v>
                </c:pt>
                <c:pt idx="7">
                  <c:v>Жамбыл</c:v>
                </c:pt>
                <c:pt idx="8">
                  <c:v>Қостанай</c:v>
                </c:pt>
                <c:pt idx="9">
                  <c:v>ШҚО</c:v>
                </c:pt>
                <c:pt idx="10">
                  <c:v>Алматы</c:v>
                </c:pt>
                <c:pt idx="11">
                  <c:v>Шымкент қ.</c:v>
                </c:pt>
                <c:pt idx="12">
                  <c:v>Павлодар</c:v>
                </c:pt>
                <c:pt idx="13">
                  <c:v>Маңғыстау</c:v>
                </c:pt>
                <c:pt idx="14">
                  <c:v>Ақтөбе</c:v>
                </c:pt>
                <c:pt idx="15">
                  <c:v>Атырау</c:v>
                </c:pt>
                <c:pt idx="16">
                  <c:v>Түркістан</c:v>
                </c:pt>
                <c:pt idx="17">
                  <c:v>Қарағанды</c:v>
                </c:pt>
                <c:pt idx="18">
                  <c:v>Астана қ.</c:v>
                </c:pt>
                <c:pt idx="19">
                  <c:v>Алматы қ.</c:v>
                </c:pt>
              </c:strCache>
            </c:strRef>
          </c:cat>
          <c:val>
            <c:numRef>
              <c:f>'СО и СВ '!$B$5:$B$24</c:f>
              <c:numCache>
                <c:formatCode>0.00</c:formatCode>
                <c:ptCount val="20"/>
                <c:pt idx="0">
                  <c:v>11.658645789999998</c:v>
                </c:pt>
                <c:pt idx="1">
                  <c:v>12.782084671749999</c:v>
                </c:pt>
                <c:pt idx="2">
                  <c:v>14.221210779209999</c:v>
                </c:pt>
                <c:pt idx="3">
                  <c:v>16.019436837840001</c:v>
                </c:pt>
                <c:pt idx="4">
                  <c:v>16.49143904364</c:v>
                </c:pt>
                <c:pt idx="5">
                  <c:v>19.536994648080004</c:v>
                </c:pt>
                <c:pt idx="6">
                  <c:v>21.683051420269997</c:v>
                </c:pt>
                <c:pt idx="7">
                  <c:v>22.829251296040002</c:v>
                </c:pt>
                <c:pt idx="8">
                  <c:v>23.850189726979998</c:v>
                </c:pt>
                <c:pt idx="9">
                  <c:v>24.505606978269999</c:v>
                </c:pt>
                <c:pt idx="10">
                  <c:v>25.186476555149998</c:v>
                </c:pt>
                <c:pt idx="11">
                  <c:v>25.51163112767</c:v>
                </c:pt>
                <c:pt idx="12">
                  <c:v>26.609092521190004</c:v>
                </c:pt>
                <c:pt idx="13">
                  <c:v>28.371567523350002</c:v>
                </c:pt>
                <c:pt idx="14">
                  <c:v>29.464620957090002</c:v>
                </c:pt>
                <c:pt idx="15">
                  <c:v>29.810567689840003</c:v>
                </c:pt>
                <c:pt idx="16">
                  <c:v>33.31703747817</c:v>
                </c:pt>
                <c:pt idx="17">
                  <c:v>38.604348893400001</c:v>
                </c:pt>
                <c:pt idx="18">
                  <c:v>82.04729522113</c:v>
                </c:pt>
                <c:pt idx="19">
                  <c:v>123.2935907046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83-41C1-B67E-C7E12C83C91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199056975"/>
        <c:axId val="75435871"/>
      </c:barChart>
      <c:lineChart>
        <c:grouping val="standard"/>
        <c:varyColors val="0"/>
        <c:ser>
          <c:idx val="1"/>
          <c:order val="1"/>
          <c:spPr>
            <a:ln w="28575" cap="rnd">
              <a:noFill/>
              <a:round/>
            </a:ln>
            <a:effectLst/>
          </c:spPr>
          <c:marker>
            <c:symbol val="circle"/>
            <c:size val="5"/>
            <c:spPr>
              <a:noFill/>
              <a:ln w="9525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2.3255286959518971E-2"/>
                  <c:y val="-7.828519532518850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089F-458C-8EAB-53A2271E8FC0}"/>
                </c:ext>
              </c:extLst>
            </c:dLbl>
            <c:dLbl>
              <c:idx val="1"/>
              <c:layout>
                <c:manualLayout>
                  <c:x val="-2.7042015994904928E-2"/>
                  <c:y val="-6.144738848267487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089F-458C-8EAB-53A2271E8FC0}"/>
                </c:ext>
              </c:extLst>
            </c:dLbl>
            <c:dLbl>
              <c:idx val="2"/>
              <c:layout>
                <c:manualLayout>
                  <c:x val="-2.5148651477211941E-2"/>
                  <c:y val="-6.144738848267495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089F-458C-8EAB-53A2271E8FC0}"/>
                </c:ext>
              </c:extLst>
            </c:dLbl>
            <c:dLbl>
              <c:idx val="3"/>
              <c:layout>
                <c:manualLayout>
                  <c:x val="-2.7042015994904911E-2"/>
                  <c:y val="-7.828519532518850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089F-458C-8EAB-53A2271E8FC0}"/>
                </c:ext>
              </c:extLst>
            </c:dLbl>
            <c:dLbl>
              <c:idx val="4"/>
              <c:layout>
                <c:manualLayout>
                  <c:x val="-2.3255286959518971E-2"/>
                  <c:y val="-8.249464703581679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089F-458C-8EAB-53A2271E8FC0}"/>
                </c:ext>
              </c:extLst>
            </c:dLbl>
            <c:dLbl>
              <c:idx val="5"/>
              <c:layout>
                <c:manualLayout>
                  <c:x val="-2.7042015994904911E-2"/>
                  <c:y val="-8.249464703581679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089F-458C-8EAB-53A2271E8FC0}"/>
                </c:ext>
              </c:extLst>
            </c:dLbl>
            <c:dLbl>
              <c:idx val="6"/>
              <c:layout>
                <c:manualLayout>
                  <c:x val="-2.7042015994904911E-2"/>
                  <c:y val="-8.670409874644516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89F-458C-8EAB-53A2271E8FC0}"/>
                </c:ext>
              </c:extLst>
            </c:dLbl>
            <c:dLbl>
              <c:idx val="7"/>
              <c:layout>
                <c:manualLayout>
                  <c:x val="-2.7042015994904911E-2"/>
                  <c:y val="-8.670409874644516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89F-458C-8EAB-53A2271E8FC0}"/>
                </c:ext>
              </c:extLst>
            </c:dLbl>
            <c:dLbl>
              <c:idx val="8"/>
              <c:layout>
                <c:manualLayout>
                  <c:x val="-2.3255286959519041E-2"/>
                  <c:y val="-9.512300216770190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89F-458C-8EAB-53A2271E8FC0}"/>
                </c:ext>
              </c:extLst>
            </c:dLbl>
            <c:dLbl>
              <c:idx val="9"/>
              <c:layout>
                <c:manualLayout>
                  <c:x val="-2.7042015994904842E-2"/>
                  <c:y val="-9.091355045707361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89F-458C-8EAB-53A2271E8FC0}"/>
                </c:ext>
              </c:extLst>
            </c:dLbl>
            <c:dLbl>
              <c:idx val="10"/>
              <c:layout>
                <c:manualLayout>
                  <c:x val="-2.704201599490498E-2"/>
                  <c:y val="-9.512300216770190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89F-458C-8EAB-53A2271E8FC0}"/>
                </c:ext>
              </c:extLst>
            </c:dLbl>
            <c:dLbl>
              <c:idx val="11"/>
              <c:layout>
                <c:manualLayout>
                  <c:x val="-2.704201599490498E-2"/>
                  <c:y val="-8.670409874644516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89F-458C-8EAB-53A2271E8FC0}"/>
                </c:ext>
              </c:extLst>
            </c:dLbl>
            <c:dLbl>
              <c:idx val="12"/>
              <c:layout>
                <c:manualLayout>
                  <c:x val="-2.704201599490498E-2"/>
                  <c:y val="-9.512300216770190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089F-458C-8EAB-53A2271E8FC0}"/>
                </c:ext>
              </c:extLst>
            </c:dLbl>
            <c:dLbl>
              <c:idx val="13"/>
              <c:layout>
                <c:manualLayout>
                  <c:x val="-3.2722109547983817E-2"/>
                  <c:y val="-9.091355045707361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089F-458C-8EAB-53A2271E8FC0}"/>
                </c:ext>
              </c:extLst>
            </c:dLbl>
            <c:dLbl>
              <c:idx val="14"/>
              <c:layout>
                <c:manualLayout>
                  <c:x val="-2.7042015994904911E-2"/>
                  <c:y val="-9.091355045707361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089F-458C-8EAB-53A2271E8FC0}"/>
                </c:ext>
              </c:extLst>
            </c:dLbl>
            <c:dLbl>
              <c:idx val="15"/>
              <c:layout>
                <c:manualLayout>
                  <c:x val="-2.7042015994904911E-2"/>
                  <c:y val="-0.10354190558895864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089F-458C-8EAB-53A2271E8FC0}"/>
                </c:ext>
              </c:extLst>
            </c:dLbl>
            <c:dLbl>
              <c:idx val="16"/>
              <c:layout>
                <c:manualLayout>
                  <c:x val="-2.7042015994904911E-2"/>
                  <c:y val="-9.933245387833027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089F-458C-8EAB-53A2271E8FC0}"/>
                </c:ext>
              </c:extLst>
            </c:dLbl>
            <c:dLbl>
              <c:idx val="17"/>
              <c:layout>
                <c:manualLayout>
                  <c:x val="-2.7042015994904911E-2"/>
                  <c:y val="-0.1287986158527289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089F-458C-8EAB-53A2271E8FC0}"/>
                </c:ext>
              </c:extLst>
            </c:dLbl>
            <c:dLbl>
              <c:idx val="18"/>
              <c:layout>
                <c:manualLayout>
                  <c:x val="-2.9361312987168792E-2"/>
                  <c:y val="-0.229825456907809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089F-458C-8EAB-53A2271E8FC0}"/>
                </c:ext>
              </c:extLst>
            </c:dLbl>
            <c:dLbl>
              <c:idx val="19"/>
              <c:layout>
                <c:manualLayout>
                  <c:x val="-4.9533099291627209E-4"/>
                  <c:y val="-9.854989360362212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ctr">
                    <a:defRPr lang="ru-KZ" sz="800" b="1" i="0" u="none" strike="noStrike" kern="1200" baseline="0">
                      <a:solidFill>
                        <a:sysClr val="windowText" lastClr="000000"/>
                      </a:solidFill>
                      <a:latin typeface="Arial" panose="020B0604020202020204" pitchFamily="34" charset="0"/>
                      <a:ea typeface="Verdana" panose="020B0604030504040204" pitchFamily="34" charset="0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1699267809693754E-2"/>
                      <c:h val="8.1018428350166469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6A83-41C1-B67E-C7E12C83C91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СО и СВ '!$A$5:$A$24</c:f>
              <c:strCache>
                <c:ptCount val="20"/>
                <c:pt idx="0">
                  <c:v>Ұлытау</c:v>
                </c:pt>
                <c:pt idx="1">
                  <c:v>Жетісу</c:v>
                </c:pt>
                <c:pt idx="2">
                  <c:v>СҚО</c:v>
                </c:pt>
                <c:pt idx="3">
                  <c:v>Қызылорда</c:v>
                </c:pt>
                <c:pt idx="4">
                  <c:v>Абай</c:v>
                </c:pt>
                <c:pt idx="5">
                  <c:v>БҚО</c:v>
                </c:pt>
                <c:pt idx="6">
                  <c:v>Ақмола</c:v>
                </c:pt>
                <c:pt idx="7">
                  <c:v>Жамбыл</c:v>
                </c:pt>
                <c:pt idx="8">
                  <c:v>Қостанай</c:v>
                </c:pt>
                <c:pt idx="9">
                  <c:v>ШҚО</c:v>
                </c:pt>
                <c:pt idx="10">
                  <c:v>Алматы</c:v>
                </c:pt>
                <c:pt idx="11">
                  <c:v>Шымкент қ.</c:v>
                </c:pt>
                <c:pt idx="12">
                  <c:v>Павлодар</c:v>
                </c:pt>
                <c:pt idx="13">
                  <c:v>Маңғыстау</c:v>
                </c:pt>
                <c:pt idx="14">
                  <c:v>Ақтөбе</c:v>
                </c:pt>
                <c:pt idx="15">
                  <c:v>Атырау</c:v>
                </c:pt>
                <c:pt idx="16">
                  <c:v>Түркістан</c:v>
                </c:pt>
                <c:pt idx="17">
                  <c:v>Қарағанды</c:v>
                </c:pt>
                <c:pt idx="18">
                  <c:v>Астана қ.</c:v>
                </c:pt>
                <c:pt idx="19">
                  <c:v>Алматы қ.</c:v>
                </c:pt>
              </c:strCache>
            </c:strRef>
          </c:cat>
          <c:val>
            <c:numRef>
              <c:f>'СО и СВ '!$C$5:$C$24</c:f>
              <c:numCache>
                <c:formatCode>0%</c:formatCode>
                <c:ptCount val="20"/>
                <c:pt idx="0">
                  <c:v>1.6809747561713689E-2</c:v>
                </c:pt>
                <c:pt idx="1">
                  <c:v>1.8429551812000584E-2</c:v>
                </c:pt>
                <c:pt idx="2">
                  <c:v>2.0504522354173153E-2</c:v>
                </c:pt>
                <c:pt idx="3">
                  <c:v>2.3097252817808393E-2</c:v>
                </c:pt>
                <c:pt idx="4">
                  <c:v>2.3777798232000102E-2</c:v>
                </c:pt>
                <c:pt idx="5">
                  <c:v>2.8168961821489241E-2</c:v>
                </c:pt>
                <c:pt idx="6">
                  <c:v>3.1263203918162452E-2</c:v>
                </c:pt>
                <c:pt idx="7">
                  <c:v>3.2915825578860608E-2</c:v>
                </c:pt>
                <c:pt idx="8">
                  <c:v>3.4387841935586499E-2</c:v>
                </c:pt>
                <c:pt idx="9">
                  <c:v>3.5332840071753149E-2</c:v>
                </c:pt>
                <c:pt idx="10">
                  <c:v>3.6314536052226329E-2</c:v>
                </c:pt>
                <c:pt idx="11">
                  <c:v>3.6783352618150848E-2</c:v>
                </c:pt>
                <c:pt idx="12">
                  <c:v>3.8365701830580072E-2</c:v>
                </c:pt>
                <c:pt idx="13">
                  <c:v>4.090688546406452E-2</c:v>
                </c:pt>
                <c:pt idx="14">
                  <c:v>4.2482879162097073E-2</c:v>
                </c:pt>
                <c:pt idx="15">
                  <c:v>4.2981674421175543E-2</c:v>
                </c:pt>
                <c:pt idx="16">
                  <c:v>4.8037396418078485E-2</c:v>
                </c:pt>
                <c:pt idx="17">
                  <c:v>5.5660783539627147E-2</c:v>
                </c:pt>
                <c:pt idx="18">
                  <c:v>0.11829798637261742</c:v>
                </c:pt>
                <c:pt idx="19">
                  <c:v>0.177767999221595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A83-41C1-B67E-C7E12C83C9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8849215"/>
        <c:axId val="120145439"/>
      </c:lineChart>
      <c:catAx>
        <c:axId val="1990569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ru-KZ"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ru-RU"/>
          </a:p>
        </c:txPr>
        <c:crossAx val="75435871"/>
        <c:crosses val="autoZero"/>
        <c:auto val="1"/>
        <c:lblAlgn val="ctr"/>
        <c:lblOffset val="100"/>
        <c:noMultiLvlLbl val="0"/>
      </c:catAx>
      <c:valAx>
        <c:axId val="75435871"/>
        <c:scaling>
          <c:orientation val="minMax"/>
          <c:max val="90"/>
        </c:scaling>
        <c:delete val="0"/>
        <c:axPos val="l"/>
        <c:numFmt formatCode="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99056975"/>
        <c:crosses val="autoZero"/>
        <c:crossBetween val="between"/>
      </c:valAx>
      <c:valAx>
        <c:axId val="120145439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68849215"/>
        <c:crosses val="max"/>
        <c:crossBetween val="between"/>
      </c:valAx>
      <c:catAx>
        <c:axId val="26884921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2014543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берешек саны (мың төлеуші)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8"/>
              <c:layout>
                <c:manualLayout>
                  <c:x val="-1.4378918860822581E-16"/>
                  <c:y val="5.5381868942299212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ADA-43BF-BEC1-96EE5A32B0EA}"/>
                </c:ext>
              </c:extLst>
            </c:dLbl>
            <c:numFmt formatCode="#,##0.0" sourceLinked="0"/>
            <c:spPr>
              <a:solidFill>
                <a:schemeClr val="accent5">
                  <a:lumMod val="5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1</c:f>
              <c:strCache>
                <c:ptCount val="20"/>
                <c:pt idx="0">
                  <c:v>Ұлытау</c:v>
                </c:pt>
                <c:pt idx="1">
                  <c:v>Жетісу</c:v>
                </c:pt>
                <c:pt idx="2">
                  <c:v>Павлодар</c:v>
                </c:pt>
                <c:pt idx="3">
                  <c:v>Қызылорда</c:v>
                </c:pt>
                <c:pt idx="4">
                  <c:v>Қостанай</c:v>
                </c:pt>
                <c:pt idx="5">
                  <c:v>Атырау</c:v>
                </c:pt>
                <c:pt idx="6">
                  <c:v>Жамбыл</c:v>
                </c:pt>
                <c:pt idx="7">
                  <c:v>Алматы</c:v>
                </c:pt>
                <c:pt idx="8">
                  <c:v>СҚО</c:v>
                </c:pt>
                <c:pt idx="9">
                  <c:v>Шымкент қ.</c:v>
                </c:pt>
                <c:pt idx="10">
                  <c:v>БҚО</c:v>
                </c:pt>
                <c:pt idx="11">
                  <c:v>Ақтөбе</c:v>
                </c:pt>
                <c:pt idx="12">
                  <c:v>Маңғыстау</c:v>
                </c:pt>
                <c:pt idx="13">
                  <c:v>Ақмола</c:v>
                </c:pt>
                <c:pt idx="14">
                  <c:v>ШҚО</c:v>
                </c:pt>
                <c:pt idx="15">
                  <c:v>Түркістан</c:v>
                </c:pt>
                <c:pt idx="16">
                  <c:v>Алматы қ.</c:v>
                </c:pt>
                <c:pt idx="17">
                  <c:v>Абай</c:v>
                </c:pt>
                <c:pt idx="18">
                  <c:v>Астана қ.</c:v>
                </c:pt>
                <c:pt idx="19">
                  <c:v>Қарағанды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0.7</c:v>
                </c:pt>
                <c:pt idx="1">
                  <c:v>3</c:v>
                </c:pt>
                <c:pt idx="2">
                  <c:v>1.9</c:v>
                </c:pt>
                <c:pt idx="3">
                  <c:v>3.1</c:v>
                </c:pt>
                <c:pt idx="4">
                  <c:v>1.8</c:v>
                </c:pt>
                <c:pt idx="5">
                  <c:v>3</c:v>
                </c:pt>
                <c:pt idx="6">
                  <c:v>5.0999999999999996</c:v>
                </c:pt>
                <c:pt idx="7">
                  <c:v>7.9</c:v>
                </c:pt>
                <c:pt idx="8">
                  <c:v>1.4</c:v>
                </c:pt>
                <c:pt idx="9">
                  <c:v>7.3</c:v>
                </c:pt>
                <c:pt idx="10">
                  <c:v>1.8</c:v>
                </c:pt>
                <c:pt idx="11">
                  <c:v>4</c:v>
                </c:pt>
                <c:pt idx="12">
                  <c:v>4.5</c:v>
                </c:pt>
                <c:pt idx="13">
                  <c:v>2.8</c:v>
                </c:pt>
                <c:pt idx="14">
                  <c:v>2.9</c:v>
                </c:pt>
                <c:pt idx="15">
                  <c:v>15.7</c:v>
                </c:pt>
                <c:pt idx="16">
                  <c:v>12.3</c:v>
                </c:pt>
                <c:pt idx="17">
                  <c:v>2</c:v>
                </c:pt>
                <c:pt idx="18">
                  <c:v>11</c:v>
                </c:pt>
                <c:pt idx="19">
                  <c:v>3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C3-4C2D-B00B-F5360723FBB0}"/>
            </c:ext>
          </c:extLst>
        </c:ser>
        <c:dLbls>
          <c:dLblPos val="inBase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"/>
        <c:axId val="1756677807"/>
        <c:axId val="1376728703"/>
      </c:barChart>
      <c:lineChart>
        <c:grouping val="standard"/>
        <c:varyColors val="0"/>
        <c:ser>
          <c:idx val="1"/>
          <c:order val="1"/>
          <c:tx>
            <c:strRef>
              <c:f>Лист1!$C$1</c:f>
              <c:strCache>
                <c:ptCount val="1"/>
                <c:pt idx="0">
                  <c:v>берешек соммасы (млн.теңге)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diamond"/>
            <c:size val="5"/>
            <c:spPr>
              <a:solidFill>
                <a:srgbClr val="FFC000"/>
              </a:solidFill>
              <a:ln w="9525">
                <a:solidFill>
                  <a:srgbClr val="FFC00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6487496851423931E-2"/>
                  <c:y val="-8.824732851926678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BE5-48AD-982F-4EDE8385FA45}"/>
                </c:ext>
              </c:extLst>
            </c:dLbl>
            <c:numFmt formatCode="#,##0" sourceLinked="0"/>
            <c:spPr>
              <a:solidFill>
                <a:srgbClr val="FFC00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21</c:f>
              <c:strCache>
                <c:ptCount val="20"/>
                <c:pt idx="0">
                  <c:v>Ұлытау</c:v>
                </c:pt>
                <c:pt idx="1">
                  <c:v>Жетісу</c:v>
                </c:pt>
                <c:pt idx="2">
                  <c:v>Павлодар</c:v>
                </c:pt>
                <c:pt idx="3">
                  <c:v>Қызылорда</c:v>
                </c:pt>
                <c:pt idx="4">
                  <c:v>Қостанай</c:v>
                </c:pt>
                <c:pt idx="5">
                  <c:v>Атырау</c:v>
                </c:pt>
                <c:pt idx="6">
                  <c:v>Жамбыл</c:v>
                </c:pt>
                <c:pt idx="7">
                  <c:v>Алматы</c:v>
                </c:pt>
                <c:pt idx="8">
                  <c:v>СҚО</c:v>
                </c:pt>
                <c:pt idx="9">
                  <c:v>Шымкент қ.</c:v>
                </c:pt>
                <c:pt idx="10">
                  <c:v>БҚО</c:v>
                </c:pt>
                <c:pt idx="11">
                  <c:v>Ақтөбе</c:v>
                </c:pt>
                <c:pt idx="12">
                  <c:v>Маңғыстау</c:v>
                </c:pt>
                <c:pt idx="13">
                  <c:v>Ақмола</c:v>
                </c:pt>
                <c:pt idx="14">
                  <c:v>ШҚО</c:v>
                </c:pt>
                <c:pt idx="15">
                  <c:v>Түркістан</c:v>
                </c:pt>
                <c:pt idx="16">
                  <c:v>Алматы қ.</c:v>
                </c:pt>
                <c:pt idx="17">
                  <c:v>Абай</c:v>
                </c:pt>
                <c:pt idx="18">
                  <c:v>Астана қ.</c:v>
                </c:pt>
                <c:pt idx="19">
                  <c:v>Қарағанды</c:v>
                </c:pt>
              </c:strCache>
            </c:strRef>
          </c:cat>
          <c:val>
            <c:numRef>
              <c:f>Лист1!$C$2:$C$21</c:f>
              <c:numCache>
                <c:formatCode>General</c:formatCode>
                <c:ptCount val="20"/>
                <c:pt idx="0">
                  <c:v>10.7</c:v>
                </c:pt>
                <c:pt idx="1">
                  <c:v>30.8</c:v>
                </c:pt>
                <c:pt idx="2">
                  <c:v>31.4</c:v>
                </c:pt>
                <c:pt idx="3">
                  <c:v>42.5</c:v>
                </c:pt>
                <c:pt idx="4">
                  <c:v>50.3</c:v>
                </c:pt>
                <c:pt idx="5">
                  <c:v>51.5</c:v>
                </c:pt>
                <c:pt idx="6">
                  <c:v>61.1</c:v>
                </c:pt>
                <c:pt idx="7">
                  <c:v>68.5</c:v>
                </c:pt>
                <c:pt idx="8">
                  <c:v>69.5</c:v>
                </c:pt>
                <c:pt idx="9">
                  <c:v>78.400000000000006</c:v>
                </c:pt>
                <c:pt idx="10">
                  <c:v>78.7</c:v>
                </c:pt>
                <c:pt idx="11">
                  <c:v>95.5</c:v>
                </c:pt>
                <c:pt idx="12">
                  <c:v>100.9</c:v>
                </c:pt>
                <c:pt idx="13">
                  <c:v>109.1</c:v>
                </c:pt>
                <c:pt idx="14">
                  <c:v>111.4</c:v>
                </c:pt>
                <c:pt idx="15">
                  <c:v>168.9</c:v>
                </c:pt>
                <c:pt idx="16">
                  <c:v>185.9</c:v>
                </c:pt>
                <c:pt idx="17">
                  <c:v>225.5</c:v>
                </c:pt>
                <c:pt idx="18">
                  <c:v>309.39999999999998</c:v>
                </c:pt>
                <c:pt idx="19">
                  <c:v>601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5C3-4C2D-B00B-F5360723FBB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594572863"/>
        <c:axId val="2003633567"/>
      </c:lineChart>
      <c:catAx>
        <c:axId val="17566778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376728703"/>
        <c:crosses val="autoZero"/>
        <c:auto val="1"/>
        <c:lblAlgn val="ctr"/>
        <c:lblOffset val="100"/>
        <c:noMultiLvlLbl val="0"/>
      </c:catAx>
      <c:valAx>
        <c:axId val="13767287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756677807"/>
        <c:crosses val="autoZero"/>
        <c:crossBetween val="between"/>
      </c:valAx>
      <c:valAx>
        <c:axId val="2003633567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594572863"/>
        <c:crosses val="max"/>
        <c:crossBetween val="between"/>
      </c:valAx>
      <c:catAx>
        <c:axId val="1594572863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03633567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0555555555555555E-2"/>
          <c:y val="6.5832505518243656E-2"/>
          <c:w val="0.93888888888888888"/>
          <c:h val="0.5956781454931359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негізгі берешек (млн.теңге)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01.01.2023ж.</c:v>
                </c:pt>
                <c:pt idx="1">
                  <c:v>01.01.2024ж.</c:v>
                </c:pt>
                <c:pt idx="2">
                  <c:v>01.01.2025ж.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875</c:v>
                </c:pt>
                <c:pt idx="1">
                  <c:v>750.1</c:v>
                </c:pt>
                <c:pt idx="2">
                  <c:v>1752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37B-4D6A-ABFF-BAE94781F292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өсімпұл (млн. теңге)</c:v>
                </c:pt>
              </c:strCache>
            </c:strRef>
          </c:tx>
          <c:spPr>
            <a:solidFill>
              <a:srgbClr val="9DC3E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01.01.2023ж.</c:v>
                </c:pt>
                <c:pt idx="1">
                  <c:v>01.01.2024ж.</c:v>
                </c:pt>
                <c:pt idx="2">
                  <c:v>01.01.2025ж.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404.4</c:v>
                </c:pt>
                <c:pt idx="1">
                  <c:v>433.6</c:v>
                </c:pt>
                <c:pt idx="2">
                  <c:v>729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37B-4D6A-ABFF-BAE94781F29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100"/>
        <c:axId val="1241054127"/>
        <c:axId val="1152801679"/>
      </c:barChart>
      <c:lineChart>
        <c:grouping val="standard"/>
        <c:varyColors val="0"/>
        <c:ser>
          <c:idx val="2"/>
          <c:order val="2"/>
          <c:tx>
            <c:strRef>
              <c:f>Лист1!$D$1</c:f>
              <c:strCache>
                <c:ptCount val="1"/>
                <c:pt idx="0">
                  <c:v>төлеушілер саны 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diamond"/>
            <c:size val="5"/>
            <c:spPr>
              <a:solidFill>
                <a:srgbClr val="FFC000"/>
              </a:solidFill>
              <a:ln w="9525">
                <a:solidFill>
                  <a:srgbClr val="FFC000"/>
                </a:solidFill>
              </a:ln>
              <a:effectLst/>
            </c:spPr>
          </c:marker>
          <c:dLbls>
            <c:spPr>
              <a:solidFill>
                <a:srgbClr val="FFC00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01.01.2023ж.</c:v>
                </c:pt>
                <c:pt idx="1">
                  <c:v>01.01.2024ж.</c:v>
                </c:pt>
                <c:pt idx="2">
                  <c:v>01.01.2025ж.</c:v>
                </c:pt>
              </c:strCache>
            </c:strRef>
          </c:cat>
          <c:val>
            <c:numRef>
              <c:f>Лист1!$D$2:$D$4</c:f>
              <c:numCache>
                <c:formatCode>#,##0</c:formatCode>
                <c:ptCount val="3"/>
                <c:pt idx="0">
                  <c:v>56181</c:v>
                </c:pt>
                <c:pt idx="1">
                  <c:v>61023</c:v>
                </c:pt>
                <c:pt idx="2">
                  <c:v>9622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37B-4D6A-ABFF-BAE94781F29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241066127"/>
        <c:axId val="1167932447"/>
      </c:lineChart>
      <c:catAx>
        <c:axId val="12410541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ru-KZ"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152801679"/>
        <c:crosses val="autoZero"/>
        <c:auto val="1"/>
        <c:lblAlgn val="ctr"/>
        <c:lblOffset val="100"/>
        <c:noMultiLvlLbl val="0"/>
      </c:catAx>
      <c:valAx>
        <c:axId val="115280167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41054127"/>
        <c:crosses val="autoZero"/>
        <c:crossBetween val="between"/>
      </c:valAx>
      <c:valAx>
        <c:axId val="1167932447"/>
        <c:scaling>
          <c:orientation val="minMax"/>
        </c:scaling>
        <c:delete val="0"/>
        <c:axPos val="r"/>
        <c:numFmt formatCode="#,##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41066127"/>
        <c:crosses val="max"/>
        <c:crossBetween val="between"/>
      </c:valAx>
      <c:catAx>
        <c:axId val="1241066127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167932447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2.7631889763779529E-2"/>
          <c:y val="0.80228241343755957"/>
          <c:w val="0.94473622047244099"/>
          <c:h val="0.1618089471888530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ru-KZ"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645289923938091E-3"/>
          <c:y val="0.28058638542565961"/>
          <c:w val="0.14316137042994914"/>
          <c:h val="0.3273639618478737"/>
        </c:manualLayout>
      </c:layout>
      <c:doughnutChart>
        <c:varyColors val="1"/>
        <c:dLbls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0"/>
        <c:holeSize val="50"/>
      </c:doughnutChart>
      <c:spPr>
        <a:noFill/>
        <a:ln w="25400">
          <a:noFill/>
        </a:ln>
        <a:effectLst/>
      </c:spPr>
    </c:plotArea>
    <c:legend>
      <c:legendPos val="r"/>
      <c:layout>
        <c:manualLayout>
          <c:xMode val="edge"/>
          <c:yMode val="edge"/>
          <c:x val="0.52546222782443253"/>
          <c:y val="7.5142948594840275E-2"/>
          <c:w val="0.45944709094315395"/>
          <c:h val="0.84971410281031945"/>
        </c:manualLayout>
      </c:layout>
      <c:overlay val="0"/>
      <c:spPr>
        <a:solidFill>
          <a:schemeClr val="lt1">
            <a:alpha val="78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50"/>
      <c:rotY val="0"/>
      <c:rAngAx val="0"/>
      <c:perspective val="6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1.6171394028740866E-2"/>
          <c:y val="4.8269182715993127E-2"/>
          <c:w val="0.62523836139810474"/>
          <c:h val="0.9082051858594361"/>
        </c:manualLayout>
      </c:layout>
      <c:pie3DChart>
        <c:varyColors val="1"/>
        <c:ser>
          <c:idx val="0"/>
          <c:order val="0"/>
          <c:tx>
            <c:strRef>
              <c:f>диаграмма!$B$3</c:f>
              <c:strCache>
                <c:ptCount val="1"/>
                <c:pt idx="0">
                  <c:v>Доля, %</c:v>
                </c:pt>
              </c:strCache>
            </c:strRef>
          </c:tx>
          <c:dPt>
            <c:idx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2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matte">
                <a:bevelB prst="relaxedInset"/>
              </a:sp3d>
            </c:spPr>
            <c:extLst>
              <c:ext xmlns:c16="http://schemas.microsoft.com/office/drawing/2014/chart" uri="{C3380CC4-5D6E-409C-BE32-E72D297353CC}">
                <c16:uniqueId val="{00000001-4C06-4D64-AC0B-1ABC27E98542}"/>
              </c:ext>
            </c:extLst>
          </c:dPt>
          <c:dPt>
            <c:idx val="1"/>
            <c:bubble3D val="0"/>
            <c:spPr>
              <a:solidFill>
                <a:srgbClr val="993366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2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3-4C06-4D64-AC0B-1ABC27E9854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2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5-4C06-4D64-AC0B-1ABC27E98542}"/>
              </c:ext>
            </c:extLst>
          </c:dPt>
          <c:dPt>
            <c:idx val="3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2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7-4C06-4D64-AC0B-1ABC27E98542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2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9-4C06-4D64-AC0B-1ABC27E98542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2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B-4C06-4D64-AC0B-1ABC27E98542}"/>
              </c:ext>
            </c:extLst>
          </c:dPt>
          <c:dPt>
            <c:idx val="6"/>
            <c:bubble3D val="0"/>
            <c:extLst>
              <c:ext xmlns:c16="http://schemas.microsoft.com/office/drawing/2014/chart" uri="{C3380CC4-5D6E-409C-BE32-E72D297353CC}">
                <c16:uniqueId val="{0000000C-4C06-4D64-AC0B-1ABC27E98542}"/>
              </c:ext>
            </c:extLst>
          </c:dPt>
          <c:dLbls>
            <c:dLbl>
              <c:idx val="2"/>
              <c:layout>
                <c:manualLayout>
                  <c:x val="-2.3011202469410092E-2"/>
                  <c:y val="0"/>
                </c:manualLayout>
              </c:layout>
              <c:numFmt formatCode="0.0%" sourceLinked="0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800" b="1" i="0" u="none" strike="noStrike" baseline="0">
                      <a:solidFill>
                        <a:srgbClr val="000000"/>
                      </a:solidFill>
                      <a:latin typeface="Times New Roman"/>
                      <a:ea typeface="Times New Roman"/>
                      <a:cs typeface="Times New Roman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C06-4D64-AC0B-1ABC27E98542}"/>
                </c:ext>
              </c:extLst>
            </c:dLbl>
            <c:dLbl>
              <c:idx val="3"/>
              <c:layout>
                <c:manualLayout>
                  <c:x val="-1.6107841728587077E-2"/>
                  <c:y val="0"/>
                </c:manualLayout>
              </c:layout>
              <c:numFmt formatCode="0.0%" sourceLinked="0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800" b="1" i="0" u="none" strike="noStrike" baseline="0">
                      <a:solidFill>
                        <a:srgbClr val="000000"/>
                      </a:solidFill>
                      <a:latin typeface="Times New Roman"/>
                      <a:ea typeface="Times New Roman"/>
                      <a:cs typeface="Times New Roman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C06-4D64-AC0B-1ABC27E98542}"/>
                </c:ext>
              </c:extLst>
            </c:dLbl>
            <c:dLbl>
              <c:idx val="4"/>
              <c:layout>
                <c:manualLayout>
                  <c:x val="-1.1532781200277448E-2"/>
                  <c:y val="-5.0980764979119842E-3"/>
                </c:manualLayout>
              </c:layout>
              <c:numFmt formatCode="0.0%" sourceLinked="0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800" b="1" i="0" u="none" strike="noStrike" baseline="0">
                      <a:solidFill>
                        <a:srgbClr val="000000"/>
                      </a:solidFill>
                      <a:latin typeface="Times New Roman"/>
                      <a:ea typeface="Times New Roman"/>
                      <a:cs typeface="Times New Roman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4C06-4D64-AC0B-1ABC27E98542}"/>
                </c:ext>
              </c:extLst>
            </c:dLbl>
            <c:dLbl>
              <c:idx val="5"/>
              <c:layout>
                <c:manualLayout>
                  <c:x val="2.3028209556706968E-3"/>
                  <c:y val="-1.4162872475879206E-2"/>
                </c:manualLayout>
              </c:layout>
              <c:numFmt formatCode="0.0%" sourceLinked="0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800" b="1" i="0" u="none" strike="noStrike" baseline="0">
                      <a:solidFill>
                        <a:srgbClr val="000000"/>
                      </a:solidFill>
                      <a:latin typeface="Times New Roman"/>
                      <a:ea typeface="Times New Roman"/>
                      <a:cs typeface="Times New Roman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4C06-4D64-AC0B-1ABC27E98542}"/>
                </c:ext>
              </c:extLst>
            </c:dLbl>
            <c:dLbl>
              <c:idx val="6"/>
              <c:layout>
                <c:manualLayout>
                  <c:x val="2.3028209556706966E-2"/>
                  <c:y val="-1.062215435690942E-2"/>
                </c:manualLayout>
              </c:layout>
              <c:numFmt formatCode="0.0%" sourceLinked="0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800" b="1" i="0" u="none" strike="noStrike" baseline="0">
                      <a:solidFill>
                        <a:srgbClr val="000000"/>
                      </a:solidFill>
                      <a:latin typeface="Times New Roman"/>
                      <a:ea typeface="Times New Roman"/>
                      <a:cs typeface="Times New Roman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4C06-4D64-AC0B-1ABC27E98542}"/>
                </c:ext>
              </c:extLst>
            </c:dLbl>
            <c:numFmt formatCode="0.0%" sourceLinked="0"/>
            <c:spPr>
              <a:noFill/>
              <a:ln w="25400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 b="1" i="0" u="none" strike="noStrike" baseline="0">
                    <a:solidFill>
                      <a:srgbClr val="000000"/>
                    </a:solidFill>
                    <a:latin typeface="Times New Roman"/>
                    <a:ea typeface="Times New Roman"/>
                    <a:cs typeface="Times New Roman"/>
                  </a:defRPr>
                </a:pPr>
                <a:endParaRPr lang="ru-RU"/>
              </a:p>
            </c:txPr>
            <c:dLblPos val="out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dk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диаграмма!$A$4:$A$10</c:f>
              <c:strCache>
                <c:ptCount val="7"/>
                <c:pt idx="0">
                  <c:v>Айдың 25-ші күнінен кейін әлеуметтік аударымдардың төлеу мерзімі өткен</c:v>
                </c:pt>
                <c:pt idx="1">
                  <c:v>қаржылық қиындықтарға тап болыңыз</c:v>
                </c:pt>
                <c:pt idx="2">
                  <c:v>кезекті еңбек демалыстарында</c:v>
                </c:pt>
                <c:pt idx="3">
                  <c:v>жұмыскерлерді шарттық негізде тарту</c:v>
                </c:pt>
                <c:pt idx="4">
                  <c:v>қаржыландыру уақтылы жүзеге асырылмаған</c:v>
                </c:pt>
                <c:pt idx="5">
                  <c:v>әлеуметтік аударымдарды төлеу кезінде қателіктер жіберілді</c:v>
                </c:pt>
                <c:pt idx="6">
                  <c:v>басқа</c:v>
                </c:pt>
              </c:strCache>
            </c:strRef>
          </c:cat>
          <c:val>
            <c:numRef>
              <c:f>диаграмма!$B$4:$B$10</c:f>
              <c:numCache>
                <c:formatCode>0.0</c:formatCode>
                <c:ptCount val="7"/>
                <c:pt idx="0">
                  <c:v>54.340376927470011</c:v>
                </c:pt>
                <c:pt idx="1">
                  <c:v>16</c:v>
                </c:pt>
                <c:pt idx="2">
                  <c:v>11.76</c:v>
                </c:pt>
                <c:pt idx="3">
                  <c:v>5.2</c:v>
                </c:pt>
                <c:pt idx="4">
                  <c:v>4.4000000000000004</c:v>
                </c:pt>
                <c:pt idx="5">
                  <c:v>2.8412335808109646</c:v>
                </c:pt>
                <c:pt idx="6">
                  <c:v>5.5000000000000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4C06-4D64-AC0B-1ABC27E9854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61106009904639169"/>
          <c:y val="2.6014456999707544E-2"/>
          <c:w val="0.37534628405177356"/>
          <c:h val="0.9739855430002925"/>
        </c:manualLayout>
      </c:layout>
      <c:overlay val="0"/>
      <c:spPr>
        <a:solidFill>
          <a:schemeClr val="lt1">
            <a:alpha val="78000"/>
          </a:schemeClr>
        </a:solidFill>
        <a:ln>
          <a:noFill/>
        </a:ln>
        <a:effectLst/>
      </c:spPr>
      <c:txPr>
        <a:bodyPr/>
        <a:lstStyle/>
        <a:p>
          <a:pPr>
            <a:defRPr sz="755" b="0" i="0" u="none" strike="noStrike" baseline="0">
              <a:solidFill>
                <a:srgbClr val="333333"/>
              </a:solidFill>
              <a:latin typeface="Times New Roman"/>
              <a:ea typeface="Times New Roman"/>
              <a:cs typeface="Times New Roman"/>
            </a:defRPr>
          </a:pPr>
          <a:endParaRPr lang="ru-RU"/>
        </a:p>
      </c:txPr>
    </c:legend>
    <c:plotVisOnly val="1"/>
    <c:dispBlanksAs val="gap"/>
    <c:showDLblsOverMax val="0"/>
  </c:chart>
  <c:spPr>
    <a:pattFill prst="dkDnDiag">
      <a:fgClr>
        <a:schemeClr val="lt1">
          <a:lumMod val="95000"/>
        </a:schemeClr>
      </a:fgClr>
      <a:bgClr>
        <a:schemeClr val="lt1"/>
      </a:bgClr>
    </a:patt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16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17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18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19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21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3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45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5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61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categoryAxis>
  <cs:chartArea>
    <cs:lnRef idx="0"/>
    <cs:fillRef idx="0"/>
    <cs:effectRef idx="0"/>
    <cs:fontRef idx="minor">
      <a:schemeClr val="dk1"/>
    </cs:fontRef>
    <cs:spPr>
      <a:pattFill prst="dkDnDiag">
        <a:fgClr>
          <a:schemeClr val="lt1">
            <a:lumMod val="95000"/>
          </a:schemeClr>
        </a:fgClr>
        <a:bgClr>
          <a:schemeClr val="lt1"/>
        </a:bgClr>
      </a:patt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75000"/>
        </a:schemeClr>
      </a:solidFill>
      <a:ln w="9525"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317500" algn="ctr" rotWithShape="0">
          <a:prstClr val="black">
            <a:alpha val="25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20000"/>
          </a:prstClr>
        </a:outerShdw>
      </a:effectLst>
      <a:scene3d>
        <a:camera prst="orthographicFront"/>
        <a:lightRig rig="threePt" dir="t"/>
      </a:scene3d>
      <a:sp3d prstMaterial="matte"/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noFill/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78000"/>
        </a:schemeClr>
      </a:solidFill>
    </cs:spPr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65000"/>
        <a:lumOff val="3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6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7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67">
  <cs:axisTitle>
    <cs:lnRef idx="0"/>
    <cs:fillRef idx="0"/>
    <cs:effectRef idx="0"/>
    <cs:fontRef idx="minor">
      <a:schemeClr val="dk1">
        <a:lumMod val="65000"/>
        <a:lumOff val="3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 cap="none" spc="0" normalizeH="0" baseline="0"/>
  </cs:categoryAxis>
  <cs:chartArea>
    <cs:lnRef idx="0"/>
    <cs:fillRef idx="0"/>
    <cs:effectRef idx="0"/>
    <cs:fontRef idx="minor">
      <a:schemeClr val="dk1"/>
    </cs:fontRef>
    <cs:spPr>
      <a:pattFill prst="dkDnDiag">
        <a:fgClr>
          <a:schemeClr val="lt1"/>
        </a:fgClr>
        <a:bgClr>
          <a:schemeClr val="dk1">
            <a:lumMod val="10000"/>
            <a:lumOff val="90000"/>
          </a:schemeClr>
        </a:bgClr>
      </a:patt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75000"/>
        </a:schemeClr>
      </a:solidFill>
      <a:ln w="9525"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gradFill>
        <a:gsLst>
          <a:gs pos="100000">
            <a:schemeClr val="phClr">
              <a:lumMod val="60000"/>
              <a:lumOff val="40000"/>
            </a:schemeClr>
          </a:gs>
          <a:gs pos="0">
            <a:schemeClr val="phClr"/>
          </a:gs>
        </a:gsLst>
        <a:lin ang="5400000" scaled="0"/>
      </a:gradFill>
      <a:ln w="19050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gradFill>
        <a:gsLst>
          <a:gs pos="100000">
            <a:schemeClr val="phClr">
              <a:lumMod val="60000"/>
              <a:lumOff val="40000"/>
            </a:schemeClr>
          </a:gs>
          <a:gs pos="0">
            <a:schemeClr val="phClr"/>
          </a:gs>
        </a:gsLst>
        <a:lin ang="5400000" scaled="0"/>
      </a:gradFill>
      <a:ln w="508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lt1"/>
      </a:solidFill>
      <a:ln w="1587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8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50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dk1">
        <a:lumMod val="50000"/>
        <a:lumOff val="50000"/>
      </a:schemeClr>
    </cs:fontRef>
    <cs:defRPr sz="1600" b="1" kern="1200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30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3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0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61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categoryAxis>
  <cs:chartArea>
    <cs:lnRef idx="0"/>
    <cs:fillRef idx="0"/>
    <cs:effectRef idx="0"/>
    <cs:fontRef idx="minor">
      <a:schemeClr val="dk1"/>
    </cs:fontRef>
    <cs:spPr>
      <a:pattFill prst="dkDnDiag">
        <a:fgClr>
          <a:schemeClr val="lt1">
            <a:lumMod val="95000"/>
          </a:schemeClr>
        </a:fgClr>
        <a:bgClr>
          <a:schemeClr val="lt1"/>
        </a:bgClr>
      </a:patt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75000"/>
        </a:schemeClr>
      </a:solidFill>
      <a:ln w="9525"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317500" algn="ctr" rotWithShape="0">
          <a:prstClr val="black">
            <a:alpha val="25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20000"/>
          </a:prstClr>
        </a:outerShdw>
      </a:effectLst>
      <a:scene3d>
        <a:camera prst="orthographicFront"/>
        <a:lightRig rig="threePt" dir="t"/>
      </a:scene3d>
      <a:sp3d prstMaterial="matte"/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noFill/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78000"/>
        </a:schemeClr>
      </a:solidFill>
    </cs:spPr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65000"/>
        <a:lumOff val="3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AF91C36-09DE-4D4F-AC86-7467A30E8F8D}" type="doc">
      <dgm:prSet loTypeId="urn:microsoft.com/office/officeart/2005/8/layout/cycle6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KZ"/>
        </a:p>
      </dgm:t>
    </dgm:pt>
    <dgm:pt modelId="{44874697-1C83-4754-87AB-852F10FD0DA7}">
      <dgm:prSet phldrT="[Текст]" custT="1"/>
      <dgm:spPr>
        <a:solidFill>
          <a:srgbClr val="0088B8"/>
        </a:solidFill>
      </dgm:spPr>
      <dgm:t>
        <a:bodyPr/>
        <a:lstStyle/>
        <a:p>
          <a:r>
            <a:rPr lang="ru-RU" sz="800" b="1" dirty="0" err="1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жалғыз</a:t>
          </a:r>
          <a:r>
            <a:rPr lang="ru-RU" sz="8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 акционер</a:t>
          </a:r>
          <a:endParaRPr lang="ru-KZ" sz="800" b="1" dirty="0"/>
        </a:p>
      </dgm:t>
    </dgm:pt>
    <dgm:pt modelId="{60422AAF-72D5-498A-A2E9-65F61C847FDF}" type="parTrans" cxnId="{5D96AE18-3571-4C45-8CE8-1ABF72C08FB2}">
      <dgm:prSet/>
      <dgm:spPr/>
      <dgm:t>
        <a:bodyPr/>
        <a:lstStyle/>
        <a:p>
          <a:endParaRPr lang="ru-KZ"/>
        </a:p>
      </dgm:t>
    </dgm:pt>
    <dgm:pt modelId="{1AA00A6D-8794-4C63-ADD9-C6DC4BCFEE38}" type="sibTrans" cxnId="{5D96AE18-3571-4C45-8CE8-1ABF72C08FB2}">
      <dgm:prSet/>
      <dgm:spPr>
        <a:ln w="19050">
          <a:solidFill>
            <a:srgbClr val="FFC000"/>
          </a:solidFill>
        </a:ln>
      </dgm:spPr>
      <dgm:t>
        <a:bodyPr/>
        <a:lstStyle/>
        <a:p>
          <a:endParaRPr lang="ru-KZ"/>
        </a:p>
      </dgm:t>
    </dgm:pt>
    <dgm:pt modelId="{1AF5C639-7AA7-4AF3-8A01-12E166F12AA0}">
      <dgm:prSet phldrT="[Текст]" custT="1"/>
      <dgm:spPr>
        <a:solidFill>
          <a:srgbClr val="0088B8"/>
        </a:solidFill>
      </dgm:spPr>
      <dgm:t>
        <a:bodyPr/>
        <a:lstStyle/>
        <a:p>
          <a:r>
            <a:rPr lang="ru-RU" sz="800" dirty="0" err="1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Директорлар</a:t>
          </a:r>
          <a:r>
            <a:rPr lang="ru-RU" sz="8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 </a:t>
          </a:r>
          <a:r>
            <a:rPr lang="ru-RU" sz="800" dirty="0" err="1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Кеңесі</a:t>
          </a:r>
          <a:endParaRPr lang="ru-KZ" sz="800" dirty="0"/>
        </a:p>
      </dgm:t>
    </dgm:pt>
    <dgm:pt modelId="{730C1E40-F129-4358-B2A4-DC1FFA780148}" type="parTrans" cxnId="{4E7C22E2-FB0B-40A6-AF5C-B87925463355}">
      <dgm:prSet/>
      <dgm:spPr/>
      <dgm:t>
        <a:bodyPr/>
        <a:lstStyle/>
        <a:p>
          <a:endParaRPr lang="ru-KZ"/>
        </a:p>
      </dgm:t>
    </dgm:pt>
    <dgm:pt modelId="{C2DD9EE9-86DC-4442-810C-2EB980161A00}" type="sibTrans" cxnId="{4E7C22E2-FB0B-40A6-AF5C-B87925463355}">
      <dgm:prSet/>
      <dgm:spPr>
        <a:ln w="19050">
          <a:solidFill>
            <a:srgbClr val="FFC000"/>
          </a:solidFill>
        </a:ln>
      </dgm:spPr>
      <dgm:t>
        <a:bodyPr/>
        <a:lstStyle/>
        <a:p>
          <a:endParaRPr lang="ru-KZ"/>
        </a:p>
      </dgm:t>
    </dgm:pt>
    <dgm:pt modelId="{4EFB69C8-2AA1-41B7-9D7B-BA707AA11463}">
      <dgm:prSet phldrT="[Текст]" custT="1"/>
      <dgm:spPr>
        <a:solidFill>
          <a:srgbClr val="0088B8"/>
        </a:solidFill>
      </dgm:spPr>
      <dgm:t>
        <a:bodyPr/>
        <a:lstStyle/>
        <a:p>
          <a:r>
            <a:rPr lang="ru-RU" sz="800" dirty="0" err="1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Атқарушы</a:t>
          </a:r>
          <a:endParaRPr lang="ru-RU" sz="800" dirty="0">
            <a:latin typeface="Arial" panose="020B0604020202020204" pitchFamily="34" charset="0"/>
            <a:ea typeface="Verdana" panose="020B0604030504040204" pitchFamily="34" charset="0"/>
            <a:cs typeface="Arial" panose="020B0604020202020204" pitchFamily="34" charset="0"/>
          </a:endParaRPr>
        </a:p>
        <a:p>
          <a:r>
            <a:rPr lang="ru-RU" sz="8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орган</a:t>
          </a:r>
          <a:endParaRPr lang="ru-KZ" sz="800" dirty="0"/>
        </a:p>
      </dgm:t>
    </dgm:pt>
    <dgm:pt modelId="{E1B22F5D-964D-40A9-8A4A-95D54369D0B4}" type="parTrans" cxnId="{67E063FD-6AE2-4CE2-91BD-B09841D5688C}">
      <dgm:prSet/>
      <dgm:spPr/>
      <dgm:t>
        <a:bodyPr/>
        <a:lstStyle/>
        <a:p>
          <a:endParaRPr lang="ru-KZ"/>
        </a:p>
      </dgm:t>
    </dgm:pt>
    <dgm:pt modelId="{70BC9043-73D1-45B1-B576-0DEE622C0A04}" type="sibTrans" cxnId="{67E063FD-6AE2-4CE2-91BD-B09841D5688C}">
      <dgm:prSet/>
      <dgm:spPr>
        <a:ln w="19050">
          <a:solidFill>
            <a:srgbClr val="FFC000"/>
          </a:solidFill>
        </a:ln>
      </dgm:spPr>
      <dgm:t>
        <a:bodyPr/>
        <a:lstStyle/>
        <a:p>
          <a:endParaRPr lang="ru-KZ"/>
        </a:p>
      </dgm:t>
    </dgm:pt>
    <dgm:pt modelId="{0A52437E-8201-4654-AB51-D51A0161BFC1}">
      <dgm:prSet phldrT="[Текст]" custT="1"/>
      <dgm:spPr>
        <a:solidFill>
          <a:srgbClr val="0088B8"/>
        </a:solidFill>
      </dgm:spPr>
      <dgm:t>
        <a:bodyPr/>
        <a:lstStyle/>
        <a:p>
          <a:r>
            <a:rPr lang="ru-RU" sz="800" dirty="0" err="1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мүдделі</a:t>
          </a:r>
          <a:r>
            <a:rPr lang="ru-RU" sz="8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 </a:t>
          </a:r>
        </a:p>
        <a:p>
          <a:r>
            <a:rPr lang="ru-RU" sz="800" dirty="0" err="1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тараптар</a:t>
          </a:r>
          <a:endParaRPr lang="ru-KZ" sz="800" dirty="0"/>
        </a:p>
      </dgm:t>
    </dgm:pt>
    <dgm:pt modelId="{FBC68A9F-871C-4370-9D63-AEBC3E944E44}" type="parTrans" cxnId="{AF403422-8BA7-4900-9795-458835E4263F}">
      <dgm:prSet/>
      <dgm:spPr/>
      <dgm:t>
        <a:bodyPr/>
        <a:lstStyle/>
        <a:p>
          <a:endParaRPr lang="ru-KZ"/>
        </a:p>
      </dgm:t>
    </dgm:pt>
    <dgm:pt modelId="{8B190474-9CD2-4587-8E62-8427E89CCE3E}" type="sibTrans" cxnId="{AF403422-8BA7-4900-9795-458835E4263F}">
      <dgm:prSet/>
      <dgm:spPr>
        <a:ln w="19050">
          <a:solidFill>
            <a:srgbClr val="FFC000"/>
          </a:solidFill>
        </a:ln>
      </dgm:spPr>
      <dgm:t>
        <a:bodyPr/>
        <a:lstStyle/>
        <a:p>
          <a:endParaRPr lang="ru-KZ"/>
        </a:p>
      </dgm:t>
    </dgm:pt>
    <dgm:pt modelId="{A6AC01A8-F8BC-4A61-8DC8-15BA3AB21600}">
      <dgm:prSet phldrT="[Текст]" custT="1"/>
      <dgm:spPr>
        <a:solidFill>
          <a:srgbClr val="0088B8"/>
        </a:solidFill>
      </dgm:spPr>
      <dgm:t>
        <a:bodyPr/>
        <a:lstStyle/>
        <a:p>
          <a:r>
            <a:rPr lang="ru-RU" sz="800" dirty="0" err="1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Жарғыға</a:t>
          </a:r>
          <a:r>
            <a:rPr lang="ru-RU" sz="8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 </a:t>
          </a:r>
          <a:r>
            <a:rPr lang="ru-RU" sz="800" dirty="0" err="1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сәйкес</a:t>
          </a:r>
          <a:r>
            <a:rPr lang="ru-RU" sz="8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 </a:t>
          </a:r>
          <a:r>
            <a:rPr lang="ru-RU" sz="800" dirty="0" err="1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айқындалатын</a:t>
          </a:r>
          <a:r>
            <a:rPr lang="ru-RU" sz="8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 </a:t>
          </a:r>
          <a:r>
            <a:rPr lang="ru-RU" sz="800" dirty="0" err="1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өзге</a:t>
          </a:r>
          <a:r>
            <a:rPr lang="ru-RU" sz="8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 де </a:t>
          </a:r>
          <a:r>
            <a:rPr lang="ru-RU" sz="800" dirty="0" err="1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органдар</a:t>
          </a:r>
          <a:endParaRPr lang="ru-KZ" sz="800" dirty="0"/>
        </a:p>
      </dgm:t>
    </dgm:pt>
    <dgm:pt modelId="{683F5B47-6D87-4184-9E31-CC324E5AF7DB}" type="parTrans" cxnId="{74F20EAC-6998-4FDA-BBA2-B1F73A2C1EC9}">
      <dgm:prSet/>
      <dgm:spPr/>
      <dgm:t>
        <a:bodyPr/>
        <a:lstStyle/>
        <a:p>
          <a:endParaRPr lang="ru-KZ"/>
        </a:p>
      </dgm:t>
    </dgm:pt>
    <dgm:pt modelId="{93CC51C4-909B-4C01-9F39-E304C3C1C9FE}" type="sibTrans" cxnId="{74F20EAC-6998-4FDA-BBA2-B1F73A2C1EC9}">
      <dgm:prSet/>
      <dgm:spPr>
        <a:ln w="19050">
          <a:solidFill>
            <a:srgbClr val="FFC000"/>
          </a:solidFill>
        </a:ln>
      </dgm:spPr>
      <dgm:t>
        <a:bodyPr/>
        <a:lstStyle/>
        <a:p>
          <a:endParaRPr lang="ru-KZ"/>
        </a:p>
      </dgm:t>
    </dgm:pt>
    <dgm:pt modelId="{142D7F69-64D3-4491-BD2A-3812F6757FF6}" type="pres">
      <dgm:prSet presAssocID="{5AF91C36-09DE-4D4F-AC86-7467A30E8F8D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2ACA683-2825-43CF-83A9-B4DD68B4F5E9}" type="pres">
      <dgm:prSet presAssocID="{44874697-1C83-4754-87AB-852F10FD0DA7}" presName="node" presStyleLbl="node1" presStyleIdx="0" presStyleCnt="5" custScaleX="11807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4E9F934-F8F3-415C-AE88-D590E7DDBC43}" type="pres">
      <dgm:prSet presAssocID="{44874697-1C83-4754-87AB-852F10FD0DA7}" presName="spNode" presStyleCnt="0"/>
      <dgm:spPr/>
    </dgm:pt>
    <dgm:pt modelId="{E6E9D93D-02DA-4A02-A307-73D0BA0BF541}" type="pres">
      <dgm:prSet presAssocID="{1AA00A6D-8794-4C63-ADD9-C6DC4BCFEE38}" presName="sibTrans" presStyleLbl="sibTrans1D1" presStyleIdx="0" presStyleCnt="5"/>
      <dgm:spPr/>
      <dgm:t>
        <a:bodyPr/>
        <a:lstStyle/>
        <a:p>
          <a:endParaRPr lang="ru-RU"/>
        </a:p>
      </dgm:t>
    </dgm:pt>
    <dgm:pt modelId="{91C25522-0ACC-4B61-A161-BAB399E8849C}" type="pres">
      <dgm:prSet presAssocID="{1AF5C639-7AA7-4AF3-8A01-12E166F12AA0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53AFBFB-D0DD-4FA7-A030-2652800BF6E2}" type="pres">
      <dgm:prSet presAssocID="{1AF5C639-7AA7-4AF3-8A01-12E166F12AA0}" presName="spNode" presStyleCnt="0"/>
      <dgm:spPr/>
    </dgm:pt>
    <dgm:pt modelId="{C4CD14AA-DB7A-45E7-A53A-589E6B9CDAE1}" type="pres">
      <dgm:prSet presAssocID="{C2DD9EE9-86DC-4442-810C-2EB980161A00}" presName="sibTrans" presStyleLbl="sibTrans1D1" presStyleIdx="1" presStyleCnt="5"/>
      <dgm:spPr/>
      <dgm:t>
        <a:bodyPr/>
        <a:lstStyle/>
        <a:p>
          <a:endParaRPr lang="ru-RU"/>
        </a:p>
      </dgm:t>
    </dgm:pt>
    <dgm:pt modelId="{EC3EBD17-CBE7-4791-BECA-AA47692B93B9}" type="pres">
      <dgm:prSet presAssocID="{4EFB69C8-2AA1-41B7-9D7B-BA707AA11463}" presName="node" presStyleLbl="node1" presStyleIdx="2" presStyleCnt="5" custScaleX="13465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53C2ECD-02A8-4059-BA37-588271C1B8BD}" type="pres">
      <dgm:prSet presAssocID="{4EFB69C8-2AA1-41B7-9D7B-BA707AA11463}" presName="spNode" presStyleCnt="0"/>
      <dgm:spPr/>
    </dgm:pt>
    <dgm:pt modelId="{09650EC4-AE17-4140-AEA6-DC312E488824}" type="pres">
      <dgm:prSet presAssocID="{70BC9043-73D1-45B1-B576-0DEE622C0A04}" presName="sibTrans" presStyleLbl="sibTrans1D1" presStyleIdx="2" presStyleCnt="5"/>
      <dgm:spPr/>
      <dgm:t>
        <a:bodyPr/>
        <a:lstStyle/>
        <a:p>
          <a:endParaRPr lang="ru-RU"/>
        </a:p>
      </dgm:t>
    </dgm:pt>
    <dgm:pt modelId="{D4AAF7A1-2AA8-4153-9E8F-057D1E501BBE}" type="pres">
      <dgm:prSet presAssocID="{0A52437E-8201-4654-AB51-D51A0161BFC1}" presName="node" presStyleLbl="node1" presStyleIdx="3" presStyleCnt="5" custScaleX="13094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82BB4B1-B2C1-46A9-81ED-CD05A2D38EE8}" type="pres">
      <dgm:prSet presAssocID="{0A52437E-8201-4654-AB51-D51A0161BFC1}" presName="spNode" presStyleCnt="0"/>
      <dgm:spPr/>
    </dgm:pt>
    <dgm:pt modelId="{142C839A-66CE-4F80-B7B8-67981B76B578}" type="pres">
      <dgm:prSet presAssocID="{8B190474-9CD2-4587-8E62-8427E89CCE3E}" presName="sibTrans" presStyleLbl="sibTrans1D1" presStyleIdx="3" presStyleCnt="5"/>
      <dgm:spPr/>
      <dgm:t>
        <a:bodyPr/>
        <a:lstStyle/>
        <a:p>
          <a:endParaRPr lang="ru-RU"/>
        </a:p>
      </dgm:t>
    </dgm:pt>
    <dgm:pt modelId="{62F08D00-AA2C-4727-816C-C93CCB87222D}" type="pres">
      <dgm:prSet presAssocID="{A6AC01A8-F8BC-4A61-8DC8-15BA3AB21600}" presName="node" presStyleLbl="node1" presStyleIdx="4" presStyleCnt="5" custScaleX="126423" custScaleY="1146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C569E1C-8539-449A-8D07-099B331A86DE}" type="pres">
      <dgm:prSet presAssocID="{A6AC01A8-F8BC-4A61-8DC8-15BA3AB21600}" presName="spNode" presStyleCnt="0"/>
      <dgm:spPr/>
    </dgm:pt>
    <dgm:pt modelId="{877ECB67-FCD8-4955-9108-B691B1F88D59}" type="pres">
      <dgm:prSet presAssocID="{93CC51C4-909B-4C01-9F39-E304C3C1C9FE}" presName="sibTrans" presStyleLbl="sibTrans1D1" presStyleIdx="4" presStyleCnt="5"/>
      <dgm:spPr/>
      <dgm:t>
        <a:bodyPr/>
        <a:lstStyle/>
        <a:p>
          <a:endParaRPr lang="ru-RU"/>
        </a:p>
      </dgm:t>
    </dgm:pt>
  </dgm:ptLst>
  <dgm:cxnLst>
    <dgm:cxn modelId="{77C680CA-7E2F-484A-8644-F96B5500CA82}" type="presOf" srcId="{70BC9043-73D1-45B1-B576-0DEE622C0A04}" destId="{09650EC4-AE17-4140-AEA6-DC312E488824}" srcOrd="0" destOrd="0" presId="urn:microsoft.com/office/officeart/2005/8/layout/cycle6"/>
    <dgm:cxn modelId="{E4F95CC4-AB95-46A5-8250-29329D0B9BC5}" type="presOf" srcId="{A6AC01A8-F8BC-4A61-8DC8-15BA3AB21600}" destId="{62F08D00-AA2C-4727-816C-C93CCB87222D}" srcOrd="0" destOrd="0" presId="urn:microsoft.com/office/officeart/2005/8/layout/cycle6"/>
    <dgm:cxn modelId="{5D96AE18-3571-4C45-8CE8-1ABF72C08FB2}" srcId="{5AF91C36-09DE-4D4F-AC86-7467A30E8F8D}" destId="{44874697-1C83-4754-87AB-852F10FD0DA7}" srcOrd="0" destOrd="0" parTransId="{60422AAF-72D5-498A-A2E9-65F61C847FDF}" sibTransId="{1AA00A6D-8794-4C63-ADD9-C6DC4BCFEE38}"/>
    <dgm:cxn modelId="{4D8AFE3D-B52E-44BE-A849-B7C49FD69E08}" type="presOf" srcId="{44874697-1C83-4754-87AB-852F10FD0DA7}" destId="{72ACA683-2825-43CF-83A9-B4DD68B4F5E9}" srcOrd="0" destOrd="0" presId="urn:microsoft.com/office/officeart/2005/8/layout/cycle6"/>
    <dgm:cxn modelId="{8F94E298-06B2-49EC-A98A-A53D9C2D470E}" type="presOf" srcId="{0A52437E-8201-4654-AB51-D51A0161BFC1}" destId="{D4AAF7A1-2AA8-4153-9E8F-057D1E501BBE}" srcOrd="0" destOrd="0" presId="urn:microsoft.com/office/officeart/2005/8/layout/cycle6"/>
    <dgm:cxn modelId="{C26CAF3B-8011-4D99-B3E5-4610BC067EA4}" type="presOf" srcId="{4EFB69C8-2AA1-41B7-9D7B-BA707AA11463}" destId="{EC3EBD17-CBE7-4791-BECA-AA47692B93B9}" srcOrd="0" destOrd="0" presId="urn:microsoft.com/office/officeart/2005/8/layout/cycle6"/>
    <dgm:cxn modelId="{74F20EAC-6998-4FDA-BBA2-B1F73A2C1EC9}" srcId="{5AF91C36-09DE-4D4F-AC86-7467A30E8F8D}" destId="{A6AC01A8-F8BC-4A61-8DC8-15BA3AB21600}" srcOrd="4" destOrd="0" parTransId="{683F5B47-6D87-4184-9E31-CC324E5AF7DB}" sibTransId="{93CC51C4-909B-4C01-9F39-E304C3C1C9FE}"/>
    <dgm:cxn modelId="{27F60D69-8AFE-4F43-B9CF-95067DDCAE1F}" type="presOf" srcId="{93CC51C4-909B-4C01-9F39-E304C3C1C9FE}" destId="{877ECB67-FCD8-4955-9108-B691B1F88D59}" srcOrd="0" destOrd="0" presId="urn:microsoft.com/office/officeart/2005/8/layout/cycle6"/>
    <dgm:cxn modelId="{0CBA6050-6E21-43A6-B800-21ECCC63EE6C}" type="presOf" srcId="{5AF91C36-09DE-4D4F-AC86-7467A30E8F8D}" destId="{142D7F69-64D3-4491-BD2A-3812F6757FF6}" srcOrd="0" destOrd="0" presId="urn:microsoft.com/office/officeart/2005/8/layout/cycle6"/>
    <dgm:cxn modelId="{11C7D228-F3F8-44CE-B3E1-FA63C0102892}" type="presOf" srcId="{1AA00A6D-8794-4C63-ADD9-C6DC4BCFEE38}" destId="{E6E9D93D-02DA-4A02-A307-73D0BA0BF541}" srcOrd="0" destOrd="0" presId="urn:microsoft.com/office/officeart/2005/8/layout/cycle6"/>
    <dgm:cxn modelId="{E6F28021-F445-4817-B15E-0BD58FAF29F0}" type="presOf" srcId="{1AF5C639-7AA7-4AF3-8A01-12E166F12AA0}" destId="{91C25522-0ACC-4B61-A161-BAB399E8849C}" srcOrd="0" destOrd="0" presId="urn:microsoft.com/office/officeart/2005/8/layout/cycle6"/>
    <dgm:cxn modelId="{4E7C22E2-FB0B-40A6-AF5C-B87925463355}" srcId="{5AF91C36-09DE-4D4F-AC86-7467A30E8F8D}" destId="{1AF5C639-7AA7-4AF3-8A01-12E166F12AA0}" srcOrd="1" destOrd="0" parTransId="{730C1E40-F129-4358-B2A4-DC1FFA780148}" sibTransId="{C2DD9EE9-86DC-4442-810C-2EB980161A00}"/>
    <dgm:cxn modelId="{AF403422-8BA7-4900-9795-458835E4263F}" srcId="{5AF91C36-09DE-4D4F-AC86-7467A30E8F8D}" destId="{0A52437E-8201-4654-AB51-D51A0161BFC1}" srcOrd="3" destOrd="0" parTransId="{FBC68A9F-871C-4370-9D63-AEBC3E944E44}" sibTransId="{8B190474-9CD2-4587-8E62-8427E89CCE3E}"/>
    <dgm:cxn modelId="{AA91B6BE-9425-4837-855D-BB048C468CEC}" type="presOf" srcId="{C2DD9EE9-86DC-4442-810C-2EB980161A00}" destId="{C4CD14AA-DB7A-45E7-A53A-589E6B9CDAE1}" srcOrd="0" destOrd="0" presId="urn:microsoft.com/office/officeart/2005/8/layout/cycle6"/>
    <dgm:cxn modelId="{6109DC0D-184C-4A65-98F6-CA099AAC839F}" type="presOf" srcId="{8B190474-9CD2-4587-8E62-8427E89CCE3E}" destId="{142C839A-66CE-4F80-B7B8-67981B76B578}" srcOrd="0" destOrd="0" presId="urn:microsoft.com/office/officeart/2005/8/layout/cycle6"/>
    <dgm:cxn modelId="{67E063FD-6AE2-4CE2-91BD-B09841D5688C}" srcId="{5AF91C36-09DE-4D4F-AC86-7467A30E8F8D}" destId="{4EFB69C8-2AA1-41B7-9D7B-BA707AA11463}" srcOrd="2" destOrd="0" parTransId="{E1B22F5D-964D-40A9-8A4A-95D54369D0B4}" sibTransId="{70BC9043-73D1-45B1-B576-0DEE622C0A04}"/>
    <dgm:cxn modelId="{F869D2D5-EE13-4956-9EE0-39EA3B292AB9}" type="presParOf" srcId="{142D7F69-64D3-4491-BD2A-3812F6757FF6}" destId="{72ACA683-2825-43CF-83A9-B4DD68B4F5E9}" srcOrd="0" destOrd="0" presId="urn:microsoft.com/office/officeart/2005/8/layout/cycle6"/>
    <dgm:cxn modelId="{067CDE3B-1420-434E-B0BD-38D19ABCE73B}" type="presParOf" srcId="{142D7F69-64D3-4491-BD2A-3812F6757FF6}" destId="{14E9F934-F8F3-415C-AE88-D590E7DDBC43}" srcOrd="1" destOrd="0" presId="urn:microsoft.com/office/officeart/2005/8/layout/cycle6"/>
    <dgm:cxn modelId="{8A6BE0C5-2484-45E9-967E-FEA0B570FE37}" type="presParOf" srcId="{142D7F69-64D3-4491-BD2A-3812F6757FF6}" destId="{E6E9D93D-02DA-4A02-A307-73D0BA0BF541}" srcOrd="2" destOrd="0" presId="urn:microsoft.com/office/officeart/2005/8/layout/cycle6"/>
    <dgm:cxn modelId="{9FC8A89F-8726-4E2F-9BEE-2CDF9EF2FB91}" type="presParOf" srcId="{142D7F69-64D3-4491-BD2A-3812F6757FF6}" destId="{91C25522-0ACC-4B61-A161-BAB399E8849C}" srcOrd="3" destOrd="0" presId="urn:microsoft.com/office/officeart/2005/8/layout/cycle6"/>
    <dgm:cxn modelId="{CBCFFCB7-4322-4A76-BD8B-A9C76E850E7E}" type="presParOf" srcId="{142D7F69-64D3-4491-BD2A-3812F6757FF6}" destId="{653AFBFB-D0DD-4FA7-A030-2652800BF6E2}" srcOrd="4" destOrd="0" presId="urn:microsoft.com/office/officeart/2005/8/layout/cycle6"/>
    <dgm:cxn modelId="{BF86527B-CFC0-47E7-AFBA-761BBF50293F}" type="presParOf" srcId="{142D7F69-64D3-4491-BD2A-3812F6757FF6}" destId="{C4CD14AA-DB7A-45E7-A53A-589E6B9CDAE1}" srcOrd="5" destOrd="0" presId="urn:microsoft.com/office/officeart/2005/8/layout/cycle6"/>
    <dgm:cxn modelId="{F615CE3F-B05E-4A50-B4B4-06E5001B7104}" type="presParOf" srcId="{142D7F69-64D3-4491-BD2A-3812F6757FF6}" destId="{EC3EBD17-CBE7-4791-BECA-AA47692B93B9}" srcOrd="6" destOrd="0" presId="urn:microsoft.com/office/officeart/2005/8/layout/cycle6"/>
    <dgm:cxn modelId="{0EC977D8-DD71-4C60-8285-6DE74D9D6690}" type="presParOf" srcId="{142D7F69-64D3-4491-BD2A-3812F6757FF6}" destId="{953C2ECD-02A8-4059-BA37-588271C1B8BD}" srcOrd="7" destOrd="0" presId="urn:microsoft.com/office/officeart/2005/8/layout/cycle6"/>
    <dgm:cxn modelId="{EA0B5413-6F2B-484F-9357-5D0FB230D809}" type="presParOf" srcId="{142D7F69-64D3-4491-BD2A-3812F6757FF6}" destId="{09650EC4-AE17-4140-AEA6-DC312E488824}" srcOrd="8" destOrd="0" presId="urn:microsoft.com/office/officeart/2005/8/layout/cycle6"/>
    <dgm:cxn modelId="{8DA5C45F-6B30-4F90-88FD-F74D1D28F68E}" type="presParOf" srcId="{142D7F69-64D3-4491-BD2A-3812F6757FF6}" destId="{D4AAF7A1-2AA8-4153-9E8F-057D1E501BBE}" srcOrd="9" destOrd="0" presId="urn:microsoft.com/office/officeart/2005/8/layout/cycle6"/>
    <dgm:cxn modelId="{3061BA1E-2674-4CD4-A7A6-243979E2F6CE}" type="presParOf" srcId="{142D7F69-64D3-4491-BD2A-3812F6757FF6}" destId="{182BB4B1-B2C1-46A9-81ED-CD05A2D38EE8}" srcOrd="10" destOrd="0" presId="urn:microsoft.com/office/officeart/2005/8/layout/cycle6"/>
    <dgm:cxn modelId="{66853178-D7AA-4C17-888C-1B9D5CD8BAD8}" type="presParOf" srcId="{142D7F69-64D3-4491-BD2A-3812F6757FF6}" destId="{142C839A-66CE-4F80-B7B8-67981B76B578}" srcOrd="11" destOrd="0" presId="urn:microsoft.com/office/officeart/2005/8/layout/cycle6"/>
    <dgm:cxn modelId="{C6208A7A-B9BD-4DDF-84C1-81FA28B3D76A}" type="presParOf" srcId="{142D7F69-64D3-4491-BD2A-3812F6757FF6}" destId="{62F08D00-AA2C-4727-816C-C93CCB87222D}" srcOrd="12" destOrd="0" presId="urn:microsoft.com/office/officeart/2005/8/layout/cycle6"/>
    <dgm:cxn modelId="{E8115330-2777-45D7-A4B4-45B4FA14CCC4}" type="presParOf" srcId="{142D7F69-64D3-4491-BD2A-3812F6757FF6}" destId="{7C569E1C-8539-449A-8D07-099B331A86DE}" srcOrd="13" destOrd="0" presId="urn:microsoft.com/office/officeart/2005/8/layout/cycle6"/>
    <dgm:cxn modelId="{11AEF238-746A-4CBB-A589-5A77C4B652E8}" type="presParOf" srcId="{142D7F69-64D3-4491-BD2A-3812F6757FF6}" destId="{877ECB67-FCD8-4955-9108-B691B1F88D59}" srcOrd="14" destOrd="0" presId="urn:microsoft.com/office/officeart/2005/8/layout/cycle6"/>
  </dgm:cxnLst>
  <dgm:bg/>
  <dgm:whole>
    <a:ln w="19050"/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2ACA683-2825-43CF-83A9-B4DD68B4F5E9}">
      <dsp:nvSpPr>
        <dsp:cNvPr id="0" name=""/>
        <dsp:cNvSpPr/>
      </dsp:nvSpPr>
      <dsp:spPr>
        <a:xfrm>
          <a:off x="1251229" y="1144"/>
          <a:ext cx="859489" cy="473162"/>
        </a:xfrm>
        <a:prstGeom prst="roundRect">
          <a:avLst/>
        </a:prstGeom>
        <a:solidFill>
          <a:srgbClr val="0088B8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err="1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жалғыз</a:t>
          </a:r>
          <a:r>
            <a:rPr lang="ru-RU" sz="800" b="1" kern="12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 акционер</a:t>
          </a:r>
          <a:endParaRPr lang="ru-KZ" sz="800" b="1" kern="1200" dirty="0"/>
        </a:p>
      </dsp:txBody>
      <dsp:txXfrm>
        <a:off x="1274327" y="24242"/>
        <a:ext cx="813293" cy="426966"/>
      </dsp:txXfrm>
    </dsp:sp>
    <dsp:sp modelId="{E6E9D93D-02DA-4A02-A307-73D0BA0BF541}">
      <dsp:nvSpPr>
        <dsp:cNvPr id="0" name=""/>
        <dsp:cNvSpPr/>
      </dsp:nvSpPr>
      <dsp:spPr>
        <a:xfrm>
          <a:off x="735680" y="237725"/>
          <a:ext cx="1890588" cy="1890588"/>
        </a:xfrm>
        <a:custGeom>
          <a:avLst/>
          <a:gdLst/>
          <a:ahLst/>
          <a:cxnLst/>
          <a:rect l="0" t="0" r="0" b="0"/>
          <a:pathLst>
            <a:path>
              <a:moveTo>
                <a:pt x="1379243" y="105490"/>
              </a:moveTo>
              <a:arcTo wR="945294" hR="945294" stAng="17839597" swAng="1702813"/>
            </a:path>
          </a:pathLst>
        </a:custGeom>
        <a:noFill/>
        <a:ln w="19050" cap="flat" cmpd="sng" algn="ctr">
          <a:solidFill>
            <a:srgbClr val="FFC000"/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1C25522-0ACC-4B61-A161-BAB399E8849C}">
      <dsp:nvSpPr>
        <dsp:cNvPr id="0" name=""/>
        <dsp:cNvSpPr/>
      </dsp:nvSpPr>
      <dsp:spPr>
        <a:xfrm>
          <a:off x="2216031" y="654326"/>
          <a:ext cx="727942" cy="473162"/>
        </a:xfrm>
        <a:prstGeom prst="roundRect">
          <a:avLst/>
        </a:prstGeom>
        <a:solidFill>
          <a:srgbClr val="0088B8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err="1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Директорлар</a:t>
          </a:r>
          <a:r>
            <a:rPr lang="ru-RU" sz="800" kern="12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 </a:t>
          </a:r>
          <a:r>
            <a:rPr lang="ru-RU" sz="800" kern="1200" dirty="0" err="1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Кеңесі</a:t>
          </a:r>
          <a:endParaRPr lang="ru-KZ" sz="800" kern="1200" dirty="0"/>
        </a:p>
      </dsp:txBody>
      <dsp:txXfrm>
        <a:off x="2239129" y="677424"/>
        <a:ext cx="681746" cy="426966"/>
      </dsp:txXfrm>
    </dsp:sp>
    <dsp:sp modelId="{C4CD14AA-DB7A-45E7-A53A-589E6B9CDAE1}">
      <dsp:nvSpPr>
        <dsp:cNvPr id="0" name=""/>
        <dsp:cNvSpPr/>
      </dsp:nvSpPr>
      <dsp:spPr>
        <a:xfrm>
          <a:off x="735680" y="237725"/>
          <a:ext cx="1890588" cy="1890588"/>
        </a:xfrm>
        <a:custGeom>
          <a:avLst/>
          <a:gdLst/>
          <a:ahLst/>
          <a:cxnLst/>
          <a:rect l="0" t="0" r="0" b="0"/>
          <a:pathLst>
            <a:path>
              <a:moveTo>
                <a:pt x="1889292" y="895805"/>
              </a:moveTo>
              <a:arcTo wR="945294" hR="945294" stAng="21419944" swAng="2196188"/>
            </a:path>
          </a:pathLst>
        </a:custGeom>
        <a:noFill/>
        <a:ln w="19050" cap="flat" cmpd="sng" algn="ctr">
          <a:solidFill>
            <a:srgbClr val="FFC000"/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C3EBD17-CBE7-4791-BECA-AA47692B93B9}">
      <dsp:nvSpPr>
        <dsp:cNvPr id="0" name=""/>
        <dsp:cNvSpPr/>
      </dsp:nvSpPr>
      <dsp:spPr>
        <a:xfrm>
          <a:off x="1746513" y="1711197"/>
          <a:ext cx="980182" cy="473162"/>
        </a:xfrm>
        <a:prstGeom prst="roundRect">
          <a:avLst/>
        </a:prstGeom>
        <a:solidFill>
          <a:srgbClr val="0088B8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err="1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Атқарушы</a:t>
          </a:r>
          <a:endParaRPr lang="ru-RU" sz="800" kern="1200" dirty="0">
            <a:latin typeface="Arial" panose="020B0604020202020204" pitchFamily="34" charset="0"/>
            <a:ea typeface="Verdana" panose="020B0604030504040204" pitchFamily="34" charset="0"/>
            <a:cs typeface="Arial" panose="020B0604020202020204" pitchFamily="34" charset="0"/>
          </a:endParaRP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орган</a:t>
          </a:r>
          <a:endParaRPr lang="ru-KZ" sz="800" kern="1200" dirty="0"/>
        </a:p>
      </dsp:txBody>
      <dsp:txXfrm>
        <a:off x="1769611" y="1734295"/>
        <a:ext cx="933986" cy="426966"/>
      </dsp:txXfrm>
    </dsp:sp>
    <dsp:sp modelId="{09650EC4-AE17-4140-AEA6-DC312E488824}">
      <dsp:nvSpPr>
        <dsp:cNvPr id="0" name=""/>
        <dsp:cNvSpPr/>
      </dsp:nvSpPr>
      <dsp:spPr>
        <a:xfrm>
          <a:off x="735680" y="237725"/>
          <a:ext cx="1890588" cy="1890588"/>
        </a:xfrm>
        <a:custGeom>
          <a:avLst/>
          <a:gdLst/>
          <a:ahLst/>
          <a:cxnLst/>
          <a:rect l="0" t="0" r="0" b="0"/>
          <a:pathLst>
            <a:path>
              <a:moveTo>
                <a:pt x="1009390" y="1888412"/>
              </a:moveTo>
              <a:arcTo wR="945294" hR="945294" stAng="5166722" swAng="515742"/>
            </a:path>
          </a:pathLst>
        </a:custGeom>
        <a:noFill/>
        <a:ln w="19050" cap="flat" cmpd="sng" algn="ctr">
          <a:solidFill>
            <a:srgbClr val="FFC000"/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4AAF7A1-2AA8-4153-9E8F-057D1E501BBE}">
      <dsp:nvSpPr>
        <dsp:cNvPr id="0" name=""/>
        <dsp:cNvSpPr/>
      </dsp:nvSpPr>
      <dsp:spPr>
        <a:xfrm>
          <a:off x="648738" y="1711197"/>
          <a:ext cx="953212" cy="473162"/>
        </a:xfrm>
        <a:prstGeom prst="roundRect">
          <a:avLst/>
        </a:prstGeom>
        <a:solidFill>
          <a:srgbClr val="0088B8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err="1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мүдделі</a:t>
          </a:r>
          <a:r>
            <a:rPr lang="ru-RU" sz="800" kern="12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 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err="1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тараптар</a:t>
          </a:r>
          <a:endParaRPr lang="ru-KZ" sz="800" kern="1200" dirty="0"/>
        </a:p>
      </dsp:txBody>
      <dsp:txXfrm>
        <a:off x="671836" y="1734295"/>
        <a:ext cx="907016" cy="426966"/>
      </dsp:txXfrm>
    </dsp:sp>
    <dsp:sp modelId="{142C839A-66CE-4F80-B7B8-67981B76B578}">
      <dsp:nvSpPr>
        <dsp:cNvPr id="0" name=""/>
        <dsp:cNvSpPr/>
      </dsp:nvSpPr>
      <dsp:spPr>
        <a:xfrm>
          <a:off x="735680" y="237725"/>
          <a:ext cx="1890588" cy="1890588"/>
        </a:xfrm>
        <a:custGeom>
          <a:avLst/>
          <a:gdLst/>
          <a:ahLst/>
          <a:cxnLst/>
          <a:rect l="0" t="0" r="0" b="0"/>
          <a:pathLst>
            <a:path>
              <a:moveTo>
                <a:pt x="158140" y="1468715"/>
              </a:moveTo>
              <a:arcTo wR="945294" hR="945294" stAng="8782674" swAng="2072852"/>
            </a:path>
          </a:pathLst>
        </a:custGeom>
        <a:noFill/>
        <a:ln w="19050" cap="flat" cmpd="sng" algn="ctr">
          <a:solidFill>
            <a:srgbClr val="FFC000"/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2F08D00-AA2C-4727-816C-C93CCB87222D}">
      <dsp:nvSpPr>
        <dsp:cNvPr id="0" name=""/>
        <dsp:cNvSpPr/>
      </dsp:nvSpPr>
      <dsp:spPr>
        <a:xfrm>
          <a:off x="321802" y="619785"/>
          <a:ext cx="920287" cy="542244"/>
        </a:xfrm>
        <a:prstGeom prst="roundRect">
          <a:avLst/>
        </a:prstGeom>
        <a:solidFill>
          <a:srgbClr val="0088B8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err="1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Жарғыға</a:t>
          </a:r>
          <a:r>
            <a:rPr lang="ru-RU" sz="800" kern="12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 </a:t>
          </a:r>
          <a:r>
            <a:rPr lang="ru-RU" sz="800" kern="1200" dirty="0" err="1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сәйкес</a:t>
          </a:r>
          <a:r>
            <a:rPr lang="ru-RU" sz="800" kern="12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 </a:t>
          </a:r>
          <a:r>
            <a:rPr lang="ru-RU" sz="800" kern="1200" dirty="0" err="1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айқындалатын</a:t>
          </a:r>
          <a:r>
            <a:rPr lang="ru-RU" sz="800" kern="12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 </a:t>
          </a:r>
          <a:r>
            <a:rPr lang="ru-RU" sz="800" kern="1200" dirty="0" err="1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өзге</a:t>
          </a:r>
          <a:r>
            <a:rPr lang="ru-RU" sz="800" kern="12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 де </a:t>
          </a:r>
          <a:r>
            <a:rPr lang="ru-RU" sz="800" kern="1200" dirty="0" err="1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органдар</a:t>
          </a:r>
          <a:endParaRPr lang="ru-KZ" sz="800" kern="1200" dirty="0"/>
        </a:p>
      </dsp:txBody>
      <dsp:txXfrm>
        <a:off x="348272" y="646255"/>
        <a:ext cx="867347" cy="489304"/>
      </dsp:txXfrm>
    </dsp:sp>
    <dsp:sp modelId="{877ECB67-FCD8-4955-9108-B691B1F88D59}">
      <dsp:nvSpPr>
        <dsp:cNvPr id="0" name=""/>
        <dsp:cNvSpPr/>
      </dsp:nvSpPr>
      <dsp:spPr>
        <a:xfrm>
          <a:off x="735680" y="237725"/>
          <a:ext cx="1890588" cy="1890588"/>
        </a:xfrm>
        <a:custGeom>
          <a:avLst/>
          <a:gdLst/>
          <a:ahLst/>
          <a:cxnLst/>
          <a:rect l="0" t="0" r="0" b="0"/>
          <a:pathLst>
            <a:path>
              <a:moveTo>
                <a:pt x="188697" y="378600"/>
              </a:moveTo>
              <a:arcTo wR="945294" hR="945294" stAng="13010001" swAng="1551896"/>
            </a:path>
          </a:pathLst>
        </a:custGeom>
        <a:noFill/>
        <a:ln w="19050" cap="flat" cmpd="sng" algn="ctr">
          <a:solidFill>
            <a:srgbClr val="FFC000"/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18" Type="http://schemas.openxmlformats.org/officeDocument/2006/relationships/image" Target="../media/image2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17" Type="http://schemas.openxmlformats.org/officeDocument/2006/relationships/image" Target="../media/image26.png"/><Relationship Id="rId2" Type="http://schemas.openxmlformats.org/officeDocument/2006/relationships/image" Target="../media/image11.png"/><Relationship Id="rId16" Type="http://schemas.openxmlformats.org/officeDocument/2006/relationships/image" Target="../media/image25.png"/><Relationship Id="rId1" Type="http://schemas.openxmlformats.org/officeDocument/2006/relationships/image" Target="../media/image10.png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5" Type="http://schemas.openxmlformats.org/officeDocument/2006/relationships/image" Target="../media/image24.png"/><Relationship Id="rId10" Type="http://schemas.openxmlformats.org/officeDocument/2006/relationships/image" Target="../media/image19.png"/><Relationship Id="rId19" Type="http://schemas.openxmlformats.org/officeDocument/2006/relationships/image" Target="../media/image28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Relationship Id="rId14" Type="http://schemas.openxmlformats.org/officeDocument/2006/relationships/image" Target="../media/image23.png"/></Relationships>
</file>

<file path=ppt/drawings/_rels/drawing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svg"/><Relationship Id="rId3" Type="http://schemas.openxmlformats.org/officeDocument/2006/relationships/image" Target="../media/image54.png"/><Relationship Id="rId7" Type="http://schemas.openxmlformats.org/officeDocument/2006/relationships/image" Target="../media/image56.png"/><Relationship Id="rId2" Type="http://schemas.openxmlformats.org/officeDocument/2006/relationships/image" Target="../media/image59.svg"/><Relationship Id="rId1" Type="http://schemas.openxmlformats.org/officeDocument/2006/relationships/image" Target="../media/image53.png"/><Relationship Id="rId6" Type="http://schemas.openxmlformats.org/officeDocument/2006/relationships/image" Target="../media/image63.svg"/><Relationship Id="rId5" Type="http://schemas.openxmlformats.org/officeDocument/2006/relationships/image" Target="../media/image55.png"/><Relationship Id="rId10" Type="http://schemas.openxmlformats.org/officeDocument/2006/relationships/image" Target="../media/image67.svg"/><Relationship Id="rId4" Type="http://schemas.openxmlformats.org/officeDocument/2006/relationships/image" Target="../media/image61.svg"/><Relationship Id="rId9" Type="http://schemas.openxmlformats.org/officeDocument/2006/relationships/image" Target="../media/image57.png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0554</cdr:x>
      <cdr:y>0.25084</cdr:y>
    </cdr:from>
    <cdr:to>
      <cdr:x>1</cdr:x>
      <cdr:y>0.27713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803C5CF3-A54B-4086-B608-8CBFA1DC9FF1}"/>
            </a:ext>
          </a:extLst>
        </cdr:cNvPr>
        <cdr:cNvSpPr txBox="1"/>
      </cdr:nvSpPr>
      <cdr:spPr>
        <a:xfrm xmlns:a="http://schemas.openxmlformats.org/drawingml/2006/main">
          <a:off x="4550107" y="1450658"/>
          <a:ext cx="1098395" cy="15203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KZ" sz="1100" dirty="0"/>
        </a:p>
      </cdr:txBody>
    </cdr:sp>
  </cdr:relSizeAnchor>
  <cdr:relSizeAnchor xmlns:cdr="http://schemas.openxmlformats.org/drawingml/2006/chartDrawing">
    <cdr:from>
      <cdr:x>0.71703</cdr:x>
      <cdr:y>0.0871</cdr:y>
    </cdr:from>
    <cdr:to>
      <cdr:x>0.90084</cdr:x>
      <cdr:y>0.12168</cdr:y>
    </cdr:to>
    <cdr:pic>
      <cdr:nvPicPr>
        <cdr:cNvPr id="6" name="chart">
          <a:extLst xmlns:a="http://schemas.openxmlformats.org/drawingml/2006/main">
            <a:ext uri="{FF2B5EF4-FFF2-40B4-BE49-F238E27FC236}">
              <a16:creationId xmlns:a16="http://schemas.microsoft.com/office/drawing/2014/main" id="{B64675B8-BEA1-4289-9C8F-DE1DA3831399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3826471" y="503717"/>
          <a:ext cx="980952" cy="200000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66573</cdr:x>
      <cdr:y>0.12825</cdr:y>
    </cdr:from>
    <cdr:to>
      <cdr:x>0.84955</cdr:x>
      <cdr:y>0.16283</cdr:y>
    </cdr:to>
    <cdr:pic>
      <cdr:nvPicPr>
        <cdr:cNvPr id="7" name="chart">
          <a:extLst xmlns:a="http://schemas.openxmlformats.org/drawingml/2006/main">
            <a:ext uri="{FF2B5EF4-FFF2-40B4-BE49-F238E27FC236}">
              <a16:creationId xmlns:a16="http://schemas.microsoft.com/office/drawing/2014/main" id="{CB2894E0-311C-45D8-A1AA-21EDCF6B27D3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2"/>
        <a:stretch xmlns:a="http://schemas.openxmlformats.org/drawingml/2006/main">
          <a:fillRect/>
        </a:stretch>
      </cdr:blipFill>
      <cdr:spPr>
        <a:xfrm xmlns:a="http://schemas.openxmlformats.org/drawingml/2006/main">
          <a:off x="3552735" y="741693"/>
          <a:ext cx="980952" cy="200000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58104</cdr:x>
      <cdr:y>0.17547</cdr:y>
    </cdr:from>
    <cdr:to>
      <cdr:x>0.76486</cdr:x>
      <cdr:y>0.21005</cdr:y>
    </cdr:to>
    <cdr:pic>
      <cdr:nvPicPr>
        <cdr:cNvPr id="8" name="chart">
          <a:extLst xmlns:a="http://schemas.openxmlformats.org/drawingml/2006/main">
            <a:ext uri="{FF2B5EF4-FFF2-40B4-BE49-F238E27FC236}">
              <a16:creationId xmlns:a16="http://schemas.microsoft.com/office/drawing/2014/main" id="{FECE9F9B-9C88-4F18-A758-C1B5B8DBDB88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3"/>
        <a:stretch xmlns:a="http://schemas.openxmlformats.org/drawingml/2006/main">
          <a:fillRect/>
        </a:stretch>
      </cdr:blipFill>
      <cdr:spPr>
        <a:xfrm xmlns:a="http://schemas.openxmlformats.org/drawingml/2006/main">
          <a:off x="3100755" y="1014762"/>
          <a:ext cx="980952" cy="200000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57431</cdr:x>
      <cdr:y>0.21596</cdr:y>
    </cdr:from>
    <cdr:to>
      <cdr:x>0.75813</cdr:x>
      <cdr:y>0.25054</cdr:y>
    </cdr:to>
    <cdr:pic>
      <cdr:nvPicPr>
        <cdr:cNvPr id="9" name="chart">
          <a:extLst xmlns:a="http://schemas.openxmlformats.org/drawingml/2006/main">
            <a:ext uri="{FF2B5EF4-FFF2-40B4-BE49-F238E27FC236}">
              <a16:creationId xmlns:a16="http://schemas.microsoft.com/office/drawing/2014/main" id="{04906580-6EF6-47D5-A902-9189C2ACA262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4"/>
        <a:stretch xmlns:a="http://schemas.openxmlformats.org/drawingml/2006/main">
          <a:fillRect/>
        </a:stretch>
      </cdr:blipFill>
      <cdr:spPr>
        <a:xfrm xmlns:a="http://schemas.openxmlformats.org/drawingml/2006/main">
          <a:off x="3064852" y="1248937"/>
          <a:ext cx="980952" cy="200000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5</cdr:x>
      <cdr:y>0.26318</cdr:y>
    </cdr:from>
    <cdr:to>
      <cdr:x>0.68382</cdr:x>
      <cdr:y>0.29777</cdr:y>
    </cdr:to>
    <cdr:pic>
      <cdr:nvPicPr>
        <cdr:cNvPr id="10" name="chart">
          <a:extLst xmlns:a="http://schemas.openxmlformats.org/drawingml/2006/main">
            <a:ext uri="{FF2B5EF4-FFF2-40B4-BE49-F238E27FC236}">
              <a16:creationId xmlns:a16="http://schemas.microsoft.com/office/drawing/2014/main" id="{0D9AB892-CDA0-49E4-9D0F-50275A0D6D89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5"/>
        <a:stretch xmlns:a="http://schemas.openxmlformats.org/drawingml/2006/main">
          <a:fillRect/>
        </a:stretch>
      </cdr:blipFill>
      <cdr:spPr>
        <a:xfrm xmlns:a="http://schemas.openxmlformats.org/drawingml/2006/main">
          <a:off x="2668287" y="1522059"/>
          <a:ext cx="980952" cy="200000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5</cdr:x>
      <cdr:y>0.30465</cdr:y>
    </cdr:from>
    <cdr:to>
      <cdr:x>0.68382</cdr:x>
      <cdr:y>0.33924</cdr:y>
    </cdr:to>
    <cdr:pic>
      <cdr:nvPicPr>
        <cdr:cNvPr id="11" name="chart">
          <a:extLst xmlns:a="http://schemas.openxmlformats.org/drawingml/2006/main">
            <a:ext uri="{FF2B5EF4-FFF2-40B4-BE49-F238E27FC236}">
              <a16:creationId xmlns:a16="http://schemas.microsoft.com/office/drawing/2014/main" id="{58F3ADFF-7D5C-43AD-897F-2D06198D6524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6"/>
        <a:stretch xmlns:a="http://schemas.openxmlformats.org/drawingml/2006/main">
          <a:fillRect/>
        </a:stretch>
      </cdr:blipFill>
      <cdr:spPr>
        <a:xfrm xmlns:a="http://schemas.openxmlformats.org/drawingml/2006/main">
          <a:off x="2668287" y="1761893"/>
          <a:ext cx="980952" cy="200000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48787</cdr:x>
      <cdr:y>0.35468</cdr:y>
    </cdr:from>
    <cdr:to>
      <cdr:x>0.67169</cdr:x>
      <cdr:y>0.38926</cdr:y>
    </cdr:to>
    <cdr:pic>
      <cdr:nvPicPr>
        <cdr:cNvPr id="12" name="chart">
          <a:extLst xmlns:a="http://schemas.openxmlformats.org/drawingml/2006/main">
            <a:ext uri="{FF2B5EF4-FFF2-40B4-BE49-F238E27FC236}">
              <a16:creationId xmlns:a16="http://schemas.microsoft.com/office/drawing/2014/main" id="{40E96662-4C93-4AD8-8BDF-DF8628EAD170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7"/>
        <a:stretch xmlns:a="http://schemas.openxmlformats.org/drawingml/2006/main">
          <a:fillRect/>
        </a:stretch>
      </cdr:blipFill>
      <cdr:spPr>
        <a:xfrm xmlns:a="http://schemas.openxmlformats.org/drawingml/2006/main">
          <a:off x="2603550" y="2051191"/>
          <a:ext cx="980952" cy="200000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48913</cdr:x>
      <cdr:y>0.39946</cdr:y>
    </cdr:from>
    <cdr:to>
      <cdr:x>0.67295</cdr:x>
      <cdr:y>0.43404</cdr:y>
    </cdr:to>
    <cdr:pic>
      <cdr:nvPicPr>
        <cdr:cNvPr id="13" name="chart">
          <a:extLst xmlns:a="http://schemas.openxmlformats.org/drawingml/2006/main">
            <a:ext uri="{FF2B5EF4-FFF2-40B4-BE49-F238E27FC236}">
              <a16:creationId xmlns:a16="http://schemas.microsoft.com/office/drawing/2014/main" id="{F1C71966-BA82-4F2E-8429-924B133120E6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8"/>
        <a:stretch xmlns:a="http://schemas.openxmlformats.org/drawingml/2006/main">
          <a:fillRect/>
        </a:stretch>
      </cdr:blipFill>
      <cdr:spPr>
        <a:xfrm xmlns:a="http://schemas.openxmlformats.org/drawingml/2006/main">
          <a:off x="2610279" y="2310164"/>
          <a:ext cx="980952" cy="200000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4824</cdr:x>
      <cdr:y>0.44155</cdr:y>
    </cdr:from>
    <cdr:to>
      <cdr:x>0.66622</cdr:x>
      <cdr:y>0.47614</cdr:y>
    </cdr:to>
    <cdr:pic>
      <cdr:nvPicPr>
        <cdr:cNvPr id="14" name="chart">
          <a:extLst xmlns:a="http://schemas.openxmlformats.org/drawingml/2006/main">
            <a:ext uri="{FF2B5EF4-FFF2-40B4-BE49-F238E27FC236}">
              <a16:creationId xmlns:a16="http://schemas.microsoft.com/office/drawing/2014/main" id="{CFD681B4-1255-4667-8182-260C966AF08C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9"/>
        <a:stretch xmlns:a="http://schemas.openxmlformats.org/drawingml/2006/main">
          <a:fillRect/>
        </a:stretch>
      </cdr:blipFill>
      <cdr:spPr>
        <a:xfrm xmlns:a="http://schemas.openxmlformats.org/drawingml/2006/main">
          <a:off x="2574376" y="2553630"/>
          <a:ext cx="980952" cy="200000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4824</cdr:x>
      <cdr:y>0.48271</cdr:y>
    </cdr:from>
    <cdr:to>
      <cdr:x>0.66622</cdr:x>
      <cdr:y>0.51729</cdr:y>
    </cdr:to>
    <cdr:pic>
      <cdr:nvPicPr>
        <cdr:cNvPr id="15" name="chart">
          <a:extLst xmlns:a="http://schemas.openxmlformats.org/drawingml/2006/main">
            <a:ext uri="{FF2B5EF4-FFF2-40B4-BE49-F238E27FC236}">
              <a16:creationId xmlns:a16="http://schemas.microsoft.com/office/drawing/2014/main" id="{7FC29A8B-A5B1-4752-9A13-D976E693E3E4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0"/>
        <a:stretch xmlns:a="http://schemas.openxmlformats.org/drawingml/2006/main">
          <a:fillRect/>
        </a:stretch>
      </cdr:blipFill>
      <cdr:spPr>
        <a:xfrm xmlns:a="http://schemas.openxmlformats.org/drawingml/2006/main">
          <a:off x="2574376" y="2791634"/>
          <a:ext cx="980952" cy="200000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40809</cdr:x>
      <cdr:y>0.52254</cdr:y>
    </cdr:from>
    <cdr:to>
      <cdr:x>0.59191</cdr:x>
      <cdr:y>0.55712</cdr:y>
    </cdr:to>
    <cdr:pic>
      <cdr:nvPicPr>
        <cdr:cNvPr id="16" name="chart">
          <a:extLst xmlns:a="http://schemas.openxmlformats.org/drawingml/2006/main">
            <a:ext uri="{FF2B5EF4-FFF2-40B4-BE49-F238E27FC236}">
              <a16:creationId xmlns:a16="http://schemas.microsoft.com/office/drawing/2014/main" id="{D8A2E50D-CE02-41AF-9443-372E6CF90440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1"/>
        <a:stretch xmlns:a="http://schemas.openxmlformats.org/drawingml/2006/main">
          <a:fillRect/>
        </a:stretch>
      </cdr:blipFill>
      <cdr:spPr>
        <a:xfrm xmlns:a="http://schemas.openxmlformats.org/drawingml/2006/main">
          <a:off x="2177811" y="3021981"/>
          <a:ext cx="980952" cy="200000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3747</cdr:x>
      <cdr:y>0.56204</cdr:y>
    </cdr:from>
    <cdr:to>
      <cdr:x>0.55852</cdr:x>
      <cdr:y>0.59663</cdr:y>
    </cdr:to>
    <cdr:pic>
      <cdr:nvPicPr>
        <cdr:cNvPr id="17" name="chart">
          <a:extLst xmlns:a="http://schemas.openxmlformats.org/drawingml/2006/main">
            <a:ext uri="{FF2B5EF4-FFF2-40B4-BE49-F238E27FC236}">
              <a16:creationId xmlns:a16="http://schemas.microsoft.com/office/drawing/2014/main" id="{C7D79715-9A55-4D66-B271-ECB486664817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2"/>
        <a:stretch xmlns:a="http://schemas.openxmlformats.org/drawingml/2006/main">
          <a:fillRect/>
        </a:stretch>
      </cdr:blipFill>
      <cdr:spPr>
        <a:xfrm xmlns:a="http://schemas.openxmlformats.org/drawingml/2006/main">
          <a:off x="1999641" y="3250447"/>
          <a:ext cx="980952" cy="200000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3747</cdr:x>
      <cdr:y>0.61123</cdr:y>
    </cdr:from>
    <cdr:to>
      <cdr:x>0.55852</cdr:x>
      <cdr:y>0.64582</cdr:y>
    </cdr:to>
    <cdr:pic>
      <cdr:nvPicPr>
        <cdr:cNvPr id="18" name="chart">
          <a:extLst xmlns:a="http://schemas.openxmlformats.org/drawingml/2006/main">
            <a:ext uri="{FF2B5EF4-FFF2-40B4-BE49-F238E27FC236}">
              <a16:creationId xmlns:a16="http://schemas.microsoft.com/office/drawing/2014/main" id="{AF9D9F7D-8C82-4F4E-9D4E-28AFDA881A84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3"/>
        <a:stretch xmlns:a="http://schemas.openxmlformats.org/drawingml/2006/main">
          <a:fillRect/>
        </a:stretch>
      </cdr:blipFill>
      <cdr:spPr>
        <a:xfrm xmlns:a="http://schemas.openxmlformats.org/drawingml/2006/main">
          <a:off x="1999641" y="3534936"/>
          <a:ext cx="980952" cy="200000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35941</cdr:x>
      <cdr:y>0.65944</cdr:y>
    </cdr:from>
    <cdr:to>
      <cdr:x>0.54323</cdr:x>
      <cdr:y>0.69402</cdr:y>
    </cdr:to>
    <cdr:pic>
      <cdr:nvPicPr>
        <cdr:cNvPr id="19" name="chart">
          <a:extLst xmlns:a="http://schemas.openxmlformats.org/drawingml/2006/main">
            <a:ext uri="{FF2B5EF4-FFF2-40B4-BE49-F238E27FC236}">
              <a16:creationId xmlns:a16="http://schemas.microsoft.com/office/drawing/2014/main" id="{2A5F5089-4B13-4313-9E0C-00A6D3BBF670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4"/>
        <a:stretch xmlns:a="http://schemas.openxmlformats.org/drawingml/2006/main">
          <a:fillRect/>
        </a:stretch>
      </cdr:blipFill>
      <cdr:spPr>
        <a:xfrm xmlns:a="http://schemas.openxmlformats.org/drawingml/2006/main">
          <a:off x="1918009" y="3813717"/>
          <a:ext cx="980952" cy="200000"/>
        </a:xfrm>
        <a:prstGeom xmlns:a="http://schemas.openxmlformats.org/drawingml/2006/main" prst="rect">
          <a:avLst/>
        </a:prstGeom>
        <a:ln xmlns:a="http://schemas.openxmlformats.org/drawingml/2006/main">
          <a:noFill/>
        </a:ln>
      </cdr:spPr>
    </cdr:pic>
  </cdr:relSizeAnchor>
  <cdr:relSizeAnchor xmlns:cdr="http://schemas.openxmlformats.org/drawingml/2006/chartDrawing">
    <cdr:from>
      <cdr:x>0.35105</cdr:x>
      <cdr:y>0.70379</cdr:y>
    </cdr:from>
    <cdr:to>
      <cdr:x>0.53487</cdr:x>
      <cdr:y>0.73837</cdr:y>
    </cdr:to>
    <cdr:pic>
      <cdr:nvPicPr>
        <cdr:cNvPr id="20" name="chart">
          <a:extLst xmlns:a="http://schemas.openxmlformats.org/drawingml/2006/main">
            <a:ext uri="{FF2B5EF4-FFF2-40B4-BE49-F238E27FC236}">
              <a16:creationId xmlns:a16="http://schemas.microsoft.com/office/drawing/2014/main" id="{131F42D5-7B17-4FB9-8D4F-B15BA7164B0B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5"/>
        <a:stretch xmlns:a="http://schemas.openxmlformats.org/drawingml/2006/main">
          <a:fillRect/>
        </a:stretch>
      </cdr:blipFill>
      <cdr:spPr>
        <a:xfrm xmlns:a="http://schemas.openxmlformats.org/drawingml/2006/main">
          <a:off x="1873404" y="4070195"/>
          <a:ext cx="980952" cy="200000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3406</cdr:x>
      <cdr:y>0.74428</cdr:y>
    </cdr:from>
    <cdr:to>
      <cdr:x>0.52442</cdr:x>
      <cdr:y>0.77886</cdr:y>
    </cdr:to>
    <cdr:pic>
      <cdr:nvPicPr>
        <cdr:cNvPr id="21" name="chart">
          <a:extLst xmlns:a="http://schemas.openxmlformats.org/drawingml/2006/main">
            <a:ext uri="{FF2B5EF4-FFF2-40B4-BE49-F238E27FC236}">
              <a16:creationId xmlns:a16="http://schemas.microsoft.com/office/drawing/2014/main" id="{A685C60B-22B6-414F-862D-FB4E30784A29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6"/>
        <a:stretch xmlns:a="http://schemas.openxmlformats.org/drawingml/2006/main">
          <a:fillRect/>
        </a:stretch>
      </cdr:blipFill>
      <cdr:spPr>
        <a:xfrm xmlns:a="http://schemas.openxmlformats.org/drawingml/2006/main">
          <a:off x="1817649" y="4304370"/>
          <a:ext cx="980952" cy="200000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34269</cdr:x>
      <cdr:y>0.7867</cdr:y>
    </cdr:from>
    <cdr:to>
      <cdr:x>0.52651</cdr:x>
      <cdr:y>0.82128</cdr:y>
    </cdr:to>
    <cdr:pic>
      <cdr:nvPicPr>
        <cdr:cNvPr id="22" name="chart">
          <a:extLst xmlns:a="http://schemas.openxmlformats.org/drawingml/2006/main">
            <a:ext uri="{FF2B5EF4-FFF2-40B4-BE49-F238E27FC236}">
              <a16:creationId xmlns:a16="http://schemas.microsoft.com/office/drawing/2014/main" id="{19E10553-894A-43F2-90F7-30636027C6CA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7"/>
        <a:stretch xmlns:a="http://schemas.openxmlformats.org/drawingml/2006/main">
          <a:fillRect/>
        </a:stretch>
      </cdr:blipFill>
      <cdr:spPr>
        <a:xfrm xmlns:a="http://schemas.openxmlformats.org/drawingml/2006/main">
          <a:off x="1828800" y="4549698"/>
          <a:ext cx="980952" cy="200000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26956</cdr:x>
      <cdr:y>0.83298</cdr:y>
    </cdr:from>
    <cdr:to>
      <cdr:x>0.45337</cdr:x>
      <cdr:y>0.86756</cdr:y>
    </cdr:to>
    <cdr:pic>
      <cdr:nvPicPr>
        <cdr:cNvPr id="23" name="chart">
          <a:extLst xmlns:a="http://schemas.openxmlformats.org/drawingml/2006/main">
            <a:ext uri="{FF2B5EF4-FFF2-40B4-BE49-F238E27FC236}">
              <a16:creationId xmlns:a16="http://schemas.microsoft.com/office/drawing/2014/main" id="{6CF62298-02A3-4D31-B75E-E675805B7F52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8"/>
        <a:stretch xmlns:a="http://schemas.openxmlformats.org/drawingml/2006/main">
          <a:fillRect/>
        </a:stretch>
      </cdr:blipFill>
      <cdr:spPr>
        <a:xfrm xmlns:a="http://schemas.openxmlformats.org/drawingml/2006/main">
          <a:off x="1438507" y="4817326"/>
          <a:ext cx="980952" cy="200000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25911</cdr:x>
      <cdr:y>0.88145</cdr:y>
    </cdr:from>
    <cdr:to>
      <cdr:x>0.44293</cdr:x>
      <cdr:y>0.91603</cdr:y>
    </cdr:to>
    <cdr:pic>
      <cdr:nvPicPr>
        <cdr:cNvPr id="24" name="chart">
          <a:extLst xmlns:a="http://schemas.openxmlformats.org/drawingml/2006/main">
            <a:ext uri="{FF2B5EF4-FFF2-40B4-BE49-F238E27FC236}">
              <a16:creationId xmlns:a16="http://schemas.microsoft.com/office/drawing/2014/main" id="{2B0D1C9D-39F8-4FD2-BF2E-9B92E3841B51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9"/>
        <a:stretch xmlns:a="http://schemas.openxmlformats.org/drawingml/2006/main">
          <a:fillRect/>
        </a:stretch>
      </cdr:blipFill>
      <cdr:spPr>
        <a:xfrm xmlns:a="http://schemas.openxmlformats.org/drawingml/2006/main">
          <a:off x="1382751" y="5097657"/>
          <a:ext cx="980952" cy="200000"/>
        </a:xfrm>
        <a:prstGeom xmlns:a="http://schemas.openxmlformats.org/drawingml/2006/main" prst="rect">
          <a:avLst/>
        </a:prstGeom>
      </cdr:spPr>
    </cdr:pic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7493</cdr:x>
      <cdr:y>0.01893</cdr:y>
    </cdr:from>
    <cdr:to>
      <cdr:x>1</cdr:x>
      <cdr:y>0.15116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1039713" y="72394"/>
          <a:ext cx="4903888" cy="50568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200" b="1">
              <a:solidFill>
                <a:sysClr val="windowText" lastClr="000000"/>
              </a:solidFill>
              <a:latin typeface="Times New Roman" pitchFamily="18" charset="0"/>
              <a:cs typeface="Times New Roman" pitchFamily="18" charset="0"/>
            </a:rPr>
            <a:t> 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90702</cdr:x>
      <cdr:y>0.73555</cdr:y>
    </cdr:from>
    <cdr:to>
      <cdr:x>1</cdr:x>
      <cdr:y>0.97171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9405937" y="2847977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95534</cdr:x>
      <cdr:y>0.79323</cdr:y>
    </cdr:from>
    <cdr:to>
      <cdr:x>0.9856</cdr:x>
      <cdr:y>0.8824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8408023" y="3834429"/>
          <a:ext cx="266321" cy="43104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400" b="1" i="1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%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46185</cdr:x>
      <cdr:y>0.6632</cdr:y>
    </cdr:from>
    <cdr:to>
      <cdr:x>0.55213</cdr:x>
      <cdr:y>0.88039</cdr:y>
    </cdr:to>
    <cdr:sp macro="" textlink="">
      <cdr:nvSpPr>
        <cdr:cNvPr id="2" name="TextBox 4">
          <a:extLst xmlns:a="http://schemas.openxmlformats.org/drawingml/2006/main">
            <a:ext uri="{FF2B5EF4-FFF2-40B4-BE49-F238E27FC236}">
              <a16:creationId xmlns:a16="http://schemas.microsoft.com/office/drawing/2014/main" id="{9D5EC855-A623-4923-A658-C6FCCAC456FB}"/>
            </a:ext>
          </a:extLst>
        </cdr:cNvPr>
        <cdr:cNvSpPr txBox="1"/>
      </cdr:nvSpPr>
      <cdr:spPr>
        <a:xfrm xmlns:a="http://schemas.openxmlformats.org/drawingml/2006/main">
          <a:off x="1383632" y="845807"/>
          <a:ext cx="270465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kk-KZ" sz="1200" dirty="0"/>
            <a:t>3</a:t>
          </a:r>
          <a:endParaRPr lang="ru-RU" sz="1200" dirty="0"/>
        </a:p>
      </cdr:txBody>
    </cdr:sp>
  </cdr:relSizeAnchor>
  <cdr:relSizeAnchor xmlns:cdr="http://schemas.openxmlformats.org/drawingml/2006/chartDrawing">
    <cdr:from>
      <cdr:x>0.79216</cdr:x>
      <cdr:y>0.65657</cdr:y>
    </cdr:from>
    <cdr:to>
      <cdr:x>1</cdr:x>
      <cdr:y>1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3255921" y="1334111"/>
          <a:ext cx="854242" cy="69783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kk-KZ" sz="1100" dirty="0"/>
            <a:t>4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14976</cdr:x>
      <cdr:y>0.56046</cdr:y>
    </cdr:from>
    <cdr:to>
      <cdr:x>0.2545</cdr:x>
      <cdr:y>1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584910" y="963502"/>
          <a:ext cx="409073" cy="7556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kk-KZ" sz="1100" dirty="0"/>
            <a:t>6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1004</cdr:x>
      <cdr:y>0.28155</cdr:y>
    </cdr:from>
    <cdr:to>
      <cdr:x>0.3253</cdr:x>
      <cdr:y>0.37547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300789" y="359074"/>
          <a:ext cx="673769" cy="11978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0442</cdr:x>
      <cdr:y>0.26299</cdr:y>
    </cdr:from>
    <cdr:to>
      <cdr:x>0.39357</cdr:x>
      <cdr:y>0.46227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312821" y="335409"/>
          <a:ext cx="866274" cy="25414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kk-KZ" sz="900" dirty="0">
              <a:latin typeface="Arial" panose="020B0604020202020204" pitchFamily="34" charset="0"/>
              <a:cs typeface="Arial" panose="020B0604020202020204" pitchFamily="34" charset="0"/>
            </a:rPr>
            <a:t>46,15</a:t>
          </a:r>
          <a:r>
            <a:rPr lang="ru-RU" sz="900" dirty="0">
              <a:latin typeface="Arial" panose="020B0604020202020204" pitchFamily="34" charset="0"/>
              <a:cs typeface="Arial" panose="020B0604020202020204" pitchFamily="34" charset="0"/>
            </a:rPr>
            <a:t>%</a:t>
          </a:r>
        </a:p>
      </cdr:txBody>
    </cdr:sp>
  </cdr:relSizeAnchor>
  <cdr:relSizeAnchor xmlns:cdr="http://schemas.openxmlformats.org/drawingml/2006/chartDrawing">
    <cdr:from>
      <cdr:x>0.40964</cdr:x>
      <cdr:y>0.39507</cdr:y>
    </cdr:from>
    <cdr:to>
      <cdr:x>0.62249</cdr:x>
      <cdr:y>0.5571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27221" y="503851"/>
          <a:ext cx="637674" cy="20666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900" dirty="0">
              <a:latin typeface="Arial" panose="020B0604020202020204" pitchFamily="34" charset="0"/>
              <a:cs typeface="Arial" panose="020B0604020202020204" pitchFamily="34" charset="0"/>
            </a:rPr>
            <a:t>23,08%</a:t>
          </a:r>
        </a:p>
      </cdr:txBody>
    </cdr:sp>
  </cdr:relSizeAnchor>
  <cdr:relSizeAnchor xmlns:cdr="http://schemas.openxmlformats.org/drawingml/2006/chartDrawing">
    <cdr:from>
      <cdr:x>0.73092</cdr:x>
      <cdr:y>0.32737</cdr:y>
    </cdr:from>
    <cdr:to>
      <cdr:x>0.96385</cdr:x>
      <cdr:y>0.50186</cdr:y>
    </cdr:to>
    <cdr:sp macro="" textlink="">
      <cdr:nvSpPr>
        <cdr:cNvPr id="8" name="TextBox 7"/>
        <cdr:cNvSpPr txBox="1"/>
      </cdr:nvSpPr>
      <cdr:spPr>
        <a:xfrm xmlns:a="http://schemas.openxmlformats.org/drawingml/2006/main">
          <a:off x="2189747" y="417508"/>
          <a:ext cx="697831" cy="22253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900" dirty="0">
              <a:latin typeface="Arial" panose="020B0604020202020204" pitchFamily="34" charset="0"/>
              <a:cs typeface="Arial" panose="020B0604020202020204" pitchFamily="34" charset="0"/>
            </a:rPr>
            <a:t>30,77%</a:t>
          </a: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23572</cdr:x>
      <cdr:y>0.15362</cdr:y>
    </cdr:from>
    <cdr:to>
      <cdr:x>0.28317</cdr:x>
      <cdr:y>0.28433</cdr:y>
    </cdr:to>
    <cdr:pic>
      <cdr:nvPicPr>
        <cdr:cNvPr id="2" name="Graphic 723">
          <a:extLst xmlns:a="http://schemas.openxmlformats.org/drawingml/2006/main">
            <a:ext uri="{FF2B5EF4-FFF2-40B4-BE49-F238E27FC236}">
              <a16:creationId xmlns:a16="http://schemas.microsoft.com/office/drawing/2014/main" id="{4C2DEE12-908B-4D79-979B-613AA4605F0E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>
          <a:extLst>
            <a:ext uri="{96DAC541-7B7A-43D3-8B79-37D633B846F1}">
              <asvg:svgBlip xmlns:asvg="http://schemas.microsoft.com/office/drawing/2016/SVG/main" xmlns="" r:embed="rId2"/>
            </a:ext>
          </a:extLst>
        </a:blip>
        <a:stretch xmlns:a="http://schemas.openxmlformats.org/drawingml/2006/main">
          <a:fillRect/>
        </a:stretch>
      </cdr:blipFill>
      <cdr:spPr>
        <a:xfrm xmlns:a="http://schemas.openxmlformats.org/drawingml/2006/main" flipH="1">
          <a:off x="760584" y="174773"/>
          <a:ext cx="153090" cy="148716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29102</cdr:x>
      <cdr:y>0.29748</cdr:y>
    </cdr:from>
    <cdr:to>
      <cdr:x>0.34745</cdr:x>
      <cdr:y>0.52665</cdr:y>
    </cdr:to>
    <cdr:pic>
      <cdr:nvPicPr>
        <cdr:cNvPr id="3" name="Graphic 1205">
          <a:extLst xmlns:a="http://schemas.openxmlformats.org/drawingml/2006/main">
            <a:ext uri="{FF2B5EF4-FFF2-40B4-BE49-F238E27FC236}">
              <a16:creationId xmlns:a16="http://schemas.microsoft.com/office/drawing/2014/main" id="{37E3FDBB-8C64-43B3-8880-19E79BBD1B0A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3">
          <a:extLst>
            <a:ext uri="{96DAC541-7B7A-43D3-8B79-37D633B846F1}">
              <asvg:svgBlip xmlns:asvg="http://schemas.microsoft.com/office/drawing/2016/SVG/main" xmlns="" r:embed="rId4"/>
            </a:ext>
          </a:extLst>
        </a:blip>
        <a:stretch xmlns:a="http://schemas.openxmlformats.org/drawingml/2006/main">
          <a:fillRect/>
        </a:stretch>
      </cdr:blipFill>
      <cdr:spPr>
        <a:xfrm xmlns:a="http://schemas.openxmlformats.org/drawingml/2006/main">
          <a:off x="939014" y="338443"/>
          <a:ext cx="182096" cy="260739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30221</cdr:x>
      <cdr:y>0.52124</cdr:y>
    </cdr:from>
    <cdr:to>
      <cdr:x>0.35864</cdr:x>
      <cdr:y>0.77264</cdr:y>
    </cdr:to>
    <cdr:pic>
      <cdr:nvPicPr>
        <cdr:cNvPr id="4" name="Picture 20">
          <a:extLst xmlns:a="http://schemas.openxmlformats.org/drawingml/2006/main">
            <a:ext uri="{FF2B5EF4-FFF2-40B4-BE49-F238E27FC236}">
              <a16:creationId xmlns:a16="http://schemas.microsoft.com/office/drawing/2014/main" id="{B81D34EA-B39F-43C8-97DF-F5B34AF86ED0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5" cstate="print">
          <a:extLst>
            <a:ext uri="{28A0092B-C50C-407E-A947-70E740481C1C}">
              <a14:useLocalDpi xmlns:a14="http://schemas.microsoft.com/office/drawing/2010/main" val="0"/>
            </a:ext>
            <a:ext uri="{96DAC541-7B7A-43D3-8B79-37D633B846F1}">
              <asvg:svgBlip xmlns:asvg="http://schemas.microsoft.com/office/drawing/2016/SVG/main" xmlns="" r:embed="rId6"/>
            </a:ext>
          </a:extLst>
        </a:blip>
        <a:srcRect xmlns:a="http://schemas.openxmlformats.org/drawingml/2006/main"/>
        <a:stretch xmlns:a="http://schemas.openxmlformats.org/drawingml/2006/main">
          <a:fillRect/>
        </a:stretch>
      </cdr:blipFill>
      <cdr:spPr>
        <a:xfrm xmlns:a="http://schemas.openxmlformats.org/drawingml/2006/main">
          <a:off x="975108" y="593020"/>
          <a:ext cx="182097" cy="286022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18644</cdr:x>
      <cdr:y>0.67188</cdr:y>
    </cdr:from>
    <cdr:to>
      <cdr:x>0.26825</cdr:x>
      <cdr:y>0.81725</cdr:y>
    </cdr:to>
    <cdr:pic>
      <cdr:nvPicPr>
        <cdr:cNvPr id="5" name="Picture 23">
          <a:extLst xmlns:a="http://schemas.openxmlformats.org/drawingml/2006/main">
            <a:ext uri="{FF2B5EF4-FFF2-40B4-BE49-F238E27FC236}">
              <a16:creationId xmlns:a16="http://schemas.microsoft.com/office/drawing/2014/main" id="{FBBE4CB7-A934-43AB-9185-565A88033F60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7">
          <a:extLst>
            <a:ext uri="{28A0092B-C50C-407E-A947-70E740481C1C}">
              <a14:useLocalDpi xmlns:a14="http://schemas.microsoft.com/office/drawing/2010/main" val="0"/>
            </a:ext>
            <a:ext uri="{96DAC541-7B7A-43D3-8B79-37D633B846F1}">
              <asvg:svgBlip xmlns:asvg="http://schemas.microsoft.com/office/drawing/2016/SVG/main" xmlns="" r:embed="rId8"/>
            </a:ext>
          </a:extLst>
        </a:blip>
        <a:srcRect xmlns:a="http://schemas.openxmlformats.org/drawingml/2006/main"/>
        <a:stretch xmlns:a="http://schemas.openxmlformats.org/drawingml/2006/main">
          <a:fillRect/>
        </a:stretch>
      </cdr:blipFill>
      <cdr:spPr>
        <a:xfrm xmlns:a="http://schemas.openxmlformats.org/drawingml/2006/main">
          <a:off x="601580" y="843303"/>
          <a:ext cx="263968" cy="182456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5">
            <a:lumMod val="60000"/>
            <a:lumOff val="40000"/>
          </a:schemeClr>
        </a:solidFill>
      </cdr:spPr>
    </cdr:pic>
  </cdr:relSizeAnchor>
  <cdr:relSizeAnchor xmlns:cdr="http://schemas.openxmlformats.org/drawingml/2006/chartDrawing">
    <cdr:from>
      <cdr:x>0.09156</cdr:x>
      <cdr:y>0.40072</cdr:y>
    </cdr:from>
    <cdr:to>
      <cdr:x>0.15404</cdr:x>
      <cdr:y>0.6377</cdr:y>
    </cdr:to>
    <cdr:pic>
      <cdr:nvPicPr>
        <cdr:cNvPr id="6" name="Picture 21">
          <a:extLst xmlns:a="http://schemas.openxmlformats.org/drawingml/2006/main">
            <a:ext uri="{FF2B5EF4-FFF2-40B4-BE49-F238E27FC236}">
              <a16:creationId xmlns:a16="http://schemas.microsoft.com/office/drawing/2014/main" id="{31A097EB-EE08-40A9-B9F1-5ED21D612E86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9" cstate="print">
          <a:extLst>
            <a:ext uri="{28A0092B-C50C-407E-A947-70E740481C1C}">
              <a14:useLocalDpi xmlns:a14="http://schemas.microsoft.com/office/drawing/2010/main" val="0"/>
            </a:ext>
            <a:ext uri="{96DAC541-7B7A-43D3-8B79-37D633B846F1}">
              <asvg:svgBlip xmlns:asvg="http://schemas.microsoft.com/office/drawing/2016/SVG/main" xmlns="" r:embed="rId10"/>
            </a:ext>
          </a:extLst>
        </a:blip>
        <a:srcRect xmlns:a="http://schemas.openxmlformats.org/drawingml/2006/main"/>
        <a:stretch xmlns:a="http://schemas.openxmlformats.org/drawingml/2006/main">
          <a:fillRect/>
        </a:stretch>
      </cdr:blipFill>
      <cdr:spPr>
        <a:xfrm xmlns:a="http://schemas.openxmlformats.org/drawingml/2006/main">
          <a:off x="295428" y="502955"/>
          <a:ext cx="201588" cy="297438"/>
        </a:xfrm>
        <a:prstGeom xmlns:a="http://schemas.openxmlformats.org/drawingml/2006/main" prst="rect">
          <a:avLst/>
        </a:prstGeom>
      </cdr:spPr>
    </cdr:pic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19EA1F-7E76-4269-B8D5-8092E3E4C7F0}" type="datetimeFigureOut">
              <a:rPr lang="en-US" smtClean="0"/>
              <a:pPr/>
              <a:t>12/2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85975" y="1235075"/>
            <a:ext cx="2497138" cy="3330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6909" y="4751219"/>
            <a:ext cx="5335270" cy="38873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8"/>
            <a:ext cx="2889938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7607" y="9377318"/>
            <a:ext cx="2889938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3942DF2-8739-4E5F-B9DD-32E48D476D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01782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942DF2-8739-4E5F-B9DD-32E48D476DB4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3786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942DF2-8739-4E5F-B9DD-32E48D476DB4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70811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KZ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953049-905A-4C24-9DD3-886F533D0550}" type="slidenum">
              <a:rPr lang="ru-KZ" smtClean="0"/>
              <a:t>31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36660769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947863" y="1339850"/>
            <a:ext cx="2714625" cy="36195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KZ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953049-905A-4C24-9DD3-886F533D0550}" type="slidenum">
              <a:rPr kumimoji="0" lang="ru-K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ru-K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544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1496484"/>
            <a:ext cx="5829300" cy="3183467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0" y="4802717"/>
            <a:ext cx="5143500" cy="2207683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95008B-2FD5-45B6-B3D2-F2E56E4D46AA}" type="datetime1">
              <a:rPr lang="en-US" smtClean="0"/>
              <a:t>12/2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44608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DBF211-B49F-4E45-B736-F4B4AF2C973C}" type="datetime1">
              <a:rPr lang="en-US" smtClean="0"/>
              <a:t>12/2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19715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486834"/>
            <a:ext cx="1478756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486834"/>
            <a:ext cx="4350544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191D47-3D45-4A8B-B875-DC8250257EF6}" type="datetime1">
              <a:rPr lang="en-US" smtClean="0"/>
              <a:t>12/2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17554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2C4C28-9BAE-4E49-A883-FD4E2309BCA5}" type="datetime1">
              <a:rPr lang="en-US" smtClean="0"/>
              <a:t>12/2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19434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2279653"/>
            <a:ext cx="5915025" cy="3803649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16" y="6119286"/>
            <a:ext cx="5915025" cy="2000249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3ECED8-B68F-4A76-94DF-5659967D8605}" type="datetime1">
              <a:rPr lang="en-US" smtClean="0"/>
              <a:t>12/2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15077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2434167"/>
            <a:ext cx="291465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1863" y="2434167"/>
            <a:ext cx="291465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B90CB-B61A-4C0F-A477-AA5A1812719D}" type="datetime1">
              <a:rPr lang="en-US" smtClean="0"/>
              <a:t>12/2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23090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486836"/>
            <a:ext cx="5915025" cy="1767417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381" y="2241551"/>
            <a:ext cx="2901255" cy="1098549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381" y="3340100"/>
            <a:ext cx="2901255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71863" y="2241551"/>
            <a:ext cx="2915543" cy="1098549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63" y="3340100"/>
            <a:ext cx="2915543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1EB4F8-2864-45B8-8E75-A302E23A69B6}" type="datetime1">
              <a:rPr lang="en-US" smtClean="0"/>
              <a:t>12/24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7719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C335B8-9B79-4DCD-8636-02FBAB7FCE3D}" type="datetime1">
              <a:rPr lang="en-US" smtClean="0"/>
              <a:t>12/24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8121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B2D7E4-1B2F-48A9-AD58-255B7BA496A3}" type="datetime1">
              <a:rPr lang="en-US" smtClean="0"/>
              <a:t>12/24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36240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09600"/>
            <a:ext cx="2211884" cy="21336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543" y="1316569"/>
            <a:ext cx="3471863" cy="649816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743200"/>
            <a:ext cx="2211884" cy="508211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F6C946-6A7C-4690-AAC1-0FD27A750839}" type="datetime1">
              <a:rPr lang="en-US" smtClean="0"/>
              <a:t>12/2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94333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09600"/>
            <a:ext cx="2211884" cy="21336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915543" y="1316569"/>
            <a:ext cx="3471863" cy="6498167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743200"/>
            <a:ext cx="2211884" cy="508211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28653-55F0-4529-89F0-87A451DB9D96}" type="datetime1">
              <a:rPr lang="en-US" smtClean="0"/>
              <a:t>12/2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60571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vmlDrawing" Target="../drawings/vmlDrawing1.vml"/><Relationship Id="rId1" Type="http://schemas.openxmlformats.org/officeDocument/2006/relationships/theme" Target="../theme/theme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5DFA386-3A85-4A7C-8365-1AEE5BADB4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2826"/>
          <a:ext cx="1191" cy="28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7" name="Слайд think-cell" r:id="rId4" imgW="395" imgH="394" progId="TCLayout.ActiveDocument.1">
                  <p:embed/>
                </p:oleObj>
              </mc:Choice>
              <mc:Fallback>
                <p:oleObj name="Слайд think-cell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5DFA386-3A85-4A7C-8365-1AEE5BADB4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2826"/>
                        <a:ext cx="1191" cy="28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9908866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1625519" rtl="0" eaLnBrk="1" latinLnBrk="0" hangingPunct="1">
        <a:lnSpc>
          <a:spcPct val="90000"/>
        </a:lnSpc>
        <a:spcBef>
          <a:spcPct val="0"/>
        </a:spcBef>
        <a:buNone/>
        <a:defRPr sz="782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06379" indent="-406379" algn="l" defTabSz="1625519" rtl="0" eaLnBrk="1" latinLnBrk="0" hangingPunct="1">
        <a:lnSpc>
          <a:spcPct val="90000"/>
        </a:lnSpc>
        <a:spcBef>
          <a:spcPts val="1777"/>
        </a:spcBef>
        <a:buFont typeface="Arial" panose="020B0604020202020204" pitchFamily="34" charset="0"/>
        <a:buChar char="•"/>
        <a:defRPr sz="4977" kern="1200">
          <a:solidFill>
            <a:schemeClr val="tx1"/>
          </a:solidFill>
          <a:latin typeface="+mn-lt"/>
          <a:ea typeface="+mn-ea"/>
          <a:cs typeface="+mn-cs"/>
        </a:defRPr>
      </a:lvl1pPr>
      <a:lvl2pPr marL="1219139" indent="-406379" algn="l" defTabSz="1625519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2pPr>
      <a:lvl3pPr marL="2031899" indent="-406379" algn="l" defTabSz="1625519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556" kern="1200">
          <a:solidFill>
            <a:schemeClr val="tx1"/>
          </a:solidFill>
          <a:latin typeface="+mn-lt"/>
          <a:ea typeface="+mn-ea"/>
          <a:cs typeface="+mn-cs"/>
        </a:defRPr>
      </a:lvl3pPr>
      <a:lvl4pPr marL="2844658" indent="-406379" algn="l" defTabSz="1625519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indent="-406379" algn="l" defTabSz="1625519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4470176" indent="-406379" algn="l" defTabSz="1625519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5282936" indent="-406379" algn="l" defTabSz="1625519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6095696" indent="-406379" algn="l" defTabSz="1625519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908454" indent="-406379" algn="l" defTabSz="1625519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625519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812760" algn="l" defTabSz="1625519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625519" algn="l" defTabSz="1625519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438278" algn="l" defTabSz="1625519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3251037" algn="l" defTabSz="1625519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4063797" algn="l" defTabSz="1625519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4876557" algn="l" defTabSz="1625519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5689315" algn="l" defTabSz="1625519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502075" algn="l" defTabSz="1625519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88" y="486836"/>
            <a:ext cx="5915025" cy="17674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88" y="2434167"/>
            <a:ext cx="5915025" cy="58017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8475136"/>
            <a:ext cx="154305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3305B9-BC53-4AC4-B388-D97BC395592E}" type="datetime1">
              <a:rPr lang="en-US" smtClean="0"/>
              <a:t>12/24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3" y="8475136"/>
            <a:ext cx="2314575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3463" y="8475136"/>
            <a:ext cx="154305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475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.xml"/><Relationship Id="rId2" Type="http://schemas.openxmlformats.org/officeDocument/2006/relationships/chart" Target="../charts/chart21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.xml"/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.xml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.xml"/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chart" Target="../charts/chart31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.xml"/><Relationship Id="rId2" Type="http://schemas.openxmlformats.org/officeDocument/2006/relationships/chart" Target="../charts/chart32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.xml"/><Relationship Id="rId2" Type="http://schemas.openxmlformats.org/officeDocument/2006/relationships/chart" Target="../charts/chart34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6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7.xml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8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6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0.xml"/><Relationship Id="rId13" Type="http://schemas.openxmlformats.org/officeDocument/2006/relationships/image" Target="../media/image45.png"/><Relationship Id="rId3" Type="http://schemas.openxmlformats.org/officeDocument/2006/relationships/chart" Target="../charts/chart39.xml"/><Relationship Id="rId7" Type="http://schemas.openxmlformats.org/officeDocument/2006/relationships/image" Target="../media/image40.png"/><Relationship Id="rId12" Type="http://schemas.openxmlformats.org/officeDocument/2006/relationships/image" Target="../media/image4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9.png"/><Relationship Id="rId11" Type="http://schemas.openxmlformats.org/officeDocument/2006/relationships/image" Target="../media/image43.png"/><Relationship Id="rId5" Type="http://schemas.openxmlformats.org/officeDocument/2006/relationships/image" Target="../media/image38.png"/><Relationship Id="rId15" Type="http://schemas.openxmlformats.org/officeDocument/2006/relationships/image" Target="../media/image47.png"/><Relationship Id="rId10" Type="http://schemas.openxmlformats.org/officeDocument/2006/relationships/image" Target="../media/image42.png"/><Relationship Id="rId4" Type="http://schemas.openxmlformats.org/officeDocument/2006/relationships/image" Target="../media/image37.png"/><Relationship Id="rId9" Type="http://schemas.openxmlformats.org/officeDocument/2006/relationships/image" Target="../media/image41.png"/><Relationship Id="rId14" Type="http://schemas.openxmlformats.org/officeDocument/2006/relationships/image" Target="../media/image46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1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7" Type="http://schemas.openxmlformats.org/officeDocument/2006/relationships/image" Target="../media/image52.jpg"/><Relationship Id="rId2" Type="http://schemas.openxmlformats.org/officeDocument/2006/relationships/image" Target="../media/image48.jpg"/><Relationship Id="rId1" Type="http://schemas.openxmlformats.org/officeDocument/2006/relationships/slideLayout" Target="../slideLayouts/slideLayout7.xml"/><Relationship Id="rId6" Type="http://schemas.microsoft.com/office/2007/relationships/hdphoto" Target="../media/hdphoto1.wdp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hyperlink" Target="mailto:info@gfss.kz" TargetMode="Externa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3.xml"/><Relationship Id="rId2" Type="http://schemas.openxmlformats.org/officeDocument/2006/relationships/chart" Target="../charts/chart42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3.svg"/><Relationship Id="rId7" Type="http://schemas.openxmlformats.org/officeDocument/2006/relationships/image" Target="../media/image7.svg"/><Relationship Id="rId12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11" Type="http://schemas.openxmlformats.org/officeDocument/2006/relationships/image" Target="../media/image11.svg"/><Relationship Id="rId5" Type="http://schemas.openxmlformats.org/officeDocument/2006/relationships/image" Target="../media/image5.svg"/><Relationship Id="rId10" Type="http://schemas.openxmlformats.org/officeDocument/2006/relationships/image" Target="../media/image6.png"/><Relationship Id="rId4" Type="http://schemas.openxmlformats.org/officeDocument/2006/relationships/image" Target="../media/image3.png"/><Relationship Id="rId9" Type="http://schemas.openxmlformats.org/officeDocument/2006/relationships/image" Target="../media/image9.sv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5.xml"/><Relationship Id="rId2" Type="http://schemas.openxmlformats.org/officeDocument/2006/relationships/chart" Target="../charts/chart44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7.xml"/><Relationship Id="rId2" Type="http://schemas.openxmlformats.org/officeDocument/2006/relationships/chart" Target="../charts/chart46.xml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48.xml"/><Relationship Id="rId4" Type="http://schemas.openxmlformats.org/officeDocument/2006/relationships/image" Target="../media/image58.png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8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8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8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9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2263E0-DD2A-418D-BEFC-0645BB6813CF}"/>
              </a:ext>
            </a:extLst>
          </p:cNvPr>
          <p:cNvSpPr/>
          <p:nvPr/>
        </p:nvSpPr>
        <p:spPr>
          <a:xfrm>
            <a:off x="-91440" y="0"/>
            <a:ext cx="6949439" cy="9144000"/>
          </a:xfrm>
          <a:prstGeom prst="rect">
            <a:avLst/>
          </a:prstGeom>
          <a:pattFill prst="pct50">
            <a:fgClr>
              <a:schemeClr val="accent5">
                <a:lumMod val="75000"/>
              </a:schemeClr>
            </a:fgClr>
            <a:bgClr>
              <a:schemeClr val="accent5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7B66C77-DD8F-4EB2-82E4-84F18CC6A0E3}"/>
              </a:ext>
            </a:extLst>
          </p:cNvPr>
          <p:cNvSpPr txBox="1"/>
          <p:nvPr/>
        </p:nvSpPr>
        <p:spPr>
          <a:xfrm>
            <a:off x="190637" y="3240331"/>
            <a:ext cx="3656647" cy="224676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ru-RU" sz="2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«МӘСҚ» АҚ 202</a:t>
            </a:r>
            <a:r>
              <a:rPr lang="en-US" sz="2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4</a:t>
            </a:r>
            <a:r>
              <a:rPr lang="ru-RU" sz="2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28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жылдың</a:t>
            </a:r>
            <a:r>
              <a:rPr lang="ru-RU" sz="2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28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жұмыс</a:t>
            </a:r>
            <a:r>
              <a:rPr lang="ru-RU" sz="2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28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қорытындысы</a:t>
            </a:r>
            <a:r>
              <a:rPr lang="ru-RU" sz="2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28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бойынша</a:t>
            </a:r>
            <a:r>
              <a:rPr lang="ru-RU" sz="2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28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есебі</a:t>
            </a:r>
            <a:endParaRPr lang="en-US" sz="28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620126" y="433137"/>
            <a:ext cx="196114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МӘСҚ» АҚ</a:t>
            </a:r>
          </a:p>
          <a:p>
            <a:r>
              <a:rPr lang="ru-RU" sz="1000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иректорлар</a:t>
            </a:r>
            <a:r>
              <a:rPr lang="ru-RU" sz="10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еңесінің</a:t>
            </a:r>
            <a:endParaRPr lang="ru-RU" sz="10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0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5 </a:t>
            </a:r>
            <a:r>
              <a:rPr lang="ru-RU" sz="1000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ылғы</a:t>
            </a:r>
            <a:r>
              <a:rPr lang="ru-RU" sz="10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3 </a:t>
            </a:r>
            <a:r>
              <a:rPr lang="ru-RU" sz="1000" dirty="0" err="1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елтоқсандағы</a:t>
            </a:r>
            <a:endParaRPr lang="ru-RU" sz="10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0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№17 </a:t>
            </a:r>
            <a:r>
              <a:rPr lang="ru-RU" sz="1000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ешімімен</a:t>
            </a:r>
            <a:r>
              <a:rPr lang="ru-RU" sz="10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екітілді</a:t>
            </a:r>
            <a:endParaRPr lang="ru-RU" sz="10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884403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ee4pHeader1">
            <a:extLst>
              <a:ext uri="{FF2B5EF4-FFF2-40B4-BE49-F238E27FC236}">
                <a16:creationId xmlns:a16="http://schemas.microsoft.com/office/drawing/2014/main" id="{B84FE0E5-52E1-4BDE-9EA8-2F84949AB302}"/>
              </a:ext>
            </a:extLst>
          </p:cNvPr>
          <p:cNvSpPr txBox="1"/>
          <p:nvPr/>
        </p:nvSpPr>
        <p:spPr>
          <a:xfrm>
            <a:off x="827490" y="1390296"/>
            <a:ext cx="5614932" cy="240690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defRPr/>
            </a:pP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Әлеуметтік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аударымдар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 мен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өсімпұлдардың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динамикасы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 </a:t>
            </a:r>
            <a:r>
              <a:rPr lang="ru-RU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(млрд. </a:t>
            </a:r>
            <a:r>
              <a:rPr lang="ru-RU" sz="105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теңге</a:t>
            </a:r>
            <a:r>
              <a:rPr lang="ru-RU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)</a:t>
            </a:r>
          </a:p>
        </p:txBody>
      </p:sp>
      <p:sp>
        <p:nvSpPr>
          <p:cNvPr id="111" name="object 8">
            <a:extLst>
              <a:ext uri="{FF2B5EF4-FFF2-40B4-BE49-F238E27FC236}">
                <a16:creationId xmlns:a16="http://schemas.microsoft.com/office/drawing/2014/main" id="{17AD95F7-2C44-4C76-A68A-B9243F5CF4C5}"/>
              </a:ext>
            </a:extLst>
          </p:cNvPr>
          <p:cNvSpPr txBox="1"/>
          <p:nvPr/>
        </p:nvSpPr>
        <p:spPr>
          <a:xfrm>
            <a:off x="320672" y="90184"/>
            <a:ext cx="6537328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-ҒА ӘЛЕУМЕТТІК АУДАРЫМДАР</a:t>
            </a:r>
          </a:p>
        </p:txBody>
      </p:sp>
      <p:sp>
        <p:nvSpPr>
          <p:cNvPr id="102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0790" y="8839200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168390" y="8779714"/>
            <a:ext cx="723900" cy="323850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/>
              <a:t>10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9" name="Диаграмма 98">
            <a:extLst>
              <a:ext uri="{FF2B5EF4-FFF2-40B4-BE49-F238E27FC236}">
                <a16:creationId xmlns:a16="http://schemas.microsoft.com/office/drawing/2014/main" id="{2E4F2723-34B9-4DE5-BB5A-ACDC40C2DC19}"/>
              </a:ext>
            </a:extLst>
          </p:cNvPr>
          <p:cNvGraphicFramePr/>
          <p:nvPr>
            <p:extLst/>
          </p:nvPr>
        </p:nvGraphicFramePr>
        <p:xfrm>
          <a:off x="912070" y="1630985"/>
          <a:ext cx="5033857" cy="21808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94B09873-B4FA-4D7B-9E4E-6D53645B14A8}"/>
              </a:ext>
            </a:extLst>
          </p:cNvPr>
          <p:cNvSpPr/>
          <p:nvPr/>
        </p:nvSpPr>
        <p:spPr>
          <a:xfrm>
            <a:off x="174619" y="603179"/>
            <a:ext cx="644461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43411" algn="just"/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індет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йес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ж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сурстар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ы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рушілерд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ыскерл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ндай-а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ара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әсіпкерл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ек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актика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йналысат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дамдарды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зд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йт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быст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3,5%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өлшер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арымд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бін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лыптастырыл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Прямоугольник 99">
            <a:extLst>
              <a:ext uri="{FF2B5EF4-FFF2-40B4-BE49-F238E27FC236}">
                <a16:creationId xmlns:a16="http://schemas.microsoft.com/office/drawing/2014/main" id="{82642BC4-F1CE-48D8-A1FB-B6B481F0377C}"/>
              </a:ext>
            </a:extLst>
          </p:cNvPr>
          <p:cNvSpPr/>
          <p:nvPr/>
        </p:nvSpPr>
        <p:spPr>
          <a:xfrm>
            <a:off x="81910" y="3791083"/>
            <a:ext cx="653732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65113" algn="ctr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арымд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сімпұлдар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үсімі</a:t>
            </a:r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265113" algn="ctr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02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3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лыстырған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8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5% -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ғ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с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5" name="Прямоугольник 104">
            <a:extLst>
              <a:ext uri="{FF2B5EF4-FFF2-40B4-BE49-F238E27FC236}">
                <a16:creationId xmlns:a16="http://schemas.microsoft.com/office/drawing/2014/main" id="{595C54E2-2668-4D5D-BA5C-980E79E2FBA4}"/>
              </a:ext>
            </a:extLst>
          </p:cNvPr>
          <p:cNvSpPr/>
          <p:nvPr/>
        </p:nvSpPr>
        <p:spPr>
          <a:xfrm>
            <a:off x="174619" y="4416902"/>
            <a:ext cx="658063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ңірлер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өлінісіндегі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арымдар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н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сімпұлдардың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үсуі</a:t>
            </a:r>
            <a:r>
              <a:rPr lang="en-US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2024 </a:t>
            </a:r>
            <a:r>
              <a:rPr lang="kk-KZ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</a:t>
            </a:r>
            <a:r>
              <a:rPr lang="ru-RU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 </a:t>
            </a:r>
          </a:p>
        </p:txBody>
      </p:sp>
      <p:graphicFrame>
        <p:nvGraphicFramePr>
          <p:cNvPr id="106" name="Диаграмма 105">
            <a:extLst>
              <a:ext uri="{FF2B5EF4-FFF2-40B4-BE49-F238E27FC236}">
                <a16:creationId xmlns:a16="http://schemas.microsoft.com/office/drawing/2014/main" id="{2D62B563-20AC-4C42-A24E-1FDF294AB91E}"/>
              </a:ext>
            </a:extLst>
          </p:cNvPr>
          <p:cNvGraphicFramePr/>
          <p:nvPr>
            <p:extLst/>
          </p:nvPr>
        </p:nvGraphicFramePr>
        <p:xfrm>
          <a:off x="-33353" y="4729820"/>
          <a:ext cx="6707636" cy="30170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38CFD685-5A5D-49E3-AB99-4CD4D8B55EED}"/>
              </a:ext>
            </a:extLst>
          </p:cNvPr>
          <p:cNvSpPr/>
          <p:nvPr/>
        </p:nvSpPr>
        <p:spPr>
          <a:xfrm>
            <a:off x="92746" y="7760606"/>
            <a:ext cx="661488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41294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-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арымдар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ртт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ірін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там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р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үсімдерд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30 %)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маты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Аста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лаларын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үс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;</a:t>
            </a:r>
          </a:p>
          <a:p>
            <a:pPr indent="241294" algn="just">
              <a:buFont typeface="Arial" panose="020B0604020202020204" pitchFamily="34" charset="0"/>
              <a:buChar char="•"/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п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зең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республика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індет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йес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і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ысушысы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арымдар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та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өлш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9 131 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ңгені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ай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FC980F26-79C0-4508-9CF8-61A2B1146C98}"/>
              </a:ext>
            </a:extLst>
          </p:cNvPr>
          <p:cNvCxnSpPr>
            <a:cxnSpLocks/>
          </p:cNvCxnSpPr>
          <p:nvPr/>
        </p:nvCxnSpPr>
        <p:spPr>
          <a:xfrm>
            <a:off x="320672" y="457200"/>
            <a:ext cx="5553793" cy="22035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21894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32220" y="8808720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02400" y="8797290"/>
            <a:ext cx="412750" cy="265644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/>
              <a:t>11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D65C64E5-EEBD-47E9-BDB8-12CDFEEB9B12}"/>
              </a:ext>
            </a:extLst>
          </p:cNvPr>
          <p:cNvSpPr/>
          <p:nvPr/>
        </p:nvSpPr>
        <p:spPr>
          <a:xfrm>
            <a:off x="785487" y="4298196"/>
            <a:ext cx="5275803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ңірлер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өлінісіндег</a:t>
            </a:r>
            <a:r>
              <a:rPr lang="kk-KZ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арымдар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решек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202</a:t>
            </a:r>
            <a:r>
              <a:rPr lang="en-US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</a:t>
            </a:r>
            <a:r>
              <a:rPr lang="ru-RU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</a:t>
            </a:r>
            <a:r>
              <a:rPr lang="ru-RU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</a:t>
            </a:r>
            <a:endParaRPr lang="ru-KZ" sz="1050" i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Диаграмма 5">
            <a:extLst>
              <a:ext uri="{FF2B5EF4-FFF2-40B4-BE49-F238E27FC236}">
                <a16:creationId xmlns:a16="http://schemas.microsoft.com/office/drawing/2014/main" id="{77AAA297-6F31-43C7-89CD-7FC8A6C959AC}"/>
              </a:ext>
            </a:extLst>
          </p:cNvPr>
          <p:cNvGraphicFramePr/>
          <p:nvPr>
            <p:extLst/>
          </p:nvPr>
        </p:nvGraphicFramePr>
        <p:xfrm>
          <a:off x="324422" y="4475360"/>
          <a:ext cx="6209156" cy="28203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8A017F73-6E19-4A79-9E72-2C132754724A}"/>
              </a:ext>
            </a:extLst>
          </p:cNvPr>
          <p:cNvSpPr/>
          <p:nvPr/>
        </p:nvSpPr>
        <p:spPr>
          <a:xfrm>
            <a:off x="324422" y="3343175"/>
            <a:ext cx="620915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65113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Р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рж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инистрліг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ірісте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омитетіні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2025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1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ңтардағ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еректерін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әйкес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ударымдар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(</a:t>
            </a:r>
            <a:r>
              <a:rPr lang="kk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уақтыл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еген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сімпұлда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ерешекті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лп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сомасы 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482,0 млн.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еңгені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ұрайты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96,2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ың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уш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л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егізг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ереше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 1752,3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лн.те</a:t>
            </a:r>
            <a:r>
              <a:rPr lang="kk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ңге, өсімпұл – 729,7 млн. теңг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.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0ED5136-8E9B-4D14-9B47-9AF78819FE52}"/>
              </a:ext>
            </a:extLst>
          </p:cNvPr>
          <p:cNvSpPr/>
          <p:nvPr/>
        </p:nvSpPr>
        <p:spPr>
          <a:xfrm>
            <a:off x="324422" y="7361779"/>
            <a:ext cx="620915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65113" algn="just">
              <a:tabLst>
                <a:tab pos="360671" algn="l"/>
              </a:tabLst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ерешект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ө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сомасы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раған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(602 млн.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), Астана қ.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(309 млн.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Абай 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(226 млн.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блыстарын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йқала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indent="265113" algn="just">
              <a:tabLst>
                <a:tab pos="360671" algn="l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2023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м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лыстырған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Алматы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етіс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блыстарын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сқ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р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ңірлер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ереше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омасы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су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йқала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5CF4373B-A194-491C-925D-D6100950ACE4}"/>
              </a:ext>
            </a:extLst>
          </p:cNvPr>
          <p:cNvSpPr/>
          <p:nvPr/>
        </p:nvSpPr>
        <p:spPr>
          <a:xfrm>
            <a:off x="778274" y="721776"/>
            <a:ext cx="5301451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арымдар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н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сімпұлдар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решектер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намикасы</a:t>
            </a:r>
            <a:endParaRPr lang="ru-KZ" sz="105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1" name="object 8">
            <a:extLst>
              <a:ext uri="{FF2B5EF4-FFF2-40B4-BE49-F238E27FC236}">
                <a16:creationId xmlns:a16="http://schemas.microsoft.com/office/drawing/2014/main" id="{9AC7E381-488D-4906-B993-F537E00F1A75}"/>
              </a:ext>
            </a:extLst>
          </p:cNvPr>
          <p:cNvSpPr txBox="1"/>
          <p:nvPr/>
        </p:nvSpPr>
        <p:spPr>
          <a:xfrm>
            <a:off x="160336" y="97478"/>
            <a:ext cx="6537328" cy="509541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 АУДАРЫМДАР МЕН ӨСІМПҰЛДАР БОЙЫНША БЕРЕШЕК</a:t>
            </a:r>
            <a:endParaRPr lang="ru-KZ" sz="1600" b="1" spc="20" dirty="0">
              <a:solidFill>
                <a:srgbClr val="00206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5F03895B-5A33-4F1F-9DBB-67B08F14E758}"/>
              </a:ext>
            </a:extLst>
          </p:cNvPr>
          <p:cNvCxnSpPr>
            <a:cxnSpLocks/>
          </p:cNvCxnSpPr>
          <p:nvPr/>
        </p:nvCxnSpPr>
        <p:spPr>
          <a:xfrm flipV="1">
            <a:off x="160336" y="596574"/>
            <a:ext cx="5726114" cy="25236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graphicFrame>
        <p:nvGraphicFramePr>
          <p:cNvPr id="4" name="Диаграмма 3">
            <a:extLst>
              <a:ext uri="{FF2B5EF4-FFF2-40B4-BE49-F238E27FC236}">
                <a16:creationId xmlns:a16="http://schemas.microsoft.com/office/drawing/2014/main" id="{1E073F8B-3B11-4DDA-A605-260863D1696C}"/>
              </a:ext>
            </a:extLst>
          </p:cNvPr>
          <p:cNvGraphicFramePr/>
          <p:nvPr>
            <p:extLst/>
          </p:nvPr>
        </p:nvGraphicFramePr>
        <p:xfrm>
          <a:off x="947757" y="1142141"/>
          <a:ext cx="4572000" cy="21220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0546192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3332" y="8826509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06212" y="8826509"/>
            <a:ext cx="412750" cy="263530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/>
              <a:t>12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1" name="object 8">
            <a:extLst>
              <a:ext uri="{FF2B5EF4-FFF2-40B4-BE49-F238E27FC236}">
                <a16:creationId xmlns:a16="http://schemas.microsoft.com/office/drawing/2014/main" id="{9AC7E381-488D-4906-B993-F537E00F1A75}"/>
              </a:ext>
            </a:extLst>
          </p:cNvPr>
          <p:cNvSpPr txBox="1"/>
          <p:nvPr/>
        </p:nvSpPr>
        <p:spPr>
          <a:xfrm>
            <a:off x="230624" y="120925"/>
            <a:ext cx="6537328" cy="509541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ЙЕГЕ ҚАТЫСУШЫЛАР САНЫНЫҢ 50% ЖӘНЕ ОДАН ДА КӨП ТӨМЕНДЕУІНЕ МОНИТОРИНГ ЖҮРГІЗУ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C4EFCC1D-0CD8-4983-BEEB-3DCF7BD652C5}"/>
              </a:ext>
            </a:extLst>
          </p:cNvPr>
          <p:cNvSpPr/>
          <p:nvPr/>
        </p:nvSpPr>
        <p:spPr>
          <a:xfrm>
            <a:off x="230623" y="5984972"/>
            <a:ext cx="6275589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18626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горитм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еңбер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:</a:t>
            </a:r>
          </a:p>
          <a:p>
            <a:pPr marL="171450" marR="18626" indent="-171450" algn="just"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ңбе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нспекцияс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өнінде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ергілік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гандар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ңірлерд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кімдіктер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филиалдары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ай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й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ңірл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өлініс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йе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ысушы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н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50%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д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а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мендеу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ол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рг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ушіл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ліметт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іберіле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</a:p>
          <a:p>
            <a:pPr marL="171450" marR="18626" indent="-171450" algn="just">
              <a:buFontTx/>
              <a:buChar char="-"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филиалдар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ңбе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нспекциялары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анд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ла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кімдіктер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"БЖЗҚ" АҚ-ме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ірлесі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әсіпор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шылары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арымдар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уақты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о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уд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аңыздылы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қпараттық-түсінді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с-шаралар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ткізе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</a:p>
          <a:p>
            <a:pPr marL="171450" marR="18626" indent="-171450" algn="just"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ңбе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нспекцияс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өнінде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ергілік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ганд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ҚР ҚМ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іріст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епартамент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мақт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өлімшелер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кілдер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рт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тыры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ңі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кім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ынбасар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ысуы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тк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тер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ріптес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өнінде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ңірл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шжақ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ссиялар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немесе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едел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табтар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тырыстарын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әсіпорындар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шылар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ыңдау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ұйымдастыр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35049C19-CC8B-4989-BF69-6908ACC0636A}"/>
              </a:ext>
            </a:extLst>
          </p:cNvPr>
          <p:cNvSpPr/>
          <p:nvPr/>
        </p:nvSpPr>
        <p:spPr>
          <a:xfrm>
            <a:off x="230622" y="736224"/>
            <a:ext cx="6434749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18626"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ыспен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мтылған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алықты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індетті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қтандырумен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мту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ониторингі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йе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ысушы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н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50%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д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а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мендеу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ол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рг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штат саны 50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д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дам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лат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әсіпорындар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нықт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олы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ыл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</a:p>
          <a:p>
            <a:pPr marR="18626"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3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арымдар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ай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й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штат саны 50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д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а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дам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лат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орта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пп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13,2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уш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ш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:</a:t>
            </a:r>
          </a:p>
          <a:p>
            <a:pPr marL="171450" marR="18626" indent="-171450" algn="just">
              <a:buFontTx/>
              <a:buChar char="-"/>
            </a:pP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йеге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ысушылардың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мендеуімен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49,2%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немесе </a:t>
            </a:r>
            <a:r>
              <a:rPr lang="ru-RU" sz="10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йына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орта </a:t>
            </a:r>
            <a:r>
              <a:rPr lang="ru-RU" sz="10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ппен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6,5 </a:t>
            </a:r>
            <a:r>
              <a:rPr lang="ru-RU" sz="10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ың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уші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</a:t>
            </a:r>
          </a:p>
          <a:p>
            <a:pPr marL="171450" marR="18626" indent="-171450" algn="just">
              <a:buFontTx/>
              <a:buChar char="-"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,4%,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йеге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ысушылар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нының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50%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дан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п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мендеуімен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584 </a:t>
            </a:r>
            <a:r>
              <a:rPr lang="ru-RU" sz="10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уші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R="18626" algn="just"/>
            <a:endParaRPr lang="ru-RU" sz="1000" i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R="18626" indent="180975" algn="just"/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4595B6CB-ADE2-4052-97DD-DD758ADE4527}"/>
              </a:ext>
            </a:extLst>
          </p:cNvPr>
          <p:cNvSpPr/>
          <p:nvPr/>
        </p:nvSpPr>
        <p:spPr>
          <a:xfrm>
            <a:off x="230622" y="2083666"/>
            <a:ext cx="6344805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ысушылар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нының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50%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дан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а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п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мендеу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ебептері</a:t>
            </a:r>
            <a:endParaRPr lang="ru-RU" sz="105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9F7DB3DA-04CB-4546-99BF-27EC71296B06}"/>
              </a:ext>
            </a:extLst>
          </p:cNvPr>
          <p:cNvSpPr/>
          <p:nvPr/>
        </p:nvSpPr>
        <p:spPr>
          <a:xfrm>
            <a:off x="90671" y="5067969"/>
            <a:ext cx="6507216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18626" indent="241294" algn="just"/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арымд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реше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малар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сқарт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алық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йесі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мту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йт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өнінде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ыст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иімділіг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тты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ақсатында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инақтаушы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ейнетақы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йесі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н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індетті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йесіне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ысушылар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нының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мендеуіне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ңірлерде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иеленістің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уындауына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ол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рмеу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талық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ергілікті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еңгейдегі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убъектілердің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зара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с-қимыл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горитмі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ск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ылу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89BCBD11-73A6-443E-838C-88D31BBBD0BC}"/>
              </a:ext>
            </a:extLst>
          </p:cNvPr>
          <p:cNvCxnSpPr>
            <a:cxnSpLocks/>
          </p:cNvCxnSpPr>
          <p:nvPr/>
        </p:nvCxnSpPr>
        <p:spPr>
          <a:xfrm>
            <a:off x="230623" y="630466"/>
            <a:ext cx="5655827" cy="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F18D0DE3-F618-4AA5-BA69-D8D492A9044C}"/>
              </a:ext>
            </a:extLst>
          </p:cNvPr>
          <p:cNvSpPr/>
          <p:nvPr/>
        </p:nvSpPr>
        <p:spPr>
          <a:xfrm>
            <a:off x="130276" y="7774848"/>
            <a:ext cx="6451711" cy="5539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indent="180975" algn="just">
              <a:tabLst>
                <a:tab pos="428625" algn="l"/>
                <a:tab pos="450215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4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филиалдар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ергілік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тқаруш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гандар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ірлесі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5973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ушіден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арымд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г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з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ысушы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н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50% -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д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а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менде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ебептер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нықт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ы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ргіз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endParaRPr lang="ru-KZ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2" name="Диаграмма 11">
            <a:extLst>
              <a:ext uri="{FF2B5EF4-FFF2-40B4-BE49-F238E27FC236}">
                <a16:creationId xmlns:a16="http://schemas.microsoft.com/office/drawing/2014/main" id="{B651F927-6D88-409E-B086-3E91A30335D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75494504"/>
              </p:ext>
            </p:extLst>
          </p:nvPr>
        </p:nvGraphicFramePr>
        <p:xfrm>
          <a:off x="360607" y="2457299"/>
          <a:ext cx="6145606" cy="2438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Диаграмма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8488561"/>
              </p:ext>
            </p:extLst>
          </p:nvPr>
        </p:nvGraphicFramePr>
        <p:xfrm>
          <a:off x="360606" y="2385878"/>
          <a:ext cx="6145605" cy="26773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3881483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4D76BA12-E28D-413D-96F5-E04F503003D9}"/>
              </a:ext>
            </a:extLst>
          </p:cNvPr>
          <p:cNvSpPr/>
          <p:nvPr/>
        </p:nvSpPr>
        <p:spPr>
          <a:xfrm>
            <a:off x="7151" y="4681232"/>
            <a:ext cx="6794115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тық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</a:t>
            </a:r>
            <a:r>
              <a:rPr lang="ru-RU" sz="105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е</a:t>
            </a:r>
            <a:r>
              <a:rPr lang="ru-RU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нген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b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арымдар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н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сімпұлдарды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йтару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ебептері</a:t>
            </a:r>
            <a:endParaRPr lang="ru-KZ" sz="105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8" name="Диаграмма 17">
            <a:extLst>
              <a:ext uri="{FF2B5EF4-FFF2-40B4-BE49-F238E27FC236}">
                <a16:creationId xmlns:a16="http://schemas.microsoft.com/office/drawing/2014/main" id="{2577BF94-CD21-4A83-B865-A4840D08CA0D}"/>
              </a:ext>
            </a:extLst>
          </p:cNvPr>
          <p:cNvGraphicFramePr/>
          <p:nvPr>
            <p:extLst/>
          </p:nvPr>
        </p:nvGraphicFramePr>
        <p:xfrm>
          <a:off x="1418734" y="1645031"/>
          <a:ext cx="4337998" cy="23556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BFE719E7-A816-419D-89D4-8BDD92B5F072}"/>
              </a:ext>
            </a:extLst>
          </p:cNvPr>
          <p:cNvSpPr/>
          <p:nvPr/>
        </p:nvSpPr>
        <p:spPr>
          <a:xfrm>
            <a:off x="331470" y="819812"/>
            <a:ext cx="623820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2563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4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ушілерд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тінішт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гіз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сімпұл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с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ған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лп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сомасы </a:t>
            </a:r>
            <a:b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 млрд.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ңгеге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359,1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ың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дам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т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нг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арымдар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йта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ыл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C1AF7BBA-A56A-4374-A95D-52C578E2E5C3}"/>
              </a:ext>
            </a:extLst>
          </p:cNvPr>
          <p:cNvSpPr/>
          <p:nvPr/>
        </p:nvSpPr>
        <p:spPr>
          <a:xfrm>
            <a:off x="349421" y="4081384"/>
            <a:ext cx="630678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256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2023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м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лыстырған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йтарыл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ударымд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йыппұлдар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омас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ондай-а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йта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ргізілг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й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тысушылары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саны 2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се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рт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C74A3855-BB41-4CD3-A574-F8C5524A7CFB}"/>
              </a:ext>
            </a:extLst>
          </p:cNvPr>
          <p:cNvSpPr/>
          <p:nvPr/>
        </p:nvSpPr>
        <p:spPr>
          <a:xfrm>
            <a:off x="331470" y="7849718"/>
            <a:ext cx="622297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2563" algn="just"/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йтарыл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ажатт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ым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өліг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уш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немесе банк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л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зең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к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д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а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т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оты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г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ма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ай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 46%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псырмас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ізімд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өліг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керл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арымд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маларын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ел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іберіл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-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3%.</a:t>
            </a:r>
            <a:endParaRPr lang="ru-KZ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2" name="Диаграмма 21">
            <a:extLst>
              <a:ext uri="{FF2B5EF4-FFF2-40B4-BE49-F238E27FC236}">
                <a16:creationId xmlns:a16="http://schemas.microsoft.com/office/drawing/2014/main" id="{E5ABB89F-7E19-48F8-90C8-92619601C29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99250049"/>
              </p:ext>
            </p:extLst>
          </p:nvPr>
        </p:nvGraphicFramePr>
        <p:xfrm>
          <a:off x="594361" y="5096730"/>
          <a:ext cx="5612129" cy="26331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1BB06454-C2F4-49DA-BB7D-B88713DBFC13}"/>
              </a:ext>
            </a:extLst>
          </p:cNvPr>
          <p:cNvSpPr/>
          <p:nvPr/>
        </p:nvSpPr>
        <p:spPr>
          <a:xfrm>
            <a:off x="677393" y="1374632"/>
            <a:ext cx="5477783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е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нген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арымдар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н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сімпұлдарды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йтару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намикасы</a:t>
            </a:r>
            <a:endParaRPr lang="ru-KZ" sz="105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4" name="object 8">
            <a:extLst>
              <a:ext uri="{FF2B5EF4-FFF2-40B4-BE49-F238E27FC236}">
                <a16:creationId xmlns:a16="http://schemas.microsoft.com/office/drawing/2014/main" id="{366939CD-F036-47BA-8700-E1225472FA5A}"/>
              </a:ext>
            </a:extLst>
          </p:cNvPr>
          <p:cNvSpPr txBox="1"/>
          <p:nvPr/>
        </p:nvSpPr>
        <p:spPr>
          <a:xfrm>
            <a:off x="118880" y="96735"/>
            <a:ext cx="6537328" cy="509541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16933" rIns="0" bIns="0" rtlCol="0"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ТЫҚ (ҚАТЕ) ТӨЛЕНГЕН ӘЛЕУМЕТТІК АУДАРЫМДАР МЕН ӨСІМПҰЛДАРДЫ ҚАЙТАРУ</a:t>
            </a:r>
          </a:p>
        </p:txBody>
      </p: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90AA3A00-AC27-4598-84C2-CE5D10C949AB}"/>
              </a:ext>
            </a:extLst>
          </p:cNvPr>
          <p:cNvCxnSpPr>
            <a:cxnSpLocks/>
          </p:cNvCxnSpPr>
          <p:nvPr/>
        </p:nvCxnSpPr>
        <p:spPr>
          <a:xfrm>
            <a:off x="205740" y="606276"/>
            <a:ext cx="5669280" cy="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5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0494" y="880994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A712130D-333C-4362-8A96-8C6A8C5E2F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72100" y="8771893"/>
            <a:ext cx="1543050" cy="349247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13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217313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object 8">
            <a:extLst>
              <a:ext uri="{FF2B5EF4-FFF2-40B4-BE49-F238E27FC236}">
                <a16:creationId xmlns:a16="http://schemas.microsoft.com/office/drawing/2014/main" id="{17AD95F7-2C44-4C76-A68A-B9243F5CF4C5}"/>
              </a:ext>
            </a:extLst>
          </p:cNvPr>
          <p:cNvSpPr txBox="1"/>
          <p:nvPr/>
        </p:nvSpPr>
        <p:spPr>
          <a:xfrm>
            <a:off x="191201" y="122590"/>
            <a:ext cx="6377355" cy="26332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-ДАН ӘЛЕУМЕТТІК ТӨЛЕМДЕР</a:t>
            </a:r>
          </a:p>
        </p:txBody>
      </p:sp>
      <p:sp>
        <p:nvSpPr>
          <p:cNvPr id="102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1361" y="8804909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24231" y="8745185"/>
            <a:ext cx="474519" cy="377808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/>
              <a:t>14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BFE719E7-A816-419D-89D4-8BDD92B5F072}"/>
              </a:ext>
            </a:extLst>
          </p:cNvPr>
          <p:cNvSpPr/>
          <p:nvPr/>
        </p:nvSpPr>
        <p:spPr>
          <a:xfrm>
            <a:off x="240321" y="546551"/>
            <a:ext cx="627258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76213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5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1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ңтарда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ғдай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індет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йе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нгізілгенн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ыл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-да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нет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д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сомасы </a:t>
            </a:r>
            <a:r>
              <a:rPr lang="en-US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 531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лрд.теңген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1BB06454-C2F4-49DA-BB7D-B88713DBFC13}"/>
              </a:ext>
            </a:extLst>
          </p:cNvPr>
          <p:cNvSpPr/>
          <p:nvPr/>
        </p:nvSpPr>
        <p:spPr>
          <a:xfrm>
            <a:off x="1288365" y="993385"/>
            <a:ext cx="3869970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-дан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нетін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дер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намикасы</a:t>
            </a:r>
            <a:endParaRPr lang="ru-KZ" sz="105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6" name="Диаграмма 15">
            <a:extLst>
              <a:ext uri="{FF2B5EF4-FFF2-40B4-BE49-F238E27FC236}">
                <a16:creationId xmlns:a16="http://schemas.microsoft.com/office/drawing/2014/main" id="{807065E4-A2A8-4BB6-A900-25129225ED82}"/>
              </a:ext>
            </a:extLst>
          </p:cNvPr>
          <p:cNvGraphicFramePr/>
          <p:nvPr>
            <p:extLst/>
          </p:nvPr>
        </p:nvGraphicFramePr>
        <p:xfrm>
          <a:off x="1294335" y="1210750"/>
          <a:ext cx="4269325" cy="24332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4FA2D142-394F-4DBB-BECC-FFC8873F2DF8}"/>
              </a:ext>
            </a:extLst>
          </p:cNvPr>
          <p:cNvSpPr/>
          <p:nvPr/>
        </p:nvSpPr>
        <p:spPr>
          <a:xfrm>
            <a:off x="-464024" y="4195529"/>
            <a:ext cx="7847462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40447" algn="ctr"/>
            <a:endParaRPr lang="ru-RU" sz="105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240447" algn="ctr"/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әуекелдердің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үрлері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дердің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ылымы</a:t>
            </a:r>
            <a:endParaRPr lang="ru-KZ" sz="105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6AAF58E0-7466-4155-8667-D489261AB467}"/>
              </a:ext>
            </a:extLst>
          </p:cNvPr>
          <p:cNvSpPr/>
          <p:nvPr/>
        </p:nvSpPr>
        <p:spPr>
          <a:xfrm>
            <a:off x="284135" y="3708953"/>
            <a:ext cx="637735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76213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4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ушы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саны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ама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</a:t>
            </a:r>
            <a:r>
              <a:rPr lang="ru-RU" sz="5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 </a:t>
            </a:r>
            <a:r>
              <a:rPr lang="en-US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382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ың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дам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д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сомасы </a:t>
            </a:r>
            <a:r>
              <a:rPr lang="en-US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958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лрд.тең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202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3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ыс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сім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әйкесінш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0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%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7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7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%.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1AC9A331-6378-424D-9157-35FCDB3DE2F6}"/>
              </a:ext>
            </a:extLst>
          </p:cNvPr>
          <p:cNvGrpSpPr/>
          <p:nvPr/>
        </p:nvGrpSpPr>
        <p:grpSpPr>
          <a:xfrm>
            <a:off x="329945" y="4614792"/>
            <a:ext cx="6336000" cy="2967738"/>
            <a:chOff x="3349226" y="3839303"/>
            <a:chExt cx="4982508" cy="2305859"/>
          </a:xfrm>
        </p:grpSpPr>
        <p:graphicFrame>
          <p:nvGraphicFramePr>
            <p:cNvPr id="22" name="Диаграмма 21">
              <a:extLst>
                <a:ext uri="{FF2B5EF4-FFF2-40B4-BE49-F238E27FC236}">
                  <a16:creationId xmlns:a16="http://schemas.microsoft.com/office/drawing/2014/main" id="{E5ABB89F-7E19-48F8-90C8-92619601C297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49020365"/>
                </p:ext>
              </p:extLst>
            </p:nvPr>
          </p:nvGraphicFramePr>
          <p:xfrm>
            <a:off x="3349226" y="3839303"/>
            <a:ext cx="4982508" cy="230585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44C869F5-44C6-4300-B092-311C0C674BD6}"/>
                </a:ext>
              </a:extLst>
            </p:cNvPr>
            <p:cNvSpPr txBox="1"/>
            <p:nvPr/>
          </p:nvSpPr>
          <p:spPr>
            <a:xfrm>
              <a:off x="5286760" y="4976753"/>
              <a:ext cx="631798" cy="3108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958</a:t>
              </a:r>
              <a:r>
                <a:rPr lang="ru-RU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 млрд.</a:t>
              </a:r>
            </a:p>
            <a:p>
              <a:pPr algn="ctr"/>
              <a:r>
                <a:rPr lang="ru-RU" sz="10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теңге</a:t>
              </a:r>
              <a:endParaRPr lang="ru-KZ" sz="10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665493D8-7E21-488B-85AC-AB4539198671}"/>
              </a:ext>
            </a:extLst>
          </p:cNvPr>
          <p:cNvSpPr/>
          <p:nvPr/>
        </p:nvSpPr>
        <p:spPr>
          <a:xfrm>
            <a:off x="240321" y="7760473"/>
            <a:ext cx="637735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76213" algn="just"/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д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ылымын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дерд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гіз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лес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–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8</a:t>
            </a:r>
            <a:r>
              <a:rPr lang="en-US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,4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%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лан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лдау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нал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д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 </a:t>
            </a:r>
            <a:r>
              <a:rPr lang="ru-RU" sz="1000" b="1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</a:t>
            </a:r>
            <a:r>
              <a:rPr lang="en-US" sz="1000" b="1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789</a:t>
            </a:r>
            <a:r>
              <a:rPr lang="ru-RU" sz="1000" b="1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</a:t>
            </a:r>
            <a:r>
              <a:rPr lang="en-US" sz="1000" b="1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7</a:t>
            </a:r>
            <a:r>
              <a:rPr lang="ru-RU" sz="1000" b="1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лрд. </a:t>
            </a:r>
            <a:r>
              <a:rPr lang="ru-RU" sz="1000" b="1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ңге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айды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  <a:endParaRPr lang="ru-KZ" sz="1000" i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0B41756A-34B5-4425-8256-48593152B7DB}"/>
              </a:ext>
            </a:extLst>
          </p:cNvPr>
          <p:cNvCxnSpPr>
            <a:cxnSpLocks/>
          </p:cNvCxnSpPr>
          <p:nvPr/>
        </p:nvCxnSpPr>
        <p:spPr>
          <a:xfrm flipV="1">
            <a:off x="-8487" y="453082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710860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object 8">
            <a:extLst>
              <a:ext uri="{FF2B5EF4-FFF2-40B4-BE49-F238E27FC236}">
                <a16:creationId xmlns:a16="http://schemas.microsoft.com/office/drawing/2014/main" id="{17AD95F7-2C44-4C76-A68A-B9243F5CF4C5}"/>
              </a:ext>
            </a:extLst>
          </p:cNvPr>
          <p:cNvSpPr txBox="1"/>
          <p:nvPr/>
        </p:nvSpPr>
        <p:spPr>
          <a:xfrm>
            <a:off x="204420" y="150084"/>
            <a:ext cx="6377355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-ДАН ӘЛЕУМЕТТІК ТӨЛЕМДЕР</a:t>
            </a:r>
          </a:p>
        </p:txBody>
      </p:sp>
      <p:sp>
        <p:nvSpPr>
          <p:cNvPr id="102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16980" y="8805862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124401" y="8748101"/>
            <a:ext cx="779319" cy="381000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/>
              <a:t>15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4D76BA12-E28D-413D-96F5-E04F503003D9}"/>
              </a:ext>
            </a:extLst>
          </p:cNvPr>
          <p:cNvSpPr/>
          <p:nvPr/>
        </p:nvSpPr>
        <p:spPr>
          <a:xfrm>
            <a:off x="0" y="789721"/>
            <a:ext cx="6617677" cy="41549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ушылар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ңа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ғайындаулар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ңірлер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өлінісіндегі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/>
            </a:r>
            <a:b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дердің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сомасы </a:t>
            </a:r>
            <a:r>
              <a:rPr lang="ru-RU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202</a:t>
            </a:r>
            <a:r>
              <a:rPr lang="en-US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</a:t>
            </a:r>
            <a:r>
              <a:rPr lang="ru-RU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</a:t>
            </a:r>
            <a:r>
              <a:rPr lang="ru-RU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</a:t>
            </a:r>
          </a:p>
        </p:txBody>
      </p:sp>
      <p:graphicFrame>
        <p:nvGraphicFramePr>
          <p:cNvPr id="23" name="Диаграмма 22">
            <a:extLst>
              <a:ext uri="{FF2B5EF4-FFF2-40B4-BE49-F238E27FC236}">
                <a16:creationId xmlns:a16="http://schemas.microsoft.com/office/drawing/2014/main" id="{9EE56637-F5BC-4836-B0EB-15469B118C3C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328245" y="1221553"/>
          <a:ext cx="5336575" cy="57832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6CEC125A-5870-4E8D-9AFF-C91AE9CA4C32}"/>
              </a:ext>
            </a:extLst>
          </p:cNvPr>
          <p:cNvSpPr/>
          <p:nvPr/>
        </p:nvSpPr>
        <p:spPr>
          <a:xfrm>
            <a:off x="240322" y="7362318"/>
            <a:ext cx="637735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76213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спублика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ңірл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өлінісінде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Т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ушылардың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ң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п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лесі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дер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сомасы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үркістан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блысында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- 1</a:t>
            </a:r>
            <a:r>
              <a:rPr lang="en-US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50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ың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ушы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en-US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21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лрд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ң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Алматы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ласын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– </a:t>
            </a:r>
            <a:b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</a:t>
            </a:r>
            <a:r>
              <a:rPr lang="en-US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9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ың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уш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en-US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99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</a:t>
            </a:r>
            <a:r>
              <a:rPr lang="en-US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7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лрд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ң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лы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лгіленді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52304F35-44BC-4E18-827D-61915D85BFA7}"/>
              </a:ext>
            </a:extLst>
          </p:cNvPr>
          <p:cNvCxnSpPr>
            <a:cxnSpLocks/>
          </p:cNvCxnSpPr>
          <p:nvPr/>
        </p:nvCxnSpPr>
        <p:spPr>
          <a:xfrm>
            <a:off x="204420" y="502920"/>
            <a:ext cx="5659170" cy="8306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2DEF2DD9-6C84-451D-8146-F539C0409797}"/>
              </a:ext>
            </a:extLst>
          </p:cNvPr>
          <p:cNvSpPr/>
          <p:nvPr/>
        </p:nvSpPr>
        <p:spPr>
          <a:xfrm>
            <a:off x="4483853" y="1404882"/>
            <a:ext cx="105830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dirty="0">
                <a:latin typeface="Arial Cyr" panose="020B0604020202020204" pitchFamily="34" charset="0"/>
              </a:rPr>
              <a:t> 121,1 </a:t>
            </a:r>
            <a:r>
              <a:rPr lang="ru-RU" sz="1000" dirty="0" err="1">
                <a:latin typeface="Arial Cyr" panose="020B0604020202020204" pitchFamily="34" charset="0"/>
              </a:rPr>
              <a:t>млрд.тг</a:t>
            </a:r>
            <a:r>
              <a:rPr lang="ru-RU" sz="1000" dirty="0">
                <a:latin typeface="Arial Cyr" panose="020B0604020202020204" pitchFamily="34" charset="0"/>
              </a:rPr>
              <a:t> </a:t>
            </a:r>
            <a:endParaRPr lang="ru-KZ" sz="1000" dirty="0"/>
          </a:p>
        </p:txBody>
      </p:sp>
    </p:spTree>
    <p:extLst>
      <p:ext uri="{BB962C8B-B14F-4D97-AF65-F5344CB8AC3E}">
        <p14:creationId xmlns:p14="http://schemas.microsoft.com/office/powerpoint/2010/main" val="69048649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CF27D134-7E75-49BA-9A53-89E9B0A18811}"/>
              </a:ext>
            </a:extLst>
          </p:cNvPr>
          <p:cNvSpPr/>
          <p:nvPr/>
        </p:nvSpPr>
        <p:spPr>
          <a:xfrm>
            <a:off x="11339" y="813296"/>
            <a:ext cx="1887770" cy="833070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object 8">
            <a:extLst>
              <a:ext uri="{FF2B5EF4-FFF2-40B4-BE49-F238E27FC236}">
                <a16:creationId xmlns:a16="http://schemas.microsoft.com/office/drawing/2014/main" id="{17AD95F7-2C44-4C76-A68A-B9243F5CF4C5}"/>
              </a:ext>
            </a:extLst>
          </p:cNvPr>
          <p:cNvSpPr txBox="1"/>
          <p:nvPr/>
        </p:nvSpPr>
        <p:spPr>
          <a:xfrm>
            <a:off x="139127" y="75472"/>
            <a:ext cx="6576646" cy="26332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-ДАН ӘЛЕУМЕТТІК ТӨЛЕМДЕР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7DBB98F6-E547-4E26-A666-62E54F2BFD5E}"/>
              </a:ext>
            </a:extLst>
          </p:cNvPr>
          <p:cNvSpPr/>
          <p:nvPr/>
        </p:nvSpPr>
        <p:spPr>
          <a:xfrm>
            <a:off x="1899108" y="832041"/>
            <a:ext cx="4735361" cy="242790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indent="182563" algn="just">
              <a:lnSpc>
                <a:spcPct val="109000"/>
              </a:lnSpc>
              <a:tabLst>
                <a:tab pos="600272" algn="l"/>
              </a:tabLst>
            </a:pP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ңбекк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білеттілігіне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йырыл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ғдай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йені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тысушысын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ғайындауғ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тініш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ерілге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уақытқ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ұмыст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оқтатқанын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немесе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лғастырғанын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амаст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еспубликалық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бюджет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себіне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ленеті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үгедектіг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рдемақығ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осымш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ғайындалад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2563" algn="just">
              <a:lnSpc>
                <a:spcPct val="109000"/>
              </a:lnSpc>
            </a:pP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едициналық-әлеуметтік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раптам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өлімшес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лп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ңбекк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білеттілігіне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йырыл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әрежесі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30% - дан 100% -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ғ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ейі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ны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үкіл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езеңін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елгілеге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үнне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стап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ұқығ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уындайд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2563" algn="just">
              <a:lnSpc>
                <a:spcPct val="109000"/>
              </a:lnSpc>
            </a:pP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лемні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өлшер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оңғ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дағ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ударымдар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ргізілге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йег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тысушыны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ірісін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ондай-ақ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ңбекк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білеттілігіне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йырыл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әрежесіні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йег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тыс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тіліні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іріст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лмастыруды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оэффициенттерін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йланысты</a:t>
            </a:r>
            <a:r>
              <a:rPr lang="ru-RU" sz="10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pPr indent="182563" algn="just">
              <a:lnSpc>
                <a:spcPct val="109000"/>
              </a:lnSpc>
            </a:pP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24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өлшер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7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%-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ғ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ст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ұл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сім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80,6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ың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лушығ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сер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тт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E85F934A-F704-46C0-AEC9-A75505E43142}"/>
              </a:ext>
            </a:extLst>
          </p:cNvPr>
          <p:cNvSpPr/>
          <p:nvPr/>
        </p:nvSpPr>
        <p:spPr>
          <a:xfrm>
            <a:off x="2397114" y="3748089"/>
            <a:ext cx="3923379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40447" algn="ctr"/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ушылардың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намикасы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малары</a:t>
            </a:r>
            <a:endParaRPr lang="ru-KZ" sz="105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1" name="Диаграмма 20">
            <a:extLst>
              <a:ext uri="{FF2B5EF4-FFF2-40B4-BE49-F238E27FC236}">
                <a16:creationId xmlns:a16="http://schemas.microsoft.com/office/drawing/2014/main" id="{A9F724DC-A61A-4280-9254-8E7B046A2A3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66090757"/>
              </p:ext>
            </p:extLst>
          </p:nvPr>
        </p:nvGraphicFramePr>
        <p:xfrm>
          <a:off x="2273443" y="4079082"/>
          <a:ext cx="4452434" cy="18695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F49AB6E5-C541-455E-86E0-4705116B52B7}"/>
              </a:ext>
            </a:extLst>
          </p:cNvPr>
          <p:cNvSpPr/>
          <p:nvPr/>
        </p:nvSpPr>
        <p:spPr>
          <a:xfrm>
            <a:off x="1938640" y="5948665"/>
            <a:ext cx="4695830" cy="5827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182563" algn="just">
              <a:lnSpc>
                <a:spcPct val="109000"/>
              </a:lnSpc>
            </a:pP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4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ӘСҚ-дан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ырылға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мдер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омасы </a:t>
            </a: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6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млрд.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23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ме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стырғанд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r>
              <a:rPr lang="kk-KZ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ға өст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2005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да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тап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ырылға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мдер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омасы </a:t>
            </a: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1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лрд.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ген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ад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CF228AD7-DCEC-4656-9530-CC427F242C7C}"/>
              </a:ext>
            </a:extLst>
          </p:cNvPr>
          <p:cNvSpPr/>
          <p:nvPr/>
        </p:nvSpPr>
        <p:spPr>
          <a:xfrm>
            <a:off x="68489" y="461502"/>
            <a:ext cx="716482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ҢБЕККЕ ҚАБІЛЕТТІЛІГІНЕН АЙЫРЫЛУ ЖАҒДАЙЫ БОЙЫНША ӘЛЕУМЕТТІК ТӨЛЕМ</a:t>
            </a:r>
          </a:p>
        </p:txBody>
      </p:sp>
      <p:cxnSp>
        <p:nvCxnSpPr>
          <p:cNvPr id="41" name="Прямая соединительная линия 40">
            <a:extLst>
              <a:ext uri="{FF2B5EF4-FFF2-40B4-BE49-F238E27FC236}">
                <a16:creationId xmlns:a16="http://schemas.microsoft.com/office/drawing/2014/main" id="{5E21C9A7-69BB-4142-818F-22912793CDC9}"/>
              </a:ext>
            </a:extLst>
          </p:cNvPr>
          <p:cNvCxnSpPr>
            <a:cxnSpLocks/>
          </p:cNvCxnSpPr>
          <p:nvPr/>
        </p:nvCxnSpPr>
        <p:spPr>
          <a:xfrm>
            <a:off x="139127" y="338792"/>
            <a:ext cx="5781613" cy="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pic>
        <p:nvPicPr>
          <p:cNvPr id="43" name="Рисунок 42">
            <a:extLst>
              <a:ext uri="{FF2B5EF4-FFF2-40B4-BE49-F238E27FC236}">
                <a16:creationId xmlns:a16="http://schemas.microsoft.com/office/drawing/2014/main" id="{6D5F48C7-2E7D-4125-A587-81D76FA9B1D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52327" y="1077359"/>
            <a:ext cx="872065" cy="1247248"/>
          </a:xfrm>
          <a:prstGeom prst="rect">
            <a:avLst/>
          </a:prstGeom>
        </p:spPr>
      </p:pic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5EF669A5-0CEC-4A65-9AC0-CF10A6A02CE0}"/>
              </a:ext>
            </a:extLst>
          </p:cNvPr>
          <p:cNvSpPr/>
          <p:nvPr/>
        </p:nvSpPr>
        <p:spPr>
          <a:xfrm>
            <a:off x="1929307" y="8407352"/>
            <a:ext cx="466563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2563" algn="just"/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оң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3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да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үрдіс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ын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ң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ғайындаул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саны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ұрақ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үр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15-16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шегінде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0494" y="882137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6BE11F5F-EFF6-4EE1-AFE4-F4ABC46910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72191" y="8720219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16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361F9D85-149D-40F0-9C78-3C68A2A7E498}"/>
              </a:ext>
            </a:extLst>
          </p:cNvPr>
          <p:cNvGrpSpPr/>
          <p:nvPr/>
        </p:nvGrpSpPr>
        <p:grpSpPr>
          <a:xfrm>
            <a:off x="132123" y="2808457"/>
            <a:ext cx="1676401" cy="5663089"/>
            <a:chOff x="165271" y="2854237"/>
            <a:chExt cx="1676401" cy="5663089"/>
          </a:xfrm>
        </p:grpSpPr>
        <p:sp>
          <p:nvSpPr>
            <p:cNvPr id="2" name="Прямоугольник 1">
              <a:extLst>
                <a:ext uri="{FF2B5EF4-FFF2-40B4-BE49-F238E27FC236}">
                  <a16:creationId xmlns:a16="http://schemas.microsoft.com/office/drawing/2014/main" id="{F063B361-0D9D-44CD-9ED7-38B34C855A45}"/>
                </a:ext>
              </a:extLst>
            </p:cNvPr>
            <p:cNvSpPr/>
            <p:nvPr/>
          </p:nvSpPr>
          <p:spPr>
            <a:xfrm>
              <a:off x="165271" y="2854237"/>
              <a:ext cx="1676401" cy="566308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050" dirty="0" err="1"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Алушылар</a:t>
              </a:r>
              <a:endParaRPr lang="ru-RU" sz="105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  <a:p>
              <a:pPr algn="ctr"/>
              <a:r>
                <a:rPr lang="ru-RU" sz="1050" dirty="0"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 саны</a:t>
              </a:r>
            </a:p>
            <a:p>
              <a:pPr algn="ctr"/>
              <a:r>
                <a:rPr lang="ru-RU" sz="1100" b="1" dirty="0">
                  <a:solidFill>
                    <a:srgbClr val="002060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10</a:t>
              </a:r>
              <a:r>
                <a:rPr lang="en-US" sz="1100" b="1" dirty="0">
                  <a:solidFill>
                    <a:srgbClr val="002060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2</a:t>
              </a:r>
              <a:r>
                <a:rPr lang="ru-RU" sz="1100" b="1" dirty="0">
                  <a:solidFill>
                    <a:srgbClr val="002060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 </a:t>
              </a:r>
              <a:r>
                <a:rPr lang="en-US" sz="1100" b="1" dirty="0">
                  <a:solidFill>
                    <a:srgbClr val="002060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318</a:t>
              </a:r>
              <a:r>
                <a:rPr lang="ru-RU" sz="1100" b="1" dirty="0">
                  <a:solidFill>
                    <a:srgbClr val="002060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 </a:t>
              </a:r>
              <a:r>
                <a:rPr lang="ru-RU" sz="1100" dirty="0" err="1">
                  <a:solidFill>
                    <a:srgbClr val="002060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адам</a:t>
              </a:r>
              <a:endParaRPr lang="ru-RU" sz="1100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  <a:p>
              <a:pPr algn="ctr"/>
              <a:endParaRPr lang="ru-RU" sz="1100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  <a:p>
              <a:pPr algn="just"/>
              <a:endParaRPr lang="ru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  <a:p>
              <a:pPr algn="ctr"/>
              <a:r>
                <a:rPr lang="ru-RU" sz="1050" dirty="0" err="1">
                  <a:latin typeface="Arial" panose="020B0604020202020204" pitchFamily="34" charset="0"/>
                  <a:cs typeface="Arial" panose="020B0604020202020204" pitchFamily="34" charset="0"/>
                </a:rPr>
                <a:t>Жаңа</a:t>
              </a:r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50" dirty="0" err="1">
                  <a:latin typeface="Arial" panose="020B0604020202020204" pitchFamily="34" charset="0"/>
                  <a:cs typeface="Arial" panose="020B0604020202020204" pitchFamily="34" charset="0"/>
                </a:rPr>
                <a:t>тағайындаулар</a:t>
              </a:r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 саны</a:t>
              </a:r>
            </a:p>
            <a:p>
              <a:pPr algn="ctr"/>
              <a:r>
                <a:rPr lang="ru-RU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5 </a:t>
              </a:r>
              <a:r>
                <a:rPr lang="en-US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38</a:t>
              </a:r>
              <a:r>
                <a:rPr lang="ru-RU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100" b="1" dirty="0" err="1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дам</a:t>
              </a:r>
              <a:endPara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endPara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endParaRPr lang="ru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  <a:p>
              <a:pPr algn="ctr"/>
              <a:r>
                <a:rPr lang="ru-RU" sz="1050" dirty="0" err="1">
                  <a:latin typeface="Arial" panose="020B0604020202020204" pitchFamily="34" charset="0"/>
                  <a:cs typeface="Arial" panose="020B0604020202020204" pitchFamily="34" charset="0"/>
                </a:rPr>
                <a:t>Төлем</a:t>
              </a:r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50" dirty="0" err="1">
                  <a:latin typeface="Arial" panose="020B0604020202020204" pitchFamily="34" charset="0"/>
                  <a:cs typeface="Arial" panose="020B0604020202020204" pitchFamily="34" charset="0"/>
                </a:rPr>
                <a:t>көлемі</a:t>
              </a:r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 algn="ctr"/>
              <a:r>
                <a:rPr lang="en-US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6</a:t>
              </a:r>
              <a:r>
                <a:rPr lang="ru-RU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</a:t>
              </a:r>
              <a:r>
                <a:rPr lang="en-US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</a:t>
              </a:r>
              <a:r>
                <a:rPr lang="ru-RU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млрд. </a:t>
              </a:r>
              <a:r>
                <a:rPr lang="ru-RU" sz="1100" b="1" dirty="0" err="1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еңге</a:t>
              </a:r>
              <a:endPara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ru-RU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 algn="ctr"/>
              <a:endPara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ru-RU" sz="1050" dirty="0" err="1">
                  <a:latin typeface="Arial" panose="020B0604020202020204" pitchFamily="34" charset="0"/>
                  <a:cs typeface="Arial" panose="020B0604020202020204" pitchFamily="34" charset="0"/>
                </a:rPr>
                <a:t>Төлемді</a:t>
              </a:r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50" dirty="0" err="1">
                  <a:latin typeface="Arial" panose="020B0604020202020204" pitchFamily="34" charset="0"/>
                  <a:cs typeface="Arial" panose="020B0604020202020204" pitchFamily="34" charset="0"/>
                </a:rPr>
                <a:t>тағайындау</a:t>
              </a:r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50" dirty="0" err="1">
                  <a:latin typeface="Arial" panose="020B0604020202020204" pitchFamily="34" charset="0"/>
                  <a:cs typeface="Arial" panose="020B0604020202020204" pitchFamily="34" charset="0"/>
                </a:rPr>
                <a:t>кезіңде</a:t>
              </a:r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50" dirty="0" err="1">
                  <a:latin typeface="Arial" panose="020B0604020202020204" pitchFamily="34" charset="0"/>
                  <a:cs typeface="Arial" panose="020B0604020202020204" pitchFamily="34" charset="0"/>
                </a:rPr>
                <a:t>ескерілген</a:t>
              </a:r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50" dirty="0" err="1">
                  <a:latin typeface="Arial" panose="020B0604020202020204" pitchFamily="34" charset="0"/>
                  <a:cs typeface="Arial" panose="020B0604020202020204" pitchFamily="34" charset="0"/>
                </a:rPr>
                <a:t>орташа</a:t>
              </a:r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50" dirty="0" err="1">
                  <a:latin typeface="Arial" panose="020B0604020202020204" pitchFamily="34" charset="0"/>
                  <a:cs typeface="Arial" panose="020B0604020202020204" pitchFamily="34" charset="0"/>
                </a:rPr>
                <a:t>айлық</a:t>
              </a:r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50" dirty="0" err="1">
                  <a:latin typeface="Arial" panose="020B0604020202020204" pitchFamily="34" charset="0"/>
                  <a:cs typeface="Arial" panose="020B0604020202020204" pitchFamily="34" charset="0"/>
                </a:rPr>
                <a:t>табыс</a:t>
              </a:r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kk-KZ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r>
                <a:rPr lang="en-US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3</a:t>
              </a:r>
              <a:r>
                <a:rPr lang="kk-KZ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мың теңге</a:t>
              </a:r>
            </a:p>
            <a:p>
              <a:pPr algn="ctr"/>
              <a:endPara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endPara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endParaRPr lang="ru-RU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ru-RU" sz="1050" dirty="0" err="1">
                  <a:latin typeface="Arial" panose="020B0604020202020204" pitchFamily="34" charset="0"/>
                  <a:cs typeface="Arial" panose="020B0604020202020204" pitchFamily="34" charset="0"/>
                </a:rPr>
                <a:t>Төлемнің</a:t>
              </a:r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50" dirty="0" err="1">
                  <a:latin typeface="Arial" panose="020B0604020202020204" pitchFamily="34" charset="0"/>
                  <a:cs typeface="Arial" panose="020B0604020202020204" pitchFamily="34" charset="0"/>
                </a:rPr>
                <a:t>орташа</a:t>
              </a:r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50" dirty="0" err="1">
                  <a:latin typeface="Arial" panose="020B0604020202020204" pitchFamily="34" charset="0"/>
                  <a:cs typeface="Arial" panose="020B0604020202020204" pitchFamily="34" charset="0"/>
                </a:rPr>
                <a:t>мөлшері</a:t>
              </a:r>
              <a:endParaRPr lang="ru-RU" sz="105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en-US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0</a:t>
              </a:r>
              <a:r>
                <a:rPr lang="ru-RU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07</a:t>
              </a:r>
              <a:r>
                <a:rPr lang="ru-RU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100" b="1" dirty="0" err="1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еңге</a:t>
              </a:r>
              <a:endPara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endPara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endParaRPr lang="ru-RU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ru-RU" sz="1050" dirty="0" err="1">
                  <a:latin typeface="Arial" panose="020B0604020202020204" pitchFamily="34" charset="0"/>
                  <a:cs typeface="Arial" panose="020B0604020202020204" pitchFamily="34" charset="0"/>
                </a:rPr>
                <a:t>Алушының</a:t>
              </a:r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50" dirty="0" err="1">
                  <a:latin typeface="Arial" panose="020B0604020202020204" pitchFamily="34" charset="0"/>
                  <a:cs typeface="Arial" panose="020B0604020202020204" pitchFamily="34" charset="0"/>
                </a:rPr>
                <a:t>орташа</a:t>
              </a:r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50" dirty="0" err="1">
                  <a:latin typeface="Arial" panose="020B0604020202020204" pitchFamily="34" charset="0"/>
                  <a:cs typeface="Arial" panose="020B0604020202020204" pitchFamily="34" charset="0"/>
                </a:rPr>
                <a:t>жасы</a:t>
              </a:r>
              <a:endParaRPr lang="ru-RU" sz="105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ru-RU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  <a:r>
                <a:rPr lang="en-US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r>
                <a:rPr lang="ru-RU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100" b="1" dirty="0" err="1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ас</a:t>
              </a:r>
              <a:endPara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endPara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endParaRPr lang="ru-RU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ru-RU" sz="1050" dirty="0" err="1">
                  <a:latin typeface="Arial" panose="020B0604020202020204" pitchFamily="34" charset="0"/>
                  <a:cs typeface="Arial" panose="020B0604020202020204" pitchFamily="34" charset="0"/>
                </a:rPr>
                <a:t>Қатысудың</a:t>
              </a:r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50" dirty="0" err="1">
                  <a:latin typeface="Arial" panose="020B0604020202020204" pitchFamily="34" charset="0"/>
                  <a:cs typeface="Arial" panose="020B0604020202020204" pitchFamily="34" charset="0"/>
                </a:rPr>
                <a:t>орташа</a:t>
              </a:r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50" dirty="0" err="1">
                  <a:latin typeface="Arial" panose="020B0604020202020204" pitchFamily="34" charset="0"/>
                  <a:cs typeface="Arial" panose="020B0604020202020204" pitchFamily="34" charset="0"/>
                </a:rPr>
                <a:t>еңбек</a:t>
              </a:r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50" dirty="0" err="1">
                  <a:latin typeface="Arial" panose="020B0604020202020204" pitchFamily="34" charset="0"/>
                  <a:cs typeface="Arial" panose="020B0604020202020204" pitchFamily="34" charset="0"/>
                </a:rPr>
                <a:t>өтілі</a:t>
              </a:r>
              <a:endParaRPr lang="ru-RU" sz="105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ru-RU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r>
                <a:rPr lang="en-US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1,5</a:t>
              </a:r>
              <a:r>
                <a:rPr lang="ru-RU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ай</a:t>
              </a:r>
              <a:endParaRPr lang="ru-KZ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" name="Прямая соединительная линия 19">
              <a:extLst>
                <a:ext uri="{FF2B5EF4-FFF2-40B4-BE49-F238E27FC236}">
                  <a16:creationId xmlns:a16="http://schemas.microsoft.com/office/drawing/2014/main" id="{2AFD9510-FBF1-47A3-8FB9-3F0D7FD6241F}"/>
                </a:ext>
              </a:extLst>
            </p:cNvPr>
            <p:cNvCxnSpPr/>
            <p:nvPr/>
          </p:nvCxnSpPr>
          <p:spPr>
            <a:xfrm>
              <a:off x="365760" y="3545181"/>
              <a:ext cx="1371600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Прямая соединительная линия 21">
              <a:extLst>
                <a:ext uri="{FF2B5EF4-FFF2-40B4-BE49-F238E27FC236}">
                  <a16:creationId xmlns:a16="http://schemas.microsoft.com/office/drawing/2014/main" id="{F9967DC9-CE7F-48EF-BCC7-67356FF7F5E8}"/>
                </a:ext>
              </a:extLst>
            </p:cNvPr>
            <p:cNvCxnSpPr/>
            <p:nvPr/>
          </p:nvCxnSpPr>
          <p:spPr>
            <a:xfrm>
              <a:off x="365760" y="4371951"/>
              <a:ext cx="1371600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Прямая соединительная линия 22">
              <a:extLst>
                <a:ext uri="{FF2B5EF4-FFF2-40B4-BE49-F238E27FC236}">
                  <a16:creationId xmlns:a16="http://schemas.microsoft.com/office/drawing/2014/main" id="{F1EEA254-1311-46E7-98B3-CD9934EACF92}"/>
                </a:ext>
              </a:extLst>
            </p:cNvPr>
            <p:cNvCxnSpPr/>
            <p:nvPr/>
          </p:nvCxnSpPr>
          <p:spPr>
            <a:xfrm>
              <a:off x="365760" y="5034891"/>
              <a:ext cx="1371600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Прямая соединительная линия 23">
              <a:extLst>
                <a:ext uri="{FF2B5EF4-FFF2-40B4-BE49-F238E27FC236}">
                  <a16:creationId xmlns:a16="http://schemas.microsoft.com/office/drawing/2014/main" id="{5829051D-7B43-47FF-AA43-057B936847F4}"/>
                </a:ext>
              </a:extLst>
            </p:cNvPr>
            <p:cNvCxnSpPr/>
            <p:nvPr/>
          </p:nvCxnSpPr>
          <p:spPr>
            <a:xfrm>
              <a:off x="365760" y="6132171"/>
              <a:ext cx="1371600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Прямая соединительная линия 24">
              <a:extLst>
                <a:ext uri="{FF2B5EF4-FFF2-40B4-BE49-F238E27FC236}">
                  <a16:creationId xmlns:a16="http://schemas.microsoft.com/office/drawing/2014/main" id="{8E95ECF0-C5BD-44B1-A695-80E0B4BE5A39}"/>
                </a:ext>
              </a:extLst>
            </p:cNvPr>
            <p:cNvCxnSpPr/>
            <p:nvPr/>
          </p:nvCxnSpPr>
          <p:spPr>
            <a:xfrm>
              <a:off x="365760" y="6989421"/>
              <a:ext cx="1371600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Прямая соединительная линия 25">
              <a:extLst>
                <a:ext uri="{FF2B5EF4-FFF2-40B4-BE49-F238E27FC236}">
                  <a16:creationId xmlns:a16="http://schemas.microsoft.com/office/drawing/2014/main" id="{9F372479-1000-4B79-A477-45B2FD0359E4}"/>
                </a:ext>
              </a:extLst>
            </p:cNvPr>
            <p:cNvCxnSpPr/>
            <p:nvPr/>
          </p:nvCxnSpPr>
          <p:spPr>
            <a:xfrm>
              <a:off x="365760" y="7755231"/>
              <a:ext cx="1371600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27FEB48C-ABD1-477B-AFF0-8FD00FBF64BC}"/>
              </a:ext>
            </a:extLst>
          </p:cNvPr>
          <p:cNvSpPr/>
          <p:nvPr/>
        </p:nvSpPr>
        <p:spPr>
          <a:xfrm>
            <a:off x="2873762" y="6628427"/>
            <a:ext cx="2776722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Тағайындалған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төлемдер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динамикасы</a:t>
            </a:r>
            <a:endParaRPr lang="ru-KZ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9" name="Диаграмма 28">
            <a:extLst>
              <a:ext uri="{FF2B5EF4-FFF2-40B4-BE49-F238E27FC236}">
                <a16:creationId xmlns:a16="http://schemas.microsoft.com/office/drawing/2014/main" id="{3EEA4ECA-7210-401B-8320-0804B6BAA95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57464888"/>
              </p:ext>
            </p:extLst>
          </p:nvPr>
        </p:nvGraphicFramePr>
        <p:xfrm>
          <a:off x="2529443" y="6659970"/>
          <a:ext cx="3791051" cy="17334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05007383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33C0FEFD-2C31-4F67-A725-11014549896F}"/>
              </a:ext>
            </a:extLst>
          </p:cNvPr>
          <p:cNvSpPr/>
          <p:nvPr/>
        </p:nvSpPr>
        <p:spPr>
          <a:xfrm>
            <a:off x="265020" y="751923"/>
            <a:ext cx="6450799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Еңбекке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қабілеттілігінен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айырылу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дәрежесі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бөлінісіндегі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төлем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алушылардың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үлесі</a:t>
            </a:r>
            <a:endParaRPr lang="ru-KZ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" name="Диаграмма 8">
            <a:extLst>
              <a:ext uri="{FF2B5EF4-FFF2-40B4-BE49-F238E27FC236}">
                <a16:creationId xmlns:a16="http://schemas.microsoft.com/office/drawing/2014/main" id="{00000000-0008-0000-0000-000002000000}"/>
              </a:ext>
            </a:extLst>
          </p:cNvPr>
          <p:cNvGraphicFramePr/>
          <p:nvPr>
            <p:extLst/>
          </p:nvPr>
        </p:nvGraphicFramePr>
        <p:xfrm>
          <a:off x="927661" y="1089376"/>
          <a:ext cx="4949707" cy="1969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8344A5E2-FA25-4CEF-BB09-470B6BA2F02F}"/>
              </a:ext>
            </a:extLst>
          </p:cNvPr>
          <p:cNvSpPr/>
          <p:nvPr/>
        </p:nvSpPr>
        <p:spPr>
          <a:xfrm>
            <a:off x="265020" y="3092515"/>
            <a:ext cx="625908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7621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2022-2024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дар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ытындыс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ңбекк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білеттілігін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йырыл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әрежеле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өлінісін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Теқ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ушылар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ртысын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өб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(54%)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ңбекк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білеттілігін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йырыл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дамд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30% - дан 60% -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ей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рай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220ACD4C-7F60-4328-AA6A-FA55D3C907C2}"/>
              </a:ext>
            </a:extLst>
          </p:cNvPr>
          <p:cNvSpPr/>
          <p:nvPr/>
        </p:nvSpPr>
        <p:spPr>
          <a:xfrm>
            <a:off x="164621" y="3558738"/>
            <a:ext cx="6651593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40447" algn="ctr"/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Төлем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алушылардың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жынысы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жасы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құрылымы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2024 </a:t>
            </a:r>
            <a:r>
              <a:rPr lang="ru-RU" sz="105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</a:t>
            </a:r>
            <a:r>
              <a:rPr lang="ru-RU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</a:t>
            </a:r>
            <a:endParaRPr lang="ru-KZ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5" name="Диаграмма 14">
            <a:extLst>
              <a:ext uri="{FF2B5EF4-FFF2-40B4-BE49-F238E27FC236}">
                <a16:creationId xmlns:a16="http://schemas.microsoft.com/office/drawing/2014/main" id="{21D297D9-AC17-400E-AF89-F975A92BD805}"/>
              </a:ext>
            </a:extLst>
          </p:cNvPr>
          <p:cNvGraphicFramePr/>
          <p:nvPr>
            <p:extLst/>
          </p:nvPr>
        </p:nvGraphicFramePr>
        <p:xfrm>
          <a:off x="1421328" y="3702247"/>
          <a:ext cx="4138177" cy="19541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07063FF8-A2EF-4D31-A892-B99272C13430}"/>
              </a:ext>
            </a:extLst>
          </p:cNvPr>
          <p:cNvSpPr/>
          <p:nvPr/>
        </p:nvSpPr>
        <p:spPr>
          <a:xfrm>
            <a:off x="217621" y="5441753"/>
            <a:ext cx="633917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76213" algn="just"/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ушылар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лп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нын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2024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(102 318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адам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ер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дам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үлесі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58,2%, немесе </a:t>
            </a:r>
            <a:b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59 520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дам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йе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дамдар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үлес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 41,8%, немесе 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42</a:t>
            </a:r>
            <a:r>
              <a:rPr lang="ru-RU" sz="800" b="1" dirty="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798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дам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рай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с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градация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негізгі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үлес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 (65%) 50-64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с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ралығында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ушыл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рай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95F3EDD7-F084-4D1F-BD9B-31C9847CCCF0}"/>
              </a:ext>
            </a:extLst>
          </p:cNvPr>
          <p:cNvSpPr/>
          <p:nvPr/>
        </p:nvSpPr>
        <p:spPr>
          <a:xfrm>
            <a:off x="232928" y="8278951"/>
            <a:ext cx="633917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7621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2024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ғайындал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дерд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өлше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тк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әйкес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зеңім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лыстырған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27,3%-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(47 445 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сі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60 407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еңген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ра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indent="176213" algn="just"/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н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оғар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өлше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ңбекк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білеттілігін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йырыл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әрежес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80%-дан 100%-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ға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ейін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(84 113 тенге)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ушылар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лыптас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10A2FF93-BCEA-4B03-9268-47E15577F34C}"/>
              </a:ext>
            </a:extLst>
          </p:cNvPr>
          <p:cNvSpPr/>
          <p:nvPr/>
        </p:nvSpPr>
        <p:spPr>
          <a:xfrm>
            <a:off x="106042" y="5994805"/>
            <a:ext cx="6562332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40447" algn="ctr"/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Еңбекке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қабілеттілігінен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айырылу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дәрежесі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бөлінісінде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тағайындалған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төлемдердің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мөлшерінің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динамикасы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KZ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1" name="Диаграмма 20">
            <a:extLst>
              <a:ext uri="{FF2B5EF4-FFF2-40B4-BE49-F238E27FC236}">
                <a16:creationId xmlns:a16="http://schemas.microsoft.com/office/drawing/2014/main" id="{00000000-0008-0000-0200-000002000000}"/>
              </a:ext>
            </a:extLst>
          </p:cNvPr>
          <p:cNvGraphicFramePr/>
          <p:nvPr>
            <p:extLst/>
          </p:nvPr>
        </p:nvGraphicFramePr>
        <p:xfrm>
          <a:off x="1609007" y="6244168"/>
          <a:ext cx="3950498" cy="20731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3" name="object 8">
            <a:extLst>
              <a:ext uri="{FF2B5EF4-FFF2-40B4-BE49-F238E27FC236}">
                <a16:creationId xmlns:a16="http://schemas.microsoft.com/office/drawing/2014/main" id="{B7B29BC7-57E5-4F07-B058-3EA8364F4AB9}"/>
              </a:ext>
            </a:extLst>
          </p:cNvPr>
          <p:cNvSpPr txBox="1"/>
          <p:nvPr/>
        </p:nvSpPr>
        <p:spPr>
          <a:xfrm>
            <a:off x="75615" y="74592"/>
            <a:ext cx="6576646" cy="26332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-ДАН ӘЛЕУМЕТТІК ТӨЛЕМДЕР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03CDE42A-1BC3-4A1B-85A1-53F81204234B}"/>
              </a:ext>
            </a:extLst>
          </p:cNvPr>
          <p:cNvSpPr/>
          <p:nvPr/>
        </p:nvSpPr>
        <p:spPr>
          <a:xfrm>
            <a:off x="0" y="484312"/>
            <a:ext cx="68580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ҢБЕККЕ ҚАБІЛЕТТІЛІГІНЕН АЙЫРЫЛУ ЖАҒДАЙЫ БОЙЫНША ӘЛЕУМЕТТІК ТӨЛЕМ</a:t>
            </a:r>
          </a:p>
        </p:txBody>
      </p: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C8E83374-AEAA-486B-9A7A-4BCC1DB9D005}"/>
              </a:ext>
            </a:extLst>
          </p:cNvPr>
          <p:cNvCxnSpPr>
            <a:cxnSpLocks/>
          </p:cNvCxnSpPr>
          <p:nvPr/>
        </p:nvCxnSpPr>
        <p:spPr>
          <a:xfrm>
            <a:off x="265020" y="337912"/>
            <a:ext cx="6185778" cy="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7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0494" y="882137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8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45285" y="8818245"/>
            <a:ext cx="381295" cy="314325"/>
          </a:xfrm>
        </p:spPr>
        <p:txBody>
          <a:bodyPr/>
          <a:lstStyle/>
          <a:p>
            <a:r>
              <a:rPr lang="kk-KZ" b="1" dirty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7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72043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BB896BB9-8EAA-42CF-8531-ED5D83DC1700}"/>
              </a:ext>
            </a:extLst>
          </p:cNvPr>
          <p:cNvSpPr/>
          <p:nvPr/>
        </p:nvSpPr>
        <p:spPr>
          <a:xfrm>
            <a:off x="1931618" y="768577"/>
            <a:ext cx="4669801" cy="54168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76213" algn="just"/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сыраушысын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йырыл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ғдай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МӘСҚ-дан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ленеті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сыраушысын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йырыл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еспубликалық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бюджет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себіне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ленеті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рдемақығ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осымш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ғайындалад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</a:p>
          <a:p>
            <a:pPr indent="176213" algn="just"/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індетт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йесін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тысушыны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йтыс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лғ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сот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ойындаған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хабар-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шарсыз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еткен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немесе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йтыс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лды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еп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рияланған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сыраушысыны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сырауынд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лғ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тбас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үшелерінд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ұқығ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л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йтыс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лғ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үнне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стап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оны хабар-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шарсыз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етті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еп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ну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немесе оны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йтыс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лды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еп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риялау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уралы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сот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шешімінде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өрсетілген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үннен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стап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уындайд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pPr indent="176213" algn="just"/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өлшер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бысты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рны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олтыр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оэффициенттері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60% немесе 0,6),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сырауындағ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дамдарды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ны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йег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тыс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тілі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скер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тырып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оңғ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д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ударымдар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ргізілге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йтыс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лғ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сыраушысыны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бысын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йланыст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лад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pPr indent="176213" algn="just"/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йтыс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лғ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сыраушыны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тбас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үшелеріне-міндетт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йесін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тысушығ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</a:t>
            </a:r>
          </a:p>
          <a:p>
            <a:pPr indent="180975" algn="just">
              <a:buFontTx/>
              <a:buChar char="-"/>
            </a:pP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гер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он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егіз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сқа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олғанға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ейін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үгедек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лып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лса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он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егіз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сқа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олмаған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лаларға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ның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ішінде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сырап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лынған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лаларға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он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егіз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сқа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олмаған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ғайындыларға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пкелер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мен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мерелерг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ұл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етте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ғайындылар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пкелер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мен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мерелер-егер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лардың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ңбекке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білетті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та-аналары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лмаса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немесе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та-аналарынан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лимент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лмаса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r>
              <a:rPr lang="ru-RU" sz="8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зеге</a:t>
            </a:r>
            <a:r>
              <a:rPr lang="ru-RU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сырылады</a:t>
            </a:r>
            <a:r>
              <a:rPr lang="ru-RU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lang="ru-RU" sz="1200" i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рта,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ехникалық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әсіптік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орта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ілімне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ейінг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оғар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немесе)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оғар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қ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рнын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ейінг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ілім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беру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ұйымдарынд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үндізг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қ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ысан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ілім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латы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немесе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қиты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он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егіз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ст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сқ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талғ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дамдарды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қ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ітірге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уақытқ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ейі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ірақ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</a:p>
          <a:p>
            <a:pPr indent="180975" algn="just"/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гер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л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үш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сқа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олмаған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йтыс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лғ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сыраушысыны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сот хабар-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шарсыз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еткен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еп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ныған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немесе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йтыс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лды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еп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риялаған</a:t>
            </a:r>
            <a:r>
              <a:rPr lang="ru-RU" sz="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лалары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уырлары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немесе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мерелері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үтумен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йналысс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та-анасыны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немесе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ұбайыны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не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тасыны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жесіні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ғасыны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немесе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пкесіні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сын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ңбекк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білеттілігін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амаст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іреуін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3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сқа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олғанға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ейін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лемдерді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ғайындауға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луға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ұқығы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бар.</a:t>
            </a:r>
            <a:endParaRPr lang="ru-RU" sz="10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76213" algn="just">
              <a:tabLst>
                <a:tab pos="0" algn="l"/>
              </a:tabLst>
            </a:pP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24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сыраушысын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йырылғ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altLang="en-US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Impact"/>
              </a:rPr>
              <a:t>60,4 </a:t>
            </a:r>
            <a:r>
              <a:rPr lang="ru-RU" altLang="en-US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Impact"/>
              </a:rPr>
              <a:t>мың</a:t>
            </a:r>
            <a:r>
              <a:rPr lang="ru-RU" altLang="en-US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Impact"/>
              </a:rPr>
              <a:t> </a:t>
            </a:r>
            <a:r>
              <a:rPr lang="ru-RU" altLang="en-US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Impact"/>
              </a:rPr>
              <a:t>отбасына</a:t>
            </a:r>
            <a:r>
              <a:rPr lang="ru-RU" altLang="en-US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Impact"/>
              </a:rPr>
              <a:t> </a:t>
            </a:r>
            <a:r>
              <a:rPr lang="ru-RU" altLang="en-US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Impact"/>
              </a:rPr>
              <a:t>төлем</a:t>
            </a:r>
            <a:r>
              <a:rPr lang="ru-RU" altLang="en-US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Impact"/>
              </a:rPr>
              <a:t> </a:t>
            </a:r>
            <a:r>
              <a:rPr lang="ru-RU" altLang="en-US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Impact"/>
              </a:rPr>
              <a:t>мөлшері</a:t>
            </a:r>
            <a:r>
              <a:rPr lang="ru-RU" altLang="en-US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Impact"/>
              </a:rPr>
              <a:t> 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-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сті</a:t>
            </a:r>
            <a:r>
              <a:rPr lang="ru-RU" altLang="en-US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Impact"/>
              </a:rPr>
              <a:t>.</a:t>
            </a:r>
            <a:endParaRPr lang="ru-RU" sz="10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object 8">
            <a:extLst>
              <a:ext uri="{FF2B5EF4-FFF2-40B4-BE49-F238E27FC236}">
                <a16:creationId xmlns:a16="http://schemas.microsoft.com/office/drawing/2014/main" id="{B8C536D6-6BDB-4752-B266-92EB4E756C4C}"/>
              </a:ext>
            </a:extLst>
          </p:cNvPr>
          <p:cNvSpPr txBox="1"/>
          <p:nvPr/>
        </p:nvSpPr>
        <p:spPr>
          <a:xfrm>
            <a:off x="75615" y="74592"/>
            <a:ext cx="6576646" cy="26332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-ДАН ӘЛЕУМЕТТІК ТӨЛЕМДЕР</a:t>
            </a: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112BFA38-C985-41B6-82D3-BE45D6828C43}"/>
              </a:ext>
            </a:extLst>
          </p:cNvPr>
          <p:cNvSpPr/>
          <p:nvPr/>
        </p:nvSpPr>
        <p:spPr>
          <a:xfrm>
            <a:off x="0" y="445460"/>
            <a:ext cx="645079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АУШЫСЫНАН АЙЫРЫЛУ ЖАҒДАЙЫ БОЙЫНША ӘЛЕУМЕТТІК ТӨЛЕМ</a:t>
            </a:r>
          </a:p>
        </p:txBody>
      </p:sp>
      <p:cxnSp>
        <p:nvCxnSpPr>
          <p:cNvPr id="42" name="Прямая соединительная линия 41">
            <a:extLst>
              <a:ext uri="{FF2B5EF4-FFF2-40B4-BE49-F238E27FC236}">
                <a16:creationId xmlns:a16="http://schemas.microsoft.com/office/drawing/2014/main" id="{2CBC585F-20C7-419F-97B4-AC451A883E2D}"/>
              </a:ext>
            </a:extLst>
          </p:cNvPr>
          <p:cNvCxnSpPr>
            <a:cxnSpLocks/>
          </p:cNvCxnSpPr>
          <p:nvPr/>
        </p:nvCxnSpPr>
        <p:spPr>
          <a:xfrm>
            <a:off x="262890" y="337912"/>
            <a:ext cx="6270965" cy="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28F98593-C7BA-460C-A7DE-CA3D45AD98C7}"/>
              </a:ext>
            </a:extLst>
          </p:cNvPr>
          <p:cNvSpPr/>
          <p:nvPr/>
        </p:nvSpPr>
        <p:spPr>
          <a:xfrm>
            <a:off x="21244" y="783585"/>
            <a:ext cx="1982460" cy="836041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лушылар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саны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67 873 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дам</a:t>
            </a:r>
            <a:endParaRPr lang="ru-RU" sz="1100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endParaRPr lang="ru-RU" sz="1100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endParaRPr lang="ru-KZ" sz="105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ңа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ғайындаулар</a:t>
            </a:r>
            <a:endParaRPr lang="ru-RU" sz="105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саны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882 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ам</a:t>
            </a:r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KZ" sz="105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өлемі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3,8 млрд. 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5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Т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ғайындау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еңінде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керілген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лық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ыс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kk-KZ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3 мың теңге</a:t>
            </a:r>
          </a:p>
          <a:p>
            <a:pPr algn="ctr"/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endParaRPr lang="ru-RU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лшем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мдер</a:t>
            </a:r>
            <a:endParaRPr lang="ru-RU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4 772 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ушының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сы</a:t>
            </a:r>
            <a:endParaRPr lang="ru-RU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2 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с</a:t>
            </a:r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тысудың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ілі</a:t>
            </a:r>
            <a:endParaRPr lang="ru-RU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33,5 ай</a:t>
            </a:r>
            <a:endParaRPr lang="ru-KZ" sz="1050" b="1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pic>
        <p:nvPicPr>
          <p:cNvPr id="44" name="Рисунок 43">
            <a:extLst>
              <a:ext uri="{FF2B5EF4-FFF2-40B4-BE49-F238E27FC236}">
                <a16:creationId xmlns:a16="http://schemas.microsoft.com/office/drawing/2014/main" id="{CC300767-C5D5-4BE4-BF68-EA073F5778A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502866" y="1109703"/>
            <a:ext cx="796902" cy="1077710"/>
          </a:xfrm>
          <a:prstGeom prst="rect">
            <a:avLst/>
          </a:prstGeom>
        </p:spPr>
      </p:pic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725B6430-F649-433A-9196-2043DF80CE58}"/>
              </a:ext>
            </a:extLst>
          </p:cNvPr>
          <p:cNvSpPr/>
          <p:nvPr/>
        </p:nvSpPr>
        <p:spPr>
          <a:xfrm>
            <a:off x="2413683" y="5952046"/>
            <a:ext cx="3777756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Алушылардың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динамикасы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және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төлем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сомалары</a:t>
            </a:r>
            <a:endParaRPr lang="ru-RU" sz="1050" i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  <a:sym typeface="Impact"/>
            </a:endParaRPr>
          </a:p>
        </p:txBody>
      </p:sp>
      <p:graphicFrame>
        <p:nvGraphicFramePr>
          <p:cNvPr id="46" name="Диаграмма 45">
            <a:extLst>
              <a:ext uri="{FF2B5EF4-FFF2-40B4-BE49-F238E27FC236}">
                <a16:creationId xmlns:a16="http://schemas.microsoft.com/office/drawing/2014/main" id="{0F202862-A539-4EF7-B507-2AEFA9BDEA70}"/>
              </a:ext>
            </a:extLst>
          </p:cNvPr>
          <p:cNvGraphicFramePr/>
          <p:nvPr>
            <p:extLst/>
          </p:nvPr>
        </p:nvGraphicFramePr>
        <p:xfrm>
          <a:off x="2428482" y="6256490"/>
          <a:ext cx="3777755" cy="19604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1268B27E-BEAC-4F7D-9446-6A09D691F723}"/>
              </a:ext>
            </a:extLst>
          </p:cNvPr>
          <p:cNvSpPr/>
          <p:nvPr/>
        </p:nvSpPr>
        <p:spPr>
          <a:xfrm>
            <a:off x="2003705" y="8354018"/>
            <a:ext cx="456854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үй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олданысқ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нг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2005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ылда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стап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дерді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лп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сомасы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4,3 млрд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ген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ад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лушыла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саны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4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г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ст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0494" y="882137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33855" y="8818245"/>
            <a:ext cx="381295" cy="314325"/>
          </a:xfrm>
        </p:spPr>
        <p:txBody>
          <a:bodyPr/>
          <a:lstStyle/>
          <a:p>
            <a:r>
              <a:rPr lang="kk-KZ" b="1" dirty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8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8DB2ACFB-0E7B-4E31-BBDA-F9B21D0974E7}"/>
              </a:ext>
            </a:extLst>
          </p:cNvPr>
          <p:cNvCxnSpPr>
            <a:cxnSpLocks/>
          </p:cNvCxnSpPr>
          <p:nvPr/>
        </p:nvCxnSpPr>
        <p:spPr>
          <a:xfrm>
            <a:off x="344042" y="3156501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AE2CC8E4-7D9A-4761-A42A-A122855011DB}"/>
              </a:ext>
            </a:extLst>
          </p:cNvPr>
          <p:cNvCxnSpPr>
            <a:cxnSpLocks/>
          </p:cNvCxnSpPr>
          <p:nvPr/>
        </p:nvCxnSpPr>
        <p:spPr>
          <a:xfrm>
            <a:off x="344042" y="3968031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66D74113-386F-4112-A847-CBF13C4D798A}"/>
              </a:ext>
            </a:extLst>
          </p:cNvPr>
          <p:cNvCxnSpPr>
            <a:cxnSpLocks/>
          </p:cNvCxnSpPr>
          <p:nvPr/>
        </p:nvCxnSpPr>
        <p:spPr>
          <a:xfrm>
            <a:off x="344042" y="4653831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E1437D45-D636-4236-B96E-36AEC60522CA}"/>
              </a:ext>
            </a:extLst>
          </p:cNvPr>
          <p:cNvCxnSpPr>
            <a:cxnSpLocks/>
          </p:cNvCxnSpPr>
          <p:nvPr/>
        </p:nvCxnSpPr>
        <p:spPr>
          <a:xfrm>
            <a:off x="344042" y="5773971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4141BD7B-66B8-4361-9F1E-4B4B6AFAA8CD}"/>
              </a:ext>
            </a:extLst>
          </p:cNvPr>
          <p:cNvCxnSpPr>
            <a:cxnSpLocks/>
          </p:cNvCxnSpPr>
          <p:nvPr/>
        </p:nvCxnSpPr>
        <p:spPr>
          <a:xfrm>
            <a:off x="344042" y="6619791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67A6E076-6ECA-421E-B6CD-2FDF682FEE5E}"/>
              </a:ext>
            </a:extLst>
          </p:cNvPr>
          <p:cNvCxnSpPr>
            <a:cxnSpLocks/>
          </p:cNvCxnSpPr>
          <p:nvPr/>
        </p:nvCxnSpPr>
        <p:spPr>
          <a:xfrm>
            <a:off x="344042" y="7385601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935539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33ED4221-2858-4FF7-9860-B58C533B6253}"/>
              </a:ext>
            </a:extLst>
          </p:cNvPr>
          <p:cNvSpPr/>
          <p:nvPr/>
        </p:nvSpPr>
        <p:spPr>
          <a:xfrm>
            <a:off x="99654" y="865905"/>
            <a:ext cx="6552607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40447" algn="ctr"/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ауындағы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дамдар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саны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ушылардың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намикасы</a:t>
            </a:r>
            <a:endParaRPr lang="ru-KZ" sz="105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1" name="Диаграмма 40">
            <a:extLst>
              <a:ext uri="{FF2B5EF4-FFF2-40B4-BE49-F238E27FC236}">
                <a16:creationId xmlns:a16="http://schemas.microsoft.com/office/drawing/2014/main" id="{50A7EF82-0DF5-4A25-9BF5-2C3C9E8B1F07}"/>
              </a:ext>
            </a:extLst>
          </p:cNvPr>
          <p:cNvGraphicFramePr/>
          <p:nvPr>
            <p:extLst/>
          </p:nvPr>
        </p:nvGraphicFramePr>
        <p:xfrm>
          <a:off x="1094391" y="1291367"/>
          <a:ext cx="4370646" cy="21869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F3FAECCE-B0C1-4C41-A898-312C0745AEA9}"/>
              </a:ext>
            </a:extLst>
          </p:cNvPr>
          <p:cNvSpPr/>
          <p:nvPr/>
        </p:nvSpPr>
        <p:spPr>
          <a:xfrm>
            <a:off x="278986" y="3478293"/>
            <a:ext cx="589560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/>
            <a:r>
              <a:rPr lang="kk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Таа</a:t>
            </a:r>
            <a:r>
              <a:rPr lang="en-US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лушыларыны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негізгі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үлесі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і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сырауындағым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54,1% )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лушыла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ұрай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  <a:r>
              <a:rPr lang="ru-RU" sz="1000" strike="sngStrike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4C1BEC2E-3F5D-4D77-AC5E-089B0C8124DE}"/>
              </a:ext>
            </a:extLst>
          </p:cNvPr>
          <p:cNvSpPr/>
          <p:nvPr/>
        </p:nvSpPr>
        <p:spPr>
          <a:xfrm>
            <a:off x="780093" y="4608028"/>
            <a:ext cx="5191727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40447" algn="ctr"/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ушылар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саны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өлінісіндегі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ғайындалған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інің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таша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өлшері</a:t>
            </a:r>
            <a:endParaRPr lang="ru-KZ" sz="105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2" name="Диаграмма 41">
            <a:extLst>
              <a:ext uri="{FF2B5EF4-FFF2-40B4-BE49-F238E27FC236}">
                <a16:creationId xmlns:a16="http://schemas.microsoft.com/office/drawing/2014/main" id="{DFB8FC09-0D74-4FA6-9B04-C0B2CAF12621}"/>
              </a:ext>
            </a:extLst>
          </p:cNvPr>
          <p:cNvGraphicFramePr/>
          <p:nvPr>
            <p:extLst/>
          </p:nvPr>
        </p:nvGraphicFramePr>
        <p:xfrm>
          <a:off x="1262839" y="5023526"/>
          <a:ext cx="4202198" cy="24170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71361229-FA80-4925-867D-310D23DFB3A3}"/>
              </a:ext>
            </a:extLst>
          </p:cNvPr>
          <p:cNvSpPr/>
          <p:nvPr/>
        </p:nvSpPr>
        <p:spPr>
          <a:xfrm>
            <a:off x="383225" y="7524213"/>
            <a:ext cx="619578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сеп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зең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ғайындал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Та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өлше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64 772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еңген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рай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ұ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2023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м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лыстырған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25,6%-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оғар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51 574 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</a:p>
          <a:p>
            <a:pPr indent="180975" algn="just"/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ғайындал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дерд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оғар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өлше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4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д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да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ө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сырауында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ушылар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лыптас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– 104 733 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DFB1B024-B1C3-408B-A960-B96E4A8DF6A3}"/>
              </a:ext>
            </a:extLst>
          </p:cNvPr>
          <p:cNvSpPr/>
          <p:nvPr/>
        </p:nvSpPr>
        <p:spPr>
          <a:xfrm>
            <a:off x="278987" y="3701021"/>
            <a:ext cx="6195788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ұза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ерзім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луын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йланыс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ғымда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ушылар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ң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ушыл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сылы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тыра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Та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әмелетт</a:t>
            </a:r>
            <a:r>
              <a:rPr lang="kk-KZ" sz="1000" dirty="0">
                <a:latin typeface="Arial" panose="020B0604020202020204" pitchFamily="34" charset="0"/>
                <a:cs typeface="Arial" panose="020B0604020202020204" pitchFamily="34" charset="0"/>
              </a:rPr>
              <a:t>ік жасқ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олған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ей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ал к</a:t>
            </a:r>
            <a:r>
              <a:rPr lang="kk-KZ" sz="1000" dirty="0">
                <a:latin typeface="Arial" panose="020B0604020202020204" pitchFamily="34" charset="0"/>
                <a:cs typeface="Arial" panose="020B0604020202020204" pitchFamily="34" charset="0"/>
              </a:rPr>
              <a:t>үндізгі оқу нысанында оқыған жағдайда - 23 жасқа дейін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ғайындалады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object 8">
            <a:extLst>
              <a:ext uri="{FF2B5EF4-FFF2-40B4-BE49-F238E27FC236}">
                <a16:creationId xmlns:a16="http://schemas.microsoft.com/office/drawing/2014/main" id="{ACDD819E-5DE4-435F-862F-ADD4E2D0FDF9}"/>
              </a:ext>
            </a:extLst>
          </p:cNvPr>
          <p:cNvSpPr txBox="1"/>
          <p:nvPr/>
        </p:nvSpPr>
        <p:spPr>
          <a:xfrm>
            <a:off x="75615" y="74592"/>
            <a:ext cx="6576646" cy="26332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-ДАН ӘЛЕУМЕТТІК ТӨЛЕМДЕР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823DD733-F1FF-4248-BAE8-4C567F248259}"/>
              </a:ext>
            </a:extLst>
          </p:cNvPr>
          <p:cNvSpPr/>
          <p:nvPr/>
        </p:nvSpPr>
        <p:spPr>
          <a:xfrm>
            <a:off x="7152" y="542096"/>
            <a:ext cx="645079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АУШЫСЫНАН АЙЫРЫЛУ ЖАҒДАЙЫ БОЙЫНША ӘЛЕУМЕТТІК ТӨЛЕМ</a:t>
            </a:r>
          </a:p>
        </p:txBody>
      </p: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id="{61D701F5-B936-4B79-AD96-3603F8EB5CC7}"/>
              </a:ext>
            </a:extLst>
          </p:cNvPr>
          <p:cNvCxnSpPr>
            <a:cxnSpLocks/>
          </p:cNvCxnSpPr>
          <p:nvPr/>
        </p:nvCxnSpPr>
        <p:spPr>
          <a:xfrm>
            <a:off x="194310" y="337912"/>
            <a:ext cx="6384703" cy="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4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0494" y="882137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E246863-EE22-46C9-A797-2EECA3CE90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83234" y="8720219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19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36388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8">
            <a:extLst>
              <a:ext uri="{FF2B5EF4-FFF2-40B4-BE49-F238E27FC236}">
                <a16:creationId xmlns:a16="http://schemas.microsoft.com/office/drawing/2014/main" id="{F5673190-FC8E-440E-AB9F-828A242C4BD3}"/>
              </a:ext>
            </a:extLst>
          </p:cNvPr>
          <p:cNvSpPr txBox="1"/>
          <p:nvPr/>
        </p:nvSpPr>
        <p:spPr>
          <a:xfrm>
            <a:off x="289819" y="136653"/>
            <a:ext cx="5830775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АЗМҰНЫ</a:t>
            </a:r>
            <a:endParaRPr lang="ru-RU" sz="1600" i="1" spc="20" dirty="0">
              <a:solidFill>
                <a:srgbClr val="00206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9006455"/>
              </p:ext>
            </p:extLst>
          </p:nvPr>
        </p:nvGraphicFramePr>
        <p:xfrm>
          <a:off x="230608" y="584096"/>
          <a:ext cx="5949195" cy="735311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577697">
                  <a:extLst>
                    <a:ext uri="{9D8B030D-6E8A-4147-A177-3AD203B41FA5}">
                      <a16:colId xmlns:a16="http://schemas.microsoft.com/office/drawing/2014/main" val="1493308568"/>
                    </a:ext>
                  </a:extLst>
                </a:gridCol>
                <a:gridCol w="371498">
                  <a:extLst>
                    <a:ext uri="{9D8B030D-6E8A-4147-A177-3AD203B41FA5}">
                      <a16:colId xmlns:a16="http://schemas.microsoft.com/office/drawing/2014/main" val="254692265"/>
                    </a:ext>
                  </a:extLst>
                </a:gridCol>
              </a:tblGrid>
              <a:tr h="34952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мпания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уралы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7451352"/>
                  </a:ext>
                </a:extLst>
              </a:tr>
              <a:tr h="34952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4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ылдың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сты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қиғалары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9262695"/>
                  </a:ext>
                </a:extLst>
              </a:tr>
              <a:tr h="34952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иректорлар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еңесі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өрағасының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үндеуі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9229246"/>
                  </a:ext>
                </a:extLst>
              </a:tr>
              <a:tr h="34952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ӘСҚ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сқарма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өрағасының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үндеуі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5128845"/>
                  </a:ext>
                </a:extLst>
              </a:tr>
              <a:tr h="34952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ӘСҚ-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ың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024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ылға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рналған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Даму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оспарының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негізгі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өрсеткіштерін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рындау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7427254"/>
                  </a:ext>
                </a:extLst>
              </a:tr>
              <a:tr h="34952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ұмыспен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амтылған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алықты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індетті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әлеуметтік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қтандыру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үйесімен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амту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өрсеткіші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0681146"/>
                  </a:ext>
                </a:extLst>
              </a:tr>
              <a:tr h="34952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ӘСҚ-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ға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әлеуметтік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ударымдар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3728770"/>
                  </a:ext>
                </a:extLst>
              </a:tr>
              <a:tr h="34952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ӘСҚ-дан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әлеуметтік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өлемдер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9512845"/>
                  </a:ext>
                </a:extLst>
              </a:tr>
              <a:tr h="411017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ӘСҚ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млекеттік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зметтері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млекеттік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зметтер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өрсетуде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ифрлық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ешімдерді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мыту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6084895"/>
                  </a:ext>
                </a:extLst>
              </a:tr>
              <a:tr h="38836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қпараттық-түсіндіру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ұмыстары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831326"/>
                  </a:ext>
                </a:extLst>
              </a:tr>
              <a:tr h="34952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заматтардың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олданымдарын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арау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78395327"/>
                  </a:ext>
                </a:extLst>
              </a:tr>
              <a:tr h="34952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лап-арыз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ұмысы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6536731"/>
                  </a:ext>
                </a:extLst>
              </a:tr>
              <a:tr h="34952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рпоративтік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сқару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1725926"/>
                  </a:ext>
                </a:extLst>
              </a:tr>
              <a:tr h="34952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мплаенс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қылау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ыбайлас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емқорлыққа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арсы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іс-қимыл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3740895"/>
                  </a:ext>
                </a:extLst>
              </a:tr>
              <a:tr h="34952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аржылық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өрсеткіштер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8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1775959"/>
                  </a:ext>
                </a:extLst>
              </a:tr>
              <a:tr h="34952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ӘСҚ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вестициялық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зметі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6250031"/>
                  </a:ext>
                </a:extLst>
              </a:tr>
              <a:tr h="332068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  <a:tabLst>
                          <a:tab pos="5654675" algn="l"/>
                        </a:tabLst>
                      </a:pPr>
                      <a:r>
                        <a:rPr lang="ru-RU" sz="1000" kern="1600" baseline="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млекеттік</a:t>
                      </a:r>
                      <a:r>
                        <a:rPr lang="ru-RU" sz="1000" kern="160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600" baseline="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тып</a:t>
                      </a:r>
                      <a:r>
                        <a:rPr lang="ru-RU" sz="1000" kern="160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600" baseline="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лу</a:t>
                      </a:r>
                      <a:r>
                        <a:rPr lang="ru-RU" sz="1000" kern="160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600" baseline="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әжірибесі</a:t>
                      </a:r>
                      <a:endParaRPr lang="ru-RU" sz="1000" kern="1600" baseline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84138"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</a:t>
                      </a:r>
                    </a:p>
                    <a:p>
                      <a:pPr algn="r">
                        <a:spcAft>
                          <a:spcPts val="0"/>
                        </a:spcAft>
                      </a:pP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3097148"/>
                  </a:ext>
                </a:extLst>
              </a:tr>
              <a:tr h="332068">
                <a:tc>
                  <a:txBody>
                    <a:bodyPr/>
                    <a:lstStyle/>
                    <a:p>
                      <a:pPr marL="5427663" indent="-5427663" defTabSz="693738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5197475" algn="l"/>
                          <a:tab pos="5557838" algn="l"/>
                        </a:tabLst>
                      </a:pPr>
                      <a:r>
                        <a:rPr lang="ru-RU" sz="1000" kern="1600" baseline="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әуекелдерді</a:t>
                      </a:r>
                      <a:r>
                        <a:rPr lang="ru-RU" sz="1000" kern="160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600" baseline="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сқару</a:t>
                      </a:r>
                      <a:r>
                        <a:rPr lang="ru-RU" sz="1000" kern="160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600" baseline="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үйесі</a:t>
                      </a:r>
                      <a:endParaRPr lang="ru-RU" sz="1000" kern="1600" baseline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kk-KZ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1</a:t>
                      </a:r>
                      <a:endParaRPr lang="ru-RU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1997846"/>
                  </a:ext>
                </a:extLst>
              </a:tr>
              <a:tr h="332068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600" baseline="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Орнықты</a:t>
                      </a:r>
                      <a:r>
                        <a:rPr lang="ru-RU" sz="1000" kern="160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600" baseline="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дамудың</a:t>
                      </a:r>
                      <a:r>
                        <a:rPr lang="ru-RU" sz="1000" kern="160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600" baseline="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басқару</a:t>
                      </a:r>
                      <a:r>
                        <a:rPr lang="ru-RU" sz="1000" kern="160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600" baseline="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жүйесі</a:t>
                      </a:r>
                      <a:endParaRPr lang="ru-RU" sz="1000" kern="1600" baseline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kk-KZ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3</a:t>
                      </a:r>
                      <a:endParaRPr lang="ru-RU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5623970"/>
                  </a:ext>
                </a:extLst>
              </a:tr>
              <a:tr h="332068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0"/>
                        </a:spcAft>
                        <a:tabLst/>
                      </a:pPr>
                      <a:r>
                        <a:rPr lang="ru-RU" sz="1000" kern="1600" baseline="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дрлық</a:t>
                      </a:r>
                      <a:r>
                        <a:rPr lang="ru-RU" sz="1000" kern="160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600" baseline="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әлеует</a:t>
                      </a:r>
                      <a:r>
                        <a:rPr lang="ru-RU" sz="1000" kern="160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Адами </a:t>
                      </a:r>
                      <a:r>
                        <a:rPr lang="ru-RU" sz="1000" kern="1600" baseline="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питалын</a:t>
                      </a:r>
                      <a:r>
                        <a:rPr lang="ru-RU" sz="1000" kern="160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600" baseline="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мыту</a:t>
                      </a:r>
                      <a:endParaRPr lang="ru-RU" sz="1000" kern="1600" baseline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kk-KZ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</a:t>
                      </a:r>
                    </a:p>
                    <a:p>
                      <a:pPr marL="0" algn="r" defTabSz="685800" rtl="0" eaLnBrk="1" latinLnBrk="0" hangingPunct="1">
                        <a:spcAft>
                          <a:spcPts val="0"/>
                        </a:spcAft>
                      </a:pPr>
                      <a:endParaRPr lang="ru-RU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2662898"/>
                  </a:ext>
                </a:extLst>
              </a:tr>
              <a:tr h="332068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000" kern="1600" baseline="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алықаралық</a:t>
                      </a:r>
                      <a:r>
                        <a:rPr lang="ru-RU" sz="1000" kern="160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600" baseline="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ынтымақтастық</a:t>
                      </a:r>
                      <a:endParaRPr lang="ru-RU" sz="1000" kern="1600" baseline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</a:p>
                  </a:txBody>
                  <a:tcPr marL="61436" marR="6143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7431839"/>
                  </a:ext>
                </a:extLst>
              </a:tr>
            </a:tbl>
          </a:graphicData>
        </a:graphic>
      </p:graphicFrame>
      <p:sp>
        <p:nvSpPr>
          <p:cNvPr id="9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0567" y="8787241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5D6FC985-4255-4897-9536-5358ADADF8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49069" y="8680457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2</a:t>
            </a:fld>
            <a:endParaRPr lang="en-US" b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F90D0DD1-44A6-4910-AEE0-2488CA3DB317}"/>
              </a:ext>
            </a:extLst>
          </p:cNvPr>
          <p:cNvCxnSpPr>
            <a:cxnSpLocks/>
          </p:cNvCxnSpPr>
          <p:nvPr/>
        </p:nvCxnSpPr>
        <p:spPr>
          <a:xfrm>
            <a:off x="289819" y="483993"/>
            <a:ext cx="5540950" cy="16083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707789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0494" y="882137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22425" y="8806815"/>
            <a:ext cx="381295" cy="314325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/>
              <a:t>20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4BA1AA09-B2F0-43FC-81BD-EF23A502FD2A}"/>
              </a:ext>
            </a:extLst>
          </p:cNvPr>
          <p:cNvSpPr/>
          <p:nvPr/>
        </p:nvSpPr>
        <p:spPr>
          <a:xfrm>
            <a:off x="1989332" y="897727"/>
            <a:ext cx="4487374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2563" algn="just"/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ӘСҚ-дан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ұмысынан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йырылу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ғдайы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лем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індетті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йесіне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тысушыға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леуметтік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одекск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әйкес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ансап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рталығынд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ұмыссыз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етінд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іркелге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үнне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стап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ж</a:t>
            </a:r>
            <a:r>
              <a:rPr lang="kk-KZ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не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ұмыст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сат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ебептерін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амаст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электрондық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үкімет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</a:t>
            </a:r>
            <a:r>
              <a:rPr lang="en-US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gov.kz) 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месе «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электрондық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ңбек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иржас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» (</a:t>
            </a:r>
            <a:r>
              <a:rPr lang="en-US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nbek.kz)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рталдар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рқыл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ғайындалад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pPr indent="182563" algn="just"/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өлшер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оңғ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ішінд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ударымдар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ргізілге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йег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тысушыны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бысын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йеге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тысу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тіліне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ірісті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уыстыру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оэффициентіне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45% немесе 0,45)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йланыст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лады</a:t>
            </a:r>
            <a:r>
              <a:rPr lang="ru-RU" sz="10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6823E8CB-96C8-4872-AD7F-5B22F74E4F39}"/>
              </a:ext>
            </a:extLst>
          </p:cNvPr>
          <p:cNvSpPr/>
          <p:nvPr/>
        </p:nvSpPr>
        <p:spPr>
          <a:xfrm>
            <a:off x="2242483" y="2655811"/>
            <a:ext cx="4409778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ушылар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нының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маларының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намикасы</a:t>
            </a:r>
            <a:endParaRPr lang="ru-KZ" sz="105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5" name="Диаграмма 34">
            <a:extLst>
              <a:ext uri="{FF2B5EF4-FFF2-40B4-BE49-F238E27FC236}">
                <a16:creationId xmlns:a16="http://schemas.microsoft.com/office/drawing/2014/main" id="{A713A9A0-90CE-442F-B0DB-092826D2D4B5}"/>
              </a:ext>
            </a:extLst>
          </p:cNvPr>
          <p:cNvGraphicFramePr/>
          <p:nvPr>
            <p:extLst/>
          </p:nvPr>
        </p:nvGraphicFramePr>
        <p:xfrm>
          <a:off x="2242483" y="3088758"/>
          <a:ext cx="4024242" cy="27954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990A2A05-DB6A-45FA-ABB3-A1E818BA1F0C}"/>
              </a:ext>
            </a:extLst>
          </p:cNvPr>
          <p:cNvSpPr/>
          <p:nvPr/>
        </p:nvSpPr>
        <p:spPr>
          <a:xfrm>
            <a:off x="2115239" y="5898723"/>
            <a:ext cx="4408857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24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ұмысын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йырыл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лемдерд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лп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сомасы 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88,3 млрд.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еңгег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94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ыңға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уық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дам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лд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ұл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023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өрсеткіштерде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1,8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с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оғар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r>
              <a:rPr lang="en-US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септ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езеңд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ғайындалғ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лемдер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ныны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6,8%-ге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йтарлықтай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скені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тап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тке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ө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лықты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қпараттық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уаттылығы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рттыр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электрондық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ызметтерді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олжетімділігі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т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ұрғындар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расынд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елсенд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қпараттық-түсіндір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ұмыстары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ргіз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йег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тысуды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ртықшылықтар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лықты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бардар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луы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рттыруғ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ықпал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тт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ргізіліп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тқ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ұмысты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рқасынд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йы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ұмысын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йырылғ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ғдайд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осымш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орғауғ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ұқығ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бар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дамдар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саны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ртып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елед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 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24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ды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орытындыс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ұмыссыз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лықт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лемме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мт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 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66%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ұра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ұл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2023 (50%)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 2022 (24%)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ылдағ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өрсеткіштерд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оғар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(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ұмыссыз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халы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: 2022ж. – 458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ы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дам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2023ж. – 446 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ы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дам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2024ж. – 448,3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ы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дам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.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0975" algn="just"/>
            <a:endParaRPr lang="ru-KZ" sz="1000" dirty="0">
              <a:solidFill>
                <a:srgbClr val="FF000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30" name="object 8">
            <a:extLst>
              <a:ext uri="{FF2B5EF4-FFF2-40B4-BE49-F238E27FC236}">
                <a16:creationId xmlns:a16="http://schemas.microsoft.com/office/drawing/2014/main" id="{EB80AE68-51BB-40A1-9574-BE0E82CCC9D9}"/>
              </a:ext>
            </a:extLst>
          </p:cNvPr>
          <p:cNvSpPr txBox="1"/>
          <p:nvPr/>
        </p:nvSpPr>
        <p:spPr>
          <a:xfrm>
            <a:off x="75615" y="74592"/>
            <a:ext cx="6576646" cy="26332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-ДАН ӘЛЕУМЕТТІК ТӨЛЕМДЕР</a:t>
            </a: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AC609F0A-3648-49D4-887F-998792C22CA3}"/>
              </a:ext>
            </a:extLst>
          </p:cNvPr>
          <p:cNvSpPr/>
          <p:nvPr/>
        </p:nvSpPr>
        <p:spPr>
          <a:xfrm>
            <a:off x="25907" y="493860"/>
            <a:ext cx="645079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ЫСЫНАН АЙЫРЫЛУ ЖАҒДАЙЫ БОЙЫНША ӘЛЕУМЕТТІК ТӨЛЕМ</a:t>
            </a:r>
          </a:p>
        </p:txBody>
      </p:sp>
      <p:cxnSp>
        <p:nvCxnSpPr>
          <p:cNvPr id="36" name="Прямая соединительная линия 35">
            <a:extLst>
              <a:ext uri="{FF2B5EF4-FFF2-40B4-BE49-F238E27FC236}">
                <a16:creationId xmlns:a16="http://schemas.microsoft.com/office/drawing/2014/main" id="{4518A00F-288D-410A-A5A5-37323905CD5F}"/>
              </a:ext>
            </a:extLst>
          </p:cNvPr>
          <p:cNvCxnSpPr>
            <a:cxnSpLocks/>
          </p:cNvCxnSpPr>
          <p:nvPr/>
        </p:nvCxnSpPr>
        <p:spPr>
          <a:xfrm>
            <a:off x="240030" y="337912"/>
            <a:ext cx="6282395" cy="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7EFACC83-A50C-4881-AA11-68A8C302FC12}"/>
              </a:ext>
            </a:extLst>
          </p:cNvPr>
          <p:cNvSpPr/>
          <p:nvPr/>
        </p:nvSpPr>
        <p:spPr>
          <a:xfrm>
            <a:off x="12548" y="900315"/>
            <a:ext cx="1913703" cy="823416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лушылар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саны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93 599  </a:t>
            </a:r>
            <a:r>
              <a:rPr lang="ru-RU" sz="1100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дам</a:t>
            </a:r>
            <a:endParaRPr lang="ru-RU" sz="1100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endParaRPr lang="ru-RU" sz="1100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endParaRPr lang="ru-KZ" sz="105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ңа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ғайындаулар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саны: 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8 558 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ам</a:t>
            </a:r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5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endParaRPr lang="ru-KZ" sz="105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өлемі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8,3 млрд. 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5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endParaRPr lang="ru-RU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Т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ғайындау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еңінде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керілген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лық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ыс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:</a:t>
            </a:r>
          </a:p>
          <a:p>
            <a:pPr algn="ctr"/>
            <a:r>
              <a:rPr lang="kk-KZ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3 мың теңге</a:t>
            </a:r>
          </a:p>
          <a:p>
            <a:pPr algn="ctr"/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нің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рташа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өлшері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1 500 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лушылардың</a:t>
            </a:r>
            <a:endParaRPr lang="ru-RU" sz="105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рташа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сы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 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с</a:t>
            </a:r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тысудың</a:t>
            </a:r>
            <a:endParaRPr lang="ru-RU" sz="105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рташа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тілі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8,2 ай</a:t>
            </a:r>
            <a:endParaRPr lang="ru-KZ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7" name="Рисунок 3">
            <a:extLst>
              <a:ext uri="{FF2B5EF4-FFF2-40B4-BE49-F238E27FC236}">
                <a16:creationId xmlns:a16="http://schemas.microsoft.com/office/drawing/2014/main" id="{B5B49FFD-DFD1-4CB5-9097-5B45A409F0C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71032" y="1220369"/>
            <a:ext cx="568136" cy="1214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9C940124-BFAF-4A07-A944-64E3AF5B38BC}"/>
              </a:ext>
            </a:extLst>
          </p:cNvPr>
          <p:cNvCxnSpPr>
            <a:cxnSpLocks/>
          </p:cNvCxnSpPr>
          <p:nvPr/>
        </p:nvCxnSpPr>
        <p:spPr>
          <a:xfrm>
            <a:off x="328780" y="3137559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617EBB9D-47E9-430F-9A73-521DCA1D1EE4}"/>
              </a:ext>
            </a:extLst>
          </p:cNvPr>
          <p:cNvCxnSpPr>
            <a:cxnSpLocks/>
          </p:cNvCxnSpPr>
          <p:nvPr/>
        </p:nvCxnSpPr>
        <p:spPr>
          <a:xfrm>
            <a:off x="328780" y="4002321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D1D4932A-F1DB-4E52-9493-1DF4DC00FAC0}"/>
              </a:ext>
            </a:extLst>
          </p:cNvPr>
          <p:cNvCxnSpPr>
            <a:cxnSpLocks/>
          </p:cNvCxnSpPr>
          <p:nvPr/>
        </p:nvCxnSpPr>
        <p:spPr>
          <a:xfrm>
            <a:off x="328780" y="4653831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09EE5521-067A-499F-9CF5-E1F0EA250622}"/>
              </a:ext>
            </a:extLst>
          </p:cNvPr>
          <p:cNvCxnSpPr>
            <a:cxnSpLocks/>
          </p:cNvCxnSpPr>
          <p:nvPr/>
        </p:nvCxnSpPr>
        <p:spPr>
          <a:xfrm>
            <a:off x="328780" y="5705391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5C80D7E0-4809-4289-84A1-676225E0C196}"/>
              </a:ext>
            </a:extLst>
          </p:cNvPr>
          <p:cNvCxnSpPr>
            <a:cxnSpLocks/>
          </p:cNvCxnSpPr>
          <p:nvPr/>
        </p:nvCxnSpPr>
        <p:spPr>
          <a:xfrm>
            <a:off x="328780" y="6539781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75653B6B-8993-4DE6-9576-7C1767148EB1}"/>
              </a:ext>
            </a:extLst>
          </p:cNvPr>
          <p:cNvCxnSpPr>
            <a:cxnSpLocks/>
          </p:cNvCxnSpPr>
          <p:nvPr/>
        </p:nvCxnSpPr>
        <p:spPr>
          <a:xfrm>
            <a:off x="328780" y="7362741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9439230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7745EE2C-4ABA-4E5A-AAB0-5963F887D38F}"/>
              </a:ext>
            </a:extLst>
          </p:cNvPr>
          <p:cNvSpPr/>
          <p:nvPr/>
        </p:nvSpPr>
        <p:spPr>
          <a:xfrm>
            <a:off x="0" y="740468"/>
            <a:ext cx="6149993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599425" algn="ctr"/>
            <a:r>
              <a:rPr lang="ru-RU" sz="105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тысу</a:t>
            </a:r>
            <a:r>
              <a:rPr lang="ru-RU" sz="105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тілі</a:t>
            </a:r>
            <a:r>
              <a:rPr lang="ru-RU" sz="105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өлінісіндегі</a:t>
            </a:r>
            <a:r>
              <a:rPr lang="ru-RU" sz="105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ғайындалған</a:t>
            </a:r>
            <a:r>
              <a:rPr lang="ru-RU" sz="105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дердің</a:t>
            </a:r>
            <a:r>
              <a:rPr lang="ru-RU" sz="105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ұрылымы</a:t>
            </a:r>
            <a:r>
              <a:rPr lang="ru-RU" sz="105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2024 </a:t>
            </a:r>
            <a:r>
              <a:rPr lang="ru-RU" sz="1050" i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ыл</a:t>
            </a:r>
            <a:r>
              <a:rPr lang="ru-RU" sz="105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</a:t>
            </a:r>
            <a:endParaRPr lang="ru-KZ" sz="1050" i="1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graphicFrame>
        <p:nvGraphicFramePr>
          <p:cNvPr id="30" name="Диаграмма 29">
            <a:extLst>
              <a:ext uri="{FF2B5EF4-FFF2-40B4-BE49-F238E27FC236}">
                <a16:creationId xmlns:a16="http://schemas.microsoft.com/office/drawing/2014/main" id="{7BE771A4-15D3-420E-B050-E4176416B340}"/>
              </a:ext>
            </a:extLst>
          </p:cNvPr>
          <p:cNvGraphicFramePr/>
          <p:nvPr>
            <p:extLst/>
          </p:nvPr>
        </p:nvGraphicFramePr>
        <p:xfrm>
          <a:off x="1149078" y="963105"/>
          <a:ext cx="4635540" cy="22045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EC1FC7EE-6CB8-48E9-A595-E19FEA2A5474}"/>
              </a:ext>
            </a:extLst>
          </p:cNvPr>
          <p:cNvSpPr/>
          <p:nvPr/>
        </p:nvSpPr>
        <p:spPr>
          <a:xfrm>
            <a:off x="307957" y="3230936"/>
            <a:ext cx="614999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індетт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йесін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тыс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тілін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йланыст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1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йд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6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йғ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ейінг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езеңг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ғайындалад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  <a:endParaRPr lang="ru-RU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лемдердің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ртысынан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өбі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57%)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ң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ұзақ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ерзімге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- 6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йға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ғайындалды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lang="ru-KZ" sz="1000" b="1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89D36350-4D64-4131-859F-B6946B32FA89}"/>
              </a:ext>
            </a:extLst>
          </p:cNvPr>
          <p:cNvSpPr/>
          <p:nvPr/>
        </p:nvSpPr>
        <p:spPr>
          <a:xfrm>
            <a:off x="680484" y="3833530"/>
            <a:ext cx="5104134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Төлем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алушыларды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жынысы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жасы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бөлу</a:t>
            </a:r>
            <a:endParaRPr lang="ru-KZ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6" name="Диаграмма 35">
            <a:extLst>
              <a:ext uri="{FF2B5EF4-FFF2-40B4-BE49-F238E27FC236}">
                <a16:creationId xmlns:a16="http://schemas.microsoft.com/office/drawing/2014/main" id="{AA0682FC-DE1F-43B4-BC71-CBF7C54A4FE5}"/>
              </a:ext>
            </a:extLst>
          </p:cNvPr>
          <p:cNvGraphicFramePr/>
          <p:nvPr>
            <p:extLst/>
          </p:nvPr>
        </p:nvGraphicFramePr>
        <p:xfrm>
          <a:off x="1149078" y="3960488"/>
          <a:ext cx="4171911" cy="22045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36A4A5F-D1D3-47A4-8A4F-F780C86456B7}"/>
              </a:ext>
            </a:extLst>
          </p:cNvPr>
          <p:cNvSpPr/>
          <p:nvPr/>
        </p:nvSpPr>
        <p:spPr>
          <a:xfrm>
            <a:off x="323283" y="6055669"/>
            <a:ext cx="605311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34945" algn="just"/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ушыл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рамын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54% ер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дамд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46%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йе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дамд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ө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ушыл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35 пен 49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с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ралығын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(ер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дамд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53,4%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йе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дамд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46,6%) 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042D9521-0976-4F24-BD6C-87AD8A9BF915}"/>
              </a:ext>
            </a:extLst>
          </p:cNvPr>
          <p:cNvSpPr/>
          <p:nvPr/>
        </p:nvSpPr>
        <p:spPr>
          <a:xfrm>
            <a:off x="1508873" y="6478042"/>
            <a:ext cx="3768980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Тағайындалған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төлемдердің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мөлшері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i="1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050" i="1" dirty="0" err="1"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r>
              <a:rPr lang="ru-RU" sz="1050" i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KZ" sz="105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7" name="Диаграмма 36">
            <a:extLst>
              <a:ext uri="{FF2B5EF4-FFF2-40B4-BE49-F238E27FC236}">
                <a16:creationId xmlns:a16="http://schemas.microsoft.com/office/drawing/2014/main" id="{C3316D1F-3469-437B-8BAA-B1B0333206D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01272182"/>
              </p:ext>
            </p:extLst>
          </p:nvPr>
        </p:nvGraphicFramePr>
        <p:xfrm>
          <a:off x="1297602" y="6579705"/>
          <a:ext cx="4073821" cy="18950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7E49A71E-EC19-4332-B46A-D3DAD2B9838B}"/>
              </a:ext>
            </a:extLst>
          </p:cNvPr>
          <p:cNvSpPr/>
          <p:nvPr/>
        </p:nvSpPr>
        <p:spPr>
          <a:xfrm>
            <a:off x="307957" y="8435729"/>
            <a:ext cx="605311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22764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2024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н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өлше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500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еңгейін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лыптас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ұ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2023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өрсеткішт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36,3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%-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оғар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object 8">
            <a:extLst>
              <a:ext uri="{FF2B5EF4-FFF2-40B4-BE49-F238E27FC236}">
                <a16:creationId xmlns:a16="http://schemas.microsoft.com/office/drawing/2014/main" id="{9D52C9CE-238B-4A3C-BB4E-3F0922ECBF77}"/>
              </a:ext>
            </a:extLst>
          </p:cNvPr>
          <p:cNvSpPr txBox="1"/>
          <p:nvPr/>
        </p:nvSpPr>
        <p:spPr>
          <a:xfrm>
            <a:off x="75615" y="74592"/>
            <a:ext cx="6576646" cy="26332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-ДАН ӘЛЕУМЕТТІК ТӨЛЕМДЕР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D0276350-0567-42E8-8184-ECA32785D921}"/>
              </a:ext>
            </a:extLst>
          </p:cNvPr>
          <p:cNvSpPr/>
          <p:nvPr/>
        </p:nvSpPr>
        <p:spPr>
          <a:xfrm>
            <a:off x="7152" y="415702"/>
            <a:ext cx="645079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ЫСЫНАН АЙЫРЫЛУ ЖАҒДАЙЫ БОЙЫНША ӘЛЕУМЕТТІК ТӨЛЕМ</a:t>
            </a:r>
          </a:p>
        </p:txBody>
      </p: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A1C791E1-68BF-42E1-A270-74BE2C9BED25}"/>
              </a:ext>
            </a:extLst>
          </p:cNvPr>
          <p:cNvCxnSpPr>
            <a:cxnSpLocks/>
          </p:cNvCxnSpPr>
          <p:nvPr/>
        </p:nvCxnSpPr>
        <p:spPr>
          <a:xfrm>
            <a:off x="307957" y="337912"/>
            <a:ext cx="6230003" cy="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4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39" y="8845484"/>
            <a:ext cx="540000" cy="251711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F166E84C-AE32-412C-8EC5-03D55B6EBA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78921" y="8727922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21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462553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4BA1AA09-B2F0-43FC-81BD-EF23A502FD2A}"/>
              </a:ext>
            </a:extLst>
          </p:cNvPr>
          <p:cNvSpPr/>
          <p:nvPr/>
        </p:nvSpPr>
        <p:spPr>
          <a:xfrm>
            <a:off x="2035939" y="1011504"/>
            <a:ext cx="4616322" cy="17469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>
              <a:lnSpc>
                <a:spcPts val="1300"/>
              </a:lnSpc>
            </a:pP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ӘСҚ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үктілікк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сануғ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ң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уға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лан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лалар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сырап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луғ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йланыст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ірісін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йырыл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ғдай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үктіл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сан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емалысты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рлы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үндерін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ғайындала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</a:p>
          <a:p>
            <a:pPr indent="180975" algn="just">
              <a:lnSpc>
                <a:spcPts val="1300"/>
              </a:lnSpc>
            </a:pP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өлшер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үктілікк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сануғ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йланыст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емалыс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үніне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ейінгі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ңғы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12 айда МӘСҚ-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ға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ударымдар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үргізілген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рташа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йлық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бысқа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не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ңбекке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рамсыздық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үндерінің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анына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йланыст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</a:p>
          <a:p>
            <a:pPr indent="180975" algn="just">
              <a:lnSpc>
                <a:spcPts val="1300"/>
              </a:lnSpc>
            </a:pP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008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ылда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стап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ні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лп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сомасы </a:t>
            </a:r>
            <a:b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 </a:t>
            </a:r>
            <a:r>
              <a:rPr lang="en-US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691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</a:t>
            </a:r>
            <a:r>
              <a:rPr lang="en-US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4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млрд.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еңгег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ғайындал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6823E8CB-96C8-4872-AD7F-5B22F74E4F39}"/>
              </a:ext>
            </a:extLst>
          </p:cNvPr>
          <p:cNvSpPr/>
          <p:nvPr/>
        </p:nvSpPr>
        <p:spPr>
          <a:xfrm>
            <a:off x="1556480" y="2758549"/>
            <a:ext cx="4874411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indent="599425" algn="ctr"/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ушылар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нының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маларының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намикасы</a:t>
            </a:r>
            <a:endParaRPr lang="ru-KZ" sz="105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C6193880-8883-4F53-9AEE-31AF983522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19934" y="5325867"/>
            <a:ext cx="4632327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>
            <a:lvl1pPr indent="449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indent="180975" algn="just"/>
            <a:r>
              <a:rPr lang="ru-RU" altLang="ru-KZ" sz="1000" dirty="0">
                <a:cs typeface="Arial" panose="020B0604020202020204" pitchFamily="34" charset="0"/>
              </a:rPr>
              <a:t>2024 </a:t>
            </a:r>
            <a:r>
              <a:rPr lang="ru-RU" altLang="ru-KZ" sz="1000" dirty="0" err="1">
                <a:cs typeface="Arial" panose="020B0604020202020204" pitchFamily="34" charset="0"/>
              </a:rPr>
              <a:t>жылы</a:t>
            </a:r>
            <a:r>
              <a:rPr lang="ru-RU" altLang="ru-KZ" sz="1000" b="1" dirty="0">
                <a:cs typeface="Arial" panose="020B0604020202020204" pitchFamily="34" charset="0"/>
              </a:rPr>
              <a:t> 385,6</a:t>
            </a:r>
            <a:r>
              <a:rPr lang="ru-RU" altLang="ru-KZ" sz="1000" dirty="0">
                <a:cs typeface="Arial" panose="020B0604020202020204" pitchFamily="34" charset="0"/>
              </a:rPr>
              <a:t> млрд. </a:t>
            </a:r>
            <a:r>
              <a:rPr lang="ru-RU" altLang="ru-KZ" sz="1000" dirty="0" err="1">
                <a:cs typeface="Arial" panose="020B0604020202020204" pitchFamily="34" charset="0"/>
              </a:rPr>
              <a:t>теңге</a:t>
            </a:r>
            <a:r>
              <a:rPr lang="ru-RU" altLang="ru-KZ" sz="1000" dirty="0">
                <a:cs typeface="Arial" panose="020B0604020202020204" pitchFamily="34" charset="0"/>
              </a:rPr>
              <a:t> </a:t>
            </a:r>
            <a:r>
              <a:rPr lang="ru-RU" altLang="ru-KZ" sz="1000" dirty="0" err="1">
                <a:cs typeface="Arial" panose="020B0604020202020204" pitchFamily="34" charset="0"/>
              </a:rPr>
              <a:t>сомаға</a:t>
            </a:r>
            <a:r>
              <a:rPr lang="ru-RU" altLang="ru-KZ" sz="1000" dirty="0">
                <a:cs typeface="Arial" panose="020B0604020202020204" pitchFamily="34" charset="0"/>
              </a:rPr>
              <a:t> </a:t>
            </a:r>
            <a:r>
              <a:rPr lang="ru-RU" altLang="ru-KZ" sz="1000" b="1" dirty="0">
                <a:cs typeface="Arial" panose="020B0604020202020204" pitchFamily="34" charset="0"/>
              </a:rPr>
              <a:t>246</a:t>
            </a:r>
            <a:r>
              <a:rPr lang="ru-RU" altLang="ru-KZ" sz="1000" dirty="0">
                <a:cs typeface="Arial" panose="020B0604020202020204" pitchFamily="34" charset="0"/>
              </a:rPr>
              <a:t> </a:t>
            </a:r>
            <a:r>
              <a:rPr lang="ru-RU" altLang="ru-KZ" sz="1000" dirty="0" err="1">
                <a:cs typeface="Arial" panose="020B0604020202020204" pitchFamily="34" charset="0"/>
              </a:rPr>
              <a:t>мыңға</a:t>
            </a:r>
            <a:r>
              <a:rPr lang="ru-RU" altLang="ru-KZ" sz="1000" dirty="0">
                <a:cs typeface="Arial" panose="020B0604020202020204" pitchFamily="34" charset="0"/>
              </a:rPr>
              <a:t> </a:t>
            </a:r>
            <a:r>
              <a:rPr lang="ru-RU" altLang="ru-KZ" sz="1000" dirty="0" err="1">
                <a:cs typeface="Arial" panose="020B0604020202020204" pitchFamily="34" charset="0"/>
              </a:rPr>
              <a:t>жуық</a:t>
            </a:r>
            <a:r>
              <a:rPr lang="ru-RU" altLang="ru-KZ" sz="1000" dirty="0">
                <a:cs typeface="Arial" panose="020B0604020202020204" pitchFamily="34" charset="0"/>
              </a:rPr>
              <a:t> </a:t>
            </a:r>
            <a:r>
              <a:rPr lang="ru-RU" altLang="ru-KZ" sz="1000" dirty="0" err="1">
                <a:cs typeface="Arial" panose="020B0604020202020204" pitchFamily="34" charset="0"/>
              </a:rPr>
              <a:t>адам</a:t>
            </a:r>
            <a:r>
              <a:rPr lang="ru-RU" altLang="ru-KZ" sz="1000" dirty="0">
                <a:cs typeface="Arial" panose="020B0604020202020204" pitchFamily="34" charset="0"/>
              </a:rPr>
              <a:t> </a:t>
            </a:r>
            <a:r>
              <a:rPr lang="ru-RU" altLang="ru-KZ" sz="1000" dirty="0" err="1">
                <a:cs typeface="Arial" panose="020B0604020202020204" pitchFamily="34" charset="0"/>
              </a:rPr>
              <a:t>төлем</a:t>
            </a:r>
            <a:r>
              <a:rPr lang="ru-RU" altLang="ru-KZ" sz="1000" dirty="0">
                <a:cs typeface="Arial" panose="020B0604020202020204" pitchFamily="34" charset="0"/>
              </a:rPr>
              <a:t> </a:t>
            </a:r>
            <a:r>
              <a:rPr lang="ru-RU" altLang="ru-KZ" sz="1000" dirty="0" err="1">
                <a:cs typeface="Arial" panose="020B0604020202020204" pitchFamily="34" charset="0"/>
              </a:rPr>
              <a:t>алды</a:t>
            </a:r>
            <a:r>
              <a:rPr lang="ru-RU" altLang="ru-KZ" sz="1000" dirty="0">
                <a:cs typeface="Arial" panose="020B0604020202020204" pitchFamily="34" charset="0"/>
              </a:rPr>
              <a:t>, 2023 </a:t>
            </a:r>
            <a:r>
              <a:rPr lang="ru-RU" altLang="ru-KZ" sz="1000" dirty="0" err="1">
                <a:cs typeface="Arial" panose="020B0604020202020204" pitchFamily="34" charset="0"/>
              </a:rPr>
              <a:t>жылмен</a:t>
            </a:r>
            <a:r>
              <a:rPr lang="ru-RU" altLang="ru-KZ" sz="1000" dirty="0">
                <a:cs typeface="Arial" panose="020B0604020202020204" pitchFamily="34" charset="0"/>
              </a:rPr>
              <a:t> </a:t>
            </a:r>
            <a:r>
              <a:rPr lang="ru-RU" altLang="ru-KZ" sz="1000" dirty="0" err="1">
                <a:cs typeface="Arial" panose="020B0604020202020204" pitchFamily="34" charset="0"/>
              </a:rPr>
              <a:t>салыстырғанда</a:t>
            </a:r>
            <a:r>
              <a:rPr lang="ru-RU" altLang="ru-KZ" sz="1000" dirty="0">
                <a:cs typeface="Arial" panose="020B0604020202020204" pitchFamily="34" charset="0"/>
              </a:rPr>
              <a:t> </a:t>
            </a:r>
            <a:r>
              <a:rPr lang="ru-RU" altLang="ru-KZ" sz="1000" dirty="0" err="1">
                <a:cs typeface="Arial" panose="020B0604020202020204" pitchFamily="34" charset="0"/>
              </a:rPr>
              <a:t>төлем</a:t>
            </a:r>
            <a:r>
              <a:rPr lang="ru-RU" altLang="ru-KZ" sz="1000" dirty="0">
                <a:cs typeface="Arial" panose="020B0604020202020204" pitchFamily="34" charset="0"/>
              </a:rPr>
              <a:t> </a:t>
            </a:r>
            <a:r>
              <a:rPr lang="ru-RU" altLang="ru-KZ" sz="1000" dirty="0" err="1">
                <a:cs typeface="Arial" panose="020B0604020202020204" pitchFamily="34" charset="0"/>
              </a:rPr>
              <a:t>сомасы</a:t>
            </a:r>
            <a:r>
              <a:rPr lang="en-US" altLang="ru-KZ" sz="1000" dirty="0">
                <a:cs typeface="Arial" panose="020B0604020202020204" pitchFamily="34" charset="0"/>
              </a:rPr>
              <a:t> 11</a:t>
            </a:r>
            <a:r>
              <a:rPr lang="ru-RU" altLang="ru-KZ" sz="1000" dirty="0">
                <a:cs typeface="Arial" panose="020B0604020202020204" pitchFamily="34" charset="0"/>
              </a:rPr>
              <a:t>%</a:t>
            </a:r>
            <a:r>
              <a:rPr lang="en-US" altLang="ru-KZ" sz="1000" dirty="0">
                <a:cs typeface="Arial" panose="020B0604020202020204" pitchFamily="34" charset="0"/>
              </a:rPr>
              <a:t>-</a:t>
            </a:r>
            <a:r>
              <a:rPr lang="kk-KZ" altLang="ru-KZ" sz="1000" dirty="0">
                <a:cs typeface="Arial" panose="020B0604020202020204" pitchFamily="34" charset="0"/>
              </a:rPr>
              <a:t>ға</a:t>
            </a:r>
            <a:r>
              <a:rPr lang="ru-RU" altLang="ru-KZ" sz="1000" dirty="0">
                <a:cs typeface="Arial" panose="020B0604020202020204" pitchFamily="34" charset="0"/>
              </a:rPr>
              <a:t/>
            </a:r>
            <a:br>
              <a:rPr lang="ru-RU" altLang="ru-KZ" sz="1000" dirty="0">
                <a:cs typeface="Arial" panose="020B0604020202020204" pitchFamily="34" charset="0"/>
              </a:rPr>
            </a:br>
            <a:r>
              <a:rPr lang="ru-RU" altLang="ru-KZ" sz="1000" dirty="0" err="1">
                <a:cs typeface="Arial" panose="020B0604020202020204" pitchFamily="34" charset="0"/>
              </a:rPr>
              <a:t>өскені</a:t>
            </a:r>
            <a:r>
              <a:rPr lang="ru-RU" altLang="ru-KZ" sz="1000" dirty="0">
                <a:cs typeface="Arial" panose="020B0604020202020204" pitchFamily="34" charset="0"/>
              </a:rPr>
              <a:t> </a:t>
            </a:r>
            <a:r>
              <a:rPr lang="ru-RU" altLang="ru-KZ" sz="1000" dirty="0" err="1">
                <a:cs typeface="Arial" panose="020B0604020202020204" pitchFamily="34" charset="0"/>
              </a:rPr>
              <a:t>байқалды</a:t>
            </a:r>
            <a:r>
              <a:rPr lang="ru-RU" altLang="ru-KZ" sz="1000" dirty="0">
                <a:cs typeface="Arial" panose="020B0604020202020204" pitchFamily="34" charset="0"/>
              </a:rPr>
              <a:t>.</a:t>
            </a:r>
          </a:p>
        </p:txBody>
      </p:sp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id="{5EB6D180-9ABE-4628-A36E-9CE61659102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8660784"/>
              </p:ext>
            </p:extLst>
          </p:nvPr>
        </p:nvGraphicFramePr>
        <p:xfrm>
          <a:off x="2169461" y="6293103"/>
          <a:ext cx="4482800" cy="2063324"/>
        </p:xfrm>
        <a:graphic>
          <a:graphicData uri="http://schemas.openxmlformats.org/drawingml/2006/table">
            <a:tbl>
              <a:tblPr firstRow="1" firstCol="1" bandRow="1">
                <a:tableStyleId>{7DF18680-E054-41AD-8BC1-D1AEF772440D}</a:tableStyleId>
              </a:tblPr>
              <a:tblGrid>
                <a:gridCol w="730150">
                  <a:extLst>
                    <a:ext uri="{9D8B030D-6E8A-4147-A177-3AD203B41FA5}">
                      <a16:colId xmlns:a16="http://schemas.microsoft.com/office/drawing/2014/main" val="1249667677"/>
                    </a:ext>
                  </a:extLst>
                </a:gridCol>
                <a:gridCol w="772102">
                  <a:extLst>
                    <a:ext uri="{9D8B030D-6E8A-4147-A177-3AD203B41FA5}">
                      <a16:colId xmlns:a16="http://schemas.microsoft.com/office/drawing/2014/main" val="4053876194"/>
                    </a:ext>
                  </a:extLst>
                </a:gridCol>
                <a:gridCol w="812796">
                  <a:extLst>
                    <a:ext uri="{9D8B030D-6E8A-4147-A177-3AD203B41FA5}">
                      <a16:colId xmlns:a16="http://schemas.microsoft.com/office/drawing/2014/main" val="2243241817"/>
                    </a:ext>
                  </a:extLst>
                </a:gridCol>
                <a:gridCol w="1083876">
                  <a:extLst>
                    <a:ext uri="{9D8B030D-6E8A-4147-A177-3AD203B41FA5}">
                      <a16:colId xmlns:a16="http://schemas.microsoft.com/office/drawing/2014/main" val="3335031730"/>
                    </a:ext>
                  </a:extLst>
                </a:gridCol>
                <a:gridCol w="1083876">
                  <a:extLst>
                    <a:ext uri="{9D8B030D-6E8A-4147-A177-3AD203B41FA5}">
                      <a16:colId xmlns:a16="http://schemas.microsoft.com/office/drawing/2014/main" val="2903794994"/>
                    </a:ext>
                  </a:extLst>
                </a:gridCol>
              </a:tblGrid>
              <a:tr h="293469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Жасы</a:t>
                      </a:r>
                      <a:endParaRPr lang="ru-KZ" sz="10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өлем</a:t>
                      </a:r>
                      <a:r>
                        <a:rPr lang="ru-RU" sz="10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үрлері</a:t>
                      </a:r>
                      <a:r>
                        <a:rPr lang="ru-RU" sz="10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</a:t>
                      </a:r>
                      <a:r>
                        <a:rPr lang="ru-RU" sz="1000" b="1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ӘТжб</a:t>
                      </a:r>
                      <a:r>
                        <a:rPr lang="ru-RU" sz="10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ru-KZ" sz="10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0243606"/>
                  </a:ext>
                </a:extLst>
              </a:tr>
              <a:tr h="541290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рлығы</a:t>
                      </a:r>
                      <a:endParaRPr lang="ru-KZ" sz="10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үлесі</a:t>
                      </a:r>
                      <a:r>
                        <a:rPr lang="ru-RU" sz="10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%</a:t>
                      </a:r>
                      <a:endParaRPr lang="ru-KZ" sz="10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0" i="1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үктілігі</a:t>
                      </a:r>
                      <a:r>
                        <a:rPr lang="ru-RU" sz="1000" b="0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i="1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000" b="0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i="1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осануы</a:t>
                      </a:r>
                      <a:r>
                        <a:rPr lang="ru-RU" sz="1000" b="0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i="1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ойынша</a:t>
                      </a:r>
                      <a:endParaRPr lang="ru-KZ" sz="1000" b="0" i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0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ла </a:t>
                      </a:r>
                      <a:r>
                        <a:rPr lang="ru-RU" sz="1000" b="0" i="1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сырап</a:t>
                      </a:r>
                      <a:r>
                        <a:rPr lang="ru-RU" sz="1000" b="0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i="1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лу</a:t>
                      </a:r>
                      <a:endParaRPr lang="ru-KZ" sz="1000" b="0" i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56444311"/>
                  </a:ext>
                </a:extLst>
              </a:tr>
              <a:tr h="2457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ейін</a:t>
                      </a:r>
                      <a:endParaRPr lang="ru-KZ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473 </a:t>
                      </a:r>
                      <a:endParaRPr lang="ru-KZ" sz="10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6%</a:t>
                      </a:r>
                      <a:endParaRPr lang="ru-KZ" sz="10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473 </a:t>
                      </a:r>
                      <a:endParaRPr lang="ru-KZ" sz="1000" i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0</a:t>
                      </a:r>
                      <a:endParaRPr lang="ru-KZ" sz="1000" i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0826306"/>
                  </a:ext>
                </a:extLst>
              </a:tr>
              <a:tr h="2457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-34</a:t>
                      </a:r>
                      <a:endParaRPr lang="ru-KZ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0 250 </a:t>
                      </a:r>
                      <a:endParaRPr lang="ru-KZ" sz="10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3,3%</a:t>
                      </a:r>
                      <a:endParaRPr lang="ru-KZ" sz="10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0 248 </a:t>
                      </a:r>
                      <a:endParaRPr lang="ru-KZ" sz="1000" i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2</a:t>
                      </a:r>
                      <a:endParaRPr lang="ru-KZ" sz="1000" i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6154365"/>
                  </a:ext>
                </a:extLst>
              </a:tr>
              <a:tr h="2457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-49</a:t>
                      </a:r>
                      <a:endParaRPr lang="ru-KZ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3 948 </a:t>
                      </a:r>
                      <a:endParaRPr lang="ru-KZ" sz="10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%</a:t>
                      </a:r>
                      <a:endParaRPr lang="ru-KZ" sz="10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3 937 </a:t>
                      </a:r>
                      <a:endParaRPr lang="ru-KZ" sz="1000" i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 </a:t>
                      </a:r>
                      <a:endParaRPr lang="ru-KZ" sz="1000" i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9914612"/>
                  </a:ext>
                </a:extLst>
              </a:tr>
              <a:tr h="2457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-63</a:t>
                      </a:r>
                      <a:endParaRPr lang="ru-KZ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2 </a:t>
                      </a:r>
                      <a:endParaRPr lang="ru-KZ" sz="10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%</a:t>
                      </a:r>
                      <a:endParaRPr lang="ru-KZ" sz="10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8 </a:t>
                      </a:r>
                      <a:endParaRPr lang="ru-KZ" sz="1000" i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</a:t>
                      </a:r>
                      <a:endParaRPr lang="ru-KZ" sz="1000" i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0836277"/>
                  </a:ext>
                </a:extLst>
              </a:tr>
              <a:tr h="24571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KZ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5 743 </a:t>
                      </a:r>
                      <a:endParaRPr lang="ru-KZ" sz="10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ru-KZ" sz="10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5 726 </a:t>
                      </a:r>
                      <a:endParaRPr lang="ru-KZ" sz="1000" b="1" i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 </a:t>
                      </a:r>
                      <a:endParaRPr lang="ru-KZ" sz="1000" b="1" i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9954948"/>
                  </a:ext>
                </a:extLst>
              </a:tr>
            </a:tbl>
          </a:graphicData>
        </a:graphic>
      </p:graphicFrame>
      <p:sp>
        <p:nvSpPr>
          <p:cNvPr id="8" name="Rectangle 2">
            <a:extLst>
              <a:ext uri="{FF2B5EF4-FFF2-40B4-BE49-F238E27FC236}">
                <a16:creationId xmlns:a16="http://schemas.microsoft.com/office/drawing/2014/main" id="{D6D38B08-5780-414F-93B0-E4EF83C4F5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23741" y="5952101"/>
            <a:ext cx="4619960" cy="2846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>
            <a:lvl1pPr indent="449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indent="85725" algn="just"/>
            <a:r>
              <a:rPr lang="ru-RU" altLang="ru-KZ" sz="1050" b="1" dirty="0" err="1">
                <a:ea typeface="Times New Roman" panose="02020603050405020304" pitchFamily="18" charset="0"/>
              </a:rPr>
              <a:t>Жасы</a:t>
            </a:r>
            <a:r>
              <a:rPr lang="ru-RU" altLang="ru-KZ" sz="1050" b="1" dirty="0">
                <a:ea typeface="Times New Roman" panose="02020603050405020304" pitchFamily="18" charset="0"/>
              </a:rPr>
              <a:t> </a:t>
            </a:r>
            <a:r>
              <a:rPr lang="ru-RU" altLang="ru-KZ" sz="1050" b="1" dirty="0" err="1">
                <a:ea typeface="Times New Roman" panose="02020603050405020304" pitchFamily="18" charset="0"/>
              </a:rPr>
              <a:t>бөлінісіндегі</a:t>
            </a:r>
            <a:r>
              <a:rPr lang="ru-RU" altLang="ru-KZ" sz="1050" b="1" dirty="0">
                <a:ea typeface="Times New Roman" panose="02020603050405020304" pitchFamily="18" charset="0"/>
              </a:rPr>
              <a:t> </a:t>
            </a:r>
            <a:r>
              <a:rPr lang="ru-RU" altLang="ru-KZ" sz="1050" b="1" dirty="0" err="1">
                <a:ea typeface="Times New Roman" panose="02020603050405020304" pitchFamily="18" charset="0"/>
              </a:rPr>
              <a:t>төлем</a:t>
            </a:r>
            <a:r>
              <a:rPr lang="ru-RU" altLang="ru-KZ" sz="1050" b="1" dirty="0">
                <a:ea typeface="Times New Roman" panose="02020603050405020304" pitchFamily="18" charset="0"/>
              </a:rPr>
              <a:t> </a:t>
            </a:r>
            <a:r>
              <a:rPr lang="ru-RU" altLang="ru-KZ" sz="1050" b="1" dirty="0" err="1">
                <a:ea typeface="Times New Roman" panose="02020603050405020304" pitchFamily="18" charset="0"/>
              </a:rPr>
              <a:t>алушылардың</a:t>
            </a:r>
            <a:r>
              <a:rPr lang="ru-RU" altLang="ru-KZ" sz="1050" b="1" dirty="0">
                <a:ea typeface="Times New Roman" panose="02020603050405020304" pitchFamily="18" charset="0"/>
              </a:rPr>
              <a:t> </a:t>
            </a:r>
            <a:r>
              <a:rPr lang="ru-RU" altLang="ru-KZ" sz="1050" b="1" dirty="0" err="1">
                <a:ea typeface="Times New Roman" panose="02020603050405020304" pitchFamily="18" charset="0"/>
              </a:rPr>
              <a:t>құрылымы</a:t>
            </a:r>
            <a:r>
              <a:rPr lang="ru-RU" altLang="ru-KZ" sz="1050" b="1" dirty="0">
                <a:ea typeface="Times New Roman" panose="02020603050405020304" pitchFamily="18" charset="0"/>
              </a:rPr>
              <a:t> </a:t>
            </a:r>
            <a:r>
              <a:rPr lang="ru-RU" altLang="ru-KZ" sz="1000" i="1" dirty="0">
                <a:ea typeface="Times New Roman" panose="02020603050405020304" pitchFamily="18" charset="0"/>
              </a:rPr>
              <a:t>(2024 </a:t>
            </a:r>
            <a:r>
              <a:rPr lang="ru-RU" altLang="ru-KZ" sz="1000" i="1" dirty="0" err="1">
                <a:ea typeface="Times New Roman" panose="02020603050405020304" pitchFamily="18" charset="0"/>
              </a:rPr>
              <a:t>жыл</a:t>
            </a:r>
            <a:r>
              <a:rPr lang="ru-RU" sz="1000" i="1" kern="0" dirty="0">
                <a:ea typeface="Verdana" panose="020B0604030504040204" pitchFamily="34" charset="0"/>
                <a:cs typeface="Arial" panose="020B0604020202020204" pitchFamily="34" charset="0"/>
              </a:rPr>
              <a:t>)</a:t>
            </a:r>
            <a:endParaRPr lang="ru-RU" altLang="ru-KZ" sz="1000" i="1" dirty="0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9C219DC1-ACAD-46A4-BE32-F70F1EF6B97A}"/>
              </a:ext>
            </a:extLst>
          </p:cNvPr>
          <p:cNvSpPr/>
          <p:nvPr/>
        </p:nvSpPr>
        <p:spPr>
          <a:xfrm>
            <a:off x="2348220" y="8425466"/>
            <a:ext cx="476124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KZ" sz="1000" dirty="0" err="1">
                <a:latin typeface="Arial" panose="020B0604020202020204" pitchFamily="34" charset="0"/>
                <a:cs typeface="Arial" panose="020B0604020202020204" pitchFamily="34" charset="0"/>
              </a:rPr>
              <a:t>ӘТжб</a:t>
            </a:r>
            <a:r>
              <a:rPr lang="ru-RU" altLang="ru-KZ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KZ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ушылардың</a:t>
            </a:r>
            <a:r>
              <a:rPr lang="ru-RU" altLang="ru-KZ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KZ" sz="1000" b="1" dirty="0">
                <a:latin typeface="Arial" panose="020B0604020202020204" pitchFamily="34" charset="0"/>
                <a:cs typeface="Arial" panose="020B0604020202020204" pitchFamily="34" charset="0"/>
              </a:rPr>
              <a:t>73,3%-ы </a:t>
            </a:r>
            <a:r>
              <a:rPr lang="ru-RU" altLang="ru-KZ" sz="1000" dirty="0">
                <a:latin typeface="Arial" panose="020B0604020202020204" pitchFamily="34" charset="0"/>
                <a:cs typeface="Arial" panose="020B0604020202020204" pitchFamily="34" charset="0"/>
              </a:rPr>
              <a:t>20-34 </a:t>
            </a:r>
            <a:r>
              <a:rPr lang="ru-RU" altLang="ru-KZ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с</a:t>
            </a:r>
            <a:r>
              <a:rPr lang="ru-RU" altLang="ru-KZ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KZ" sz="1000" dirty="0" err="1">
                <a:latin typeface="Arial" panose="020B0604020202020204" pitchFamily="34" charset="0"/>
                <a:cs typeface="Arial" panose="020B0604020202020204" pitchFamily="34" charset="0"/>
              </a:rPr>
              <a:t>аралығында</a:t>
            </a:r>
            <a:r>
              <a:rPr lang="ru-RU" altLang="ru-KZ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34" name="object 8">
            <a:extLst>
              <a:ext uri="{FF2B5EF4-FFF2-40B4-BE49-F238E27FC236}">
                <a16:creationId xmlns:a16="http://schemas.microsoft.com/office/drawing/2014/main" id="{E73D323F-EDC8-43F7-9CD5-B6FF57062A1A}"/>
              </a:ext>
            </a:extLst>
          </p:cNvPr>
          <p:cNvSpPr txBox="1"/>
          <p:nvPr/>
        </p:nvSpPr>
        <p:spPr>
          <a:xfrm>
            <a:off x="75615" y="74592"/>
            <a:ext cx="6576646" cy="26332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-ДАН ӘЛЕУМЕТТІК ТӨЛЕМДЕР</a:t>
            </a: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A076B8A5-A7A0-44A0-BCCB-EDCC64298E64}"/>
              </a:ext>
            </a:extLst>
          </p:cNvPr>
          <p:cNvSpPr/>
          <p:nvPr/>
        </p:nvSpPr>
        <p:spPr>
          <a:xfrm>
            <a:off x="-4395" y="402161"/>
            <a:ext cx="645079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КТІЛІККЕ ЖӘНЕ БОСАНУҒА, ЖАҢА ТУҒАН БАЛАНЫ (БАЛАЛАРДЫ) АСЫРАП АЛУҒА БАЙЛАНЫСТЫ К</a:t>
            </a:r>
            <a:r>
              <a:rPr lang="kk-KZ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РІСІНЕН</a:t>
            </a:r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АЙЫРЫЛУ ЖАҒДАЙЫ БОЙЫНША ӘЛЕУМЕТТІК ТӨЛЕМ</a:t>
            </a:r>
          </a:p>
          <a:p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</a:p>
        </p:txBody>
      </p:sp>
      <p:cxnSp>
        <p:nvCxnSpPr>
          <p:cNvPr id="37" name="Прямая соединительная линия 36">
            <a:extLst>
              <a:ext uri="{FF2B5EF4-FFF2-40B4-BE49-F238E27FC236}">
                <a16:creationId xmlns:a16="http://schemas.microsoft.com/office/drawing/2014/main" id="{E3D74E7D-A6AD-4770-8E6E-281C4E32E175}"/>
              </a:ext>
            </a:extLst>
          </p:cNvPr>
          <p:cNvCxnSpPr>
            <a:cxnSpLocks/>
          </p:cNvCxnSpPr>
          <p:nvPr/>
        </p:nvCxnSpPr>
        <p:spPr>
          <a:xfrm flipV="1">
            <a:off x="75615" y="370761"/>
            <a:ext cx="5783580" cy="3140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E5B36A31-836F-4494-8827-C7A3D023AF87}"/>
              </a:ext>
            </a:extLst>
          </p:cNvPr>
          <p:cNvSpPr/>
          <p:nvPr/>
        </p:nvSpPr>
        <p:spPr>
          <a:xfrm>
            <a:off x="0" y="1048492"/>
            <a:ext cx="1982460" cy="809550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ушылар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ны: 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45 743 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дам</a:t>
            </a:r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endParaRPr lang="kk-KZ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ңа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ғайындаулар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ны:</a:t>
            </a:r>
          </a:p>
          <a:p>
            <a:pPr algn="ctr">
              <a:spcAft>
                <a:spcPts val="600"/>
              </a:spcAft>
            </a:pPr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30 967 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дам</a:t>
            </a:r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endParaRPr lang="kk-KZ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м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лемі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385,6 млрд. 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еңге</a:t>
            </a:r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</a:p>
          <a:p>
            <a:pPr algn="ctr"/>
            <a:endParaRPr lang="kk-KZ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Т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ғайындау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іңде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керілген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лық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ыс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:</a:t>
            </a:r>
          </a:p>
          <a:p>
            <a:pPr algn="ctr"/>
            <a:r>
              <a:rPr lang="kk-KZ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378 мың теңге</a:t>
            </a:r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endParaRPr lang="kk-KZ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нің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рташа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b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өлшері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 621 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ың</a:t>
            </a:r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еңге</a:t>
            </a:r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endParaRPr lang="kk-KZ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лушылардың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 </a:t>
            </a: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рташа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сы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30 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с</a:t>
            </a:r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endParaRPr lang="kk-KZ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тысудың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ілі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:</a:t>
            </a:r>
          </a:p>
          <a:p>
            <a:pPr algn="ctr">
              <a:spcAft>
                <a:spcPts val="600"/>
              </a:spcAft>
            </a:pPr>
            <a:r>
              <a:rPr lang="en-US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0</a:t>
            </a:r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ай</a:t>
            </a:r>
            <a:endParaRPr lang="ru-KZ" sz="1100" b="1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FF32533A-D25F-489E-A5DA-77E91F22984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930" y="1326120"/>
            <a:ext cx="727998" cy="1162712"/>
          </a:xfrm>
          <a:prstGeom prst="rect">
            <a:avLst/>
          </a:prstGeom>
        </p:spPr>
      </p:pic>
      <p:sp>
        <p:nvSpPr>
          <p:cNvPr id="14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19514" y="8845485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105A8ADC-06F1-462E-8F36-6212F878ED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84451" y="8729620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/>
              <a:t>22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9C940124-BFAF-4A07-A944-64E3AF5B38BC}"/>
              </a:ext>
            </a:extLst>
          </p:cNvPr>
          <p:cNvCxnSpPr>
            <a:cxnSpLocks/>
          </p:cNvCxnSpPr>
          <p:nvPr/>
        </p:nvCxnSpPr>
        <p:spPr>
          <a:xfrm>
            <a:off x="324167" y="3400449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9C940124-BFAF-4A07-A944-64E3AF5B38BC}"/>
              </a:ext>
            </a:extLst>
          </p:cNvPr>
          <p:cNvCxnSpPr>
            <a:cxnSpLocks/>
          </p:cNvCxnSpPr>
          <p:nvPr/>
        </p:nvCxnSpPr>
        <p:spPr>
          <a:xfrm>
            <a:off x="324167" y="4261509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9C940124-BFAF-4A07-A944-64E3AF5B38BC}"/>
              </a:ext>
            </a:extLst>
          </p:cNvPr>
          <p:cNvCxnSpPr>
            <a:cxnSpLocks/>
          </p:cNvCxnSpPr>
          <p:nvPr/>
        </p:nvCxnSpPr>
        <p:spPr>
          <a:xfrm>
            <a:off x="324167" y="4916829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9C940124-BFAF-4A07-A944-64E3AF5B38BC}"/>
              </a:ext>
            </a:extLst>
          </p:cNvPr>
          <p:cNvCxnSpPr>
            <a:cxnSpLocks/>
          </p:cNvCxnSpPr>
          <p:nvPr/>
        </p:nvCxnSpPr>
        <p:spPr>
          <a:xfrm>
            <a:off x="324167" y="7275219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id="{9C940124-BFAF-4A07-A944-64E3AF5B38BC}"/>
              </a:ext>
            </a:extLst>
          </p:cNvPr>
          <p:cNvCxnSpPr>
            <a:cxnSpLocks/>
          </p:cNvCxnSpPr>
          <p:nvPr/>
        </p:nvCxnSpPr>
        <p:spPr>
          <a:xfrm>
            <a:off x="324167" y="5842414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9C940124-BFAF-4A07-A944-64E3AF5B38BC}"/>
              </a:ext>
            </a:extLst>
          </p:cNvPr>
          <p:cNvCxnSpPr>
            <a:cxnSpLocks/>
          </p:cNvCxnSpPr>
          <p:nvPr/>
        </p:nvCxnSpPr>
        <p:spPr>
          <a:xfrm>
            <a:off x="324167" y="6490359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2" name="Диаграмма 21">
            <a:extLst>
              <a:ext uri="{FF2B5EF4-FFF2-40B4-BE49-F238E27FC236}">
                <a16:creationId xmlns:a16="http://schemas.microsoft.com/office/drawing/2014/main" id="{FA09678A-515F-4298-9CDA-417A470980B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45669204"/>
              </p:ext>
            </p:extLst>
          </p:nvPr>
        </p:nvGraphicFramePr>
        <p:xfrm>
          <a:off x="2371589" y="3008353"/>
          <a:ext cx="4124264" cy="22156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00766344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39" y="88454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0A196986-2E4A-409A-8957-9F30F53D9808}"/>
              </a:ext>
            </a:extLst>
          </p:cNvPr>
          <p:cNvSpPr/>
          <p:nvPr/>
        </p:nvSpPr>
        <p:spPr>
          <a:xfrm>
            <a:off x="1393739" y="839097"/>
            <a:ext cx="3390378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Тағайындалған төлемдер динамикасы</a:t>
            </a:r>
            <a:endParaRPr lang="ru-RU" sz="1050" i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  <a:sym typeface="Impact"/>
            </a:endParaRPr>
          </a:p>
        </p:txBody>
      </p:sp>
      <p:graphicFrame>
        <p:nvGraphicFramePr>
          <p:cNvPr id="34" name="Диаграмма 33">
            <a:extLst>
              <a:ext uri="{FF2B5EF4-FFF2-40B4-BE49-F238E27FC236}">
                <a16:creationId xmlns:a16="http://schemas.microsoft.com/office/drawing/2014/main" id="{D9A9EDA2-4D06-4A86-B34A-38FEA0B7EC9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64260659"/>
              </p:ext>
            </p:extLst>
          </p:nvPr>
        </p:nvGraphicFramePr>
        <p:xfrm>
          <a:off x="1241078" y="1038889"/>
          <a:ext cx="3629033" cy="10677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Rectangle 5">
            <a:extLst>
              <a:ext uri="{FF2B5EF4-FFF2-40B4-BE49-F238E27FC236}">
                <a16:creationId xmlns:a16="http://schemas.microsoft.com/office/drawing/2014/main" id="{EA46CAA6-1C3F-4267-881B-312CC0E9C3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5209" y="3336660"/>
            <a:ext cx="6347581" cy="2846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KZ" sz="1050" b="1" dirty="0" err="1">
                <a:latin typeface="Arial" panose="020B0604020202020204" pitchFamily="34" charset="0"/>
                <a:ea typeface="Times New Roman" panose="02020603050405020304" pitchFamily="18" charset="0"/>
              </a:rPr>
              <a:t>Жұмыс</a:t>
            </a:r>
            <a:r>
              <a:rPr lang="ru-RU" altLang="ru-KZ" sz="1050" b="1" dirty="0"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lang="ru-RU" altLang="ru-KZ" sz="1050" b="1" dirty="0" err="1">
                <a:latin typeface="Arial" panose="020B0604020202020204" pitchFamily="34" charset="0"/>
                <a:ea typeface="Times New Roman" panose="02020603050405020304" pitchFamily="18" charset="0"/>
              </a:rPr>
              <a:t>берушілердің</a:t>
            </a:r>
            <a:r>
              <a:rPr lang="ru-RU" altLang="ru-KZ" sz="1050" b="1" dirty="0">
                <a:latin typeface="Arial" panose="020B0604020202020204" pitchFamily="34" charset="0"/>
                <a:ea typeface="Times New Roman" panose="02020603050405020304" pitchFamily="18" charset="0"/>
              </a:rPr>
              <a:t> саны </a:t>
            </a:r>
            <a:r>
              <a:rPr lang="ru-RU" altLang="ru-KZ" sz="1050" b="1" dirty="0" err="1">
                <a:latin typeface="Arial" panose="020B0604020202020204" pitchFamily="34" charset="0"/>
                <a:ea typeface="Times New Roman" panose="02020603050405020304" pitchFamily="18" charset="0"/>
              </a:rPr>
              <a:t>бойынша</a:t>
            </a:r>
            <a:r>
              <a:rPr lang="ru-RU" altLang="ru-KZ" sz="1050" b="1" dirty="0"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lang="ru-RU" altLang="ru-KZ" sz="1050" b="1" dirty="0" err="1">
                <a:latin typeface="Arial" panose="020B0604020202020204" pitchFamily="34" charset="0"/>
                <a:ea typeface="Times New Roman" panose="02020603050405020304" pitchFamily="18" charset="0"/>
              </a:rPr>
              <a:t>төлем</a:t>
            </a:r>
            <a:r>
              <a:rPr lang="ru-RU" altLang="ru-KZ" sz="1050" b="1" dirty="0"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lang="ru-RU" altLang="ru-KZ" sz="1050" b="1" dirty="0" err="1">
                <a:latin typeface="Arial" panose="020B0604020202020204" pitchFamily="34" charset="0"/>
                <a:ea typeface="Times New Roman" panose="02020603050405020304" pitchFamily="18" charset="0"/>
              </a:rPr>
              <a:t>алушылардың</a:t>
            </a:r>
            <a:r>
              <a:rPr lang="ru-RU" altLang="ru-KZ" sz="1050" b="1" dirty="0"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lang="ru-RU" altLang="ru-KZ" sz="1050" b="1" dirty="0" err="1">
                <a:latin typeface="Arial" panose="020B0604020202020204" pitchFamily="34" charset="0"/>
                <a:ea typeface="Times New Roman" panose="02020603050405020304" pitchFamily="18" charset="0"/>
              </a:rPr>
              <a:t>үлесі</a:t>
            </a:r>
            <a:endParaRPr lang="ru-RU" altLang="ru-KZ" sz="1050" dirty="0">
              <a:latin typeface="Arial" panose="020B0604020202020204" pitchFamily="34" charset="0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381AE030-AFC6-4749-A098-F6822E2FDC91}"/>
              </a:ext>
            </a:extLst>
          </p:cNvPr>
          <p:cNvSpPr/>
          <p:nvPr/>
        </p:nvSpPr>
        <p:spPr>
          <a:xfrm>
            <a:off x="4525108" y="4139400"/>
            <a:ext cx="199563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3971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2024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2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д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да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ө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ерушід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ударымд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үск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ушыл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саны 2023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м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лыстырған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3,8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пайызд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рмаққ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зай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9D5164AF-11DC-4B21-9A43-478BC8A092D9}"/>
              </a:ext>
            </a:extLst>
          </p:cNvPr>
          <p:cNvSpPr/>
          <p:nvPr/>
        </p:nvSpPr>
        <p:spPr>
          <a:xfrm>
            <a:off x="1324670" y="6163410"/>
            <a:ext cx="4318811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5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ғайындалған</a:t>
            </a:r>
            <a:r>
              <a:rPr lang="ru-RU" sz="105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дердің</a:t>
            </a:r>
            <a:r>
              <a:rPr lang="ru-RU" sz="105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рташа</a:t>
            </a:r>
            <a:r>
              <a:rPr lang="ru-RU" sz="105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өлшерінің</a:t>
            </a:r>
            <a:r>
              <a:rPr lang="ru-RU" sz="105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инамикасы</a:t>
            </a:r>
            <a:endParaRPr lang="ru-KZ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0" name="Диаграмма 39">
            <a:extLst>
              <a:ext uri="{FF2B5EF4-FFF2-40B4-BE49-F238E27FC236}">
                <a16:creationId xmlns:a16="http://schemas.microsoft.com/office/drawing/2014/main" id="{E7C807C8-4CD8-4E7C-B5E6-1EC690FD395D}"/>
              </a:ext>
            </a:extLst>
          </p:cNvPr>
          <p:cNvGraphicFramePr/>
          <p:nvPr>
            <p:extLst/>
          </p:nvPr>
        </p:nvGraphicFramePr>
        <p:xfrm>
          <a:off x="1457451" y="6507293"/>
          <a:ext cx="3651315" cy="16642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5FE6D584-5F0F-4B2D-B2F3-27C71951EF63}"/>
              </a:ext>
            </a:extLst>
          </p:cNvPr>
          <p:cNvSpPr/>
          <p:nvPr/>
        </p:nvSpPr>
        <p:spPr>
          <a:xfrm>
            <a:off x="354357" y="8101970"/>
            <a:ext cx="609747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256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2024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ғайындал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н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өлше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1 621 299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еңген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ра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2023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өрсеткішп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лыстырған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30,2%-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(1 244 813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с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indent="18256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2024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ғайындал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дерд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ө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үлес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1-ден 2 миллион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еңге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ей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(38,2%), ал 2-ден 3 миллион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еңге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ей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өлшер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21,3% 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ушылар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ра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object 8">
            <a:extLst>
              <a:ext uri="{FF2B5EF4-FFF2-40B4-BE49-F238E27FC236}">
                <a16:creationId xmlns:a16="http://schemas.microsoft.com/office/drawing/2014/main" id="{87BDE703-55A0-4D18-995D-55E643C7882E}"/>
              </a:ext>
            </a:extLst>
          </p:cNvPr>
          <p:cNvSpPr txBox="1"/>
          <p:nvPr/>
        </p:nvSpPr>
        <p:spPr>
          <a:xfrm>
            <a:off x="75615" y="74592"/>
            <a:ext cx="6576646" cy="26332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-ДАН ӘЛЕУМЕТТІК ТӨЛЕМДЕР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C84FF359-3208-4BFB-8FD2-A715CD86AA64}"/>
              </a:ext>
            </a:extLst>
          </p:cNvPr>
          <p:cNvSpPr/>
          <p:nvPr/>
        </p:nvSpPr>
        <p:spPr>
          <a:xfrm>
            <a:off x="7151" y="380522"/>
            <a:ext cx="6768117" cy="4462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15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КТІЛІККЕ ЖӘНЕ БОСАНУҒА, ЖАҢА ТУҒАН БАЛАНЫ (БАЛАЛАРДЫ) АСЫРАП АЛУҒА БАЙЛАНЫСТЫ КІРІСІНЕН АЙЫРЫЛУ ЖАҒДАЙЫ БОЙЫНША ӘЛЕУМЕТТІК ТӨЛЕМ  </a:t>
            </a:r>
          </a:p>
        </p:txBody>
      </p: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004F749E-FC05-4279-97CE-20F81549EA84}"/>
              </a:ext>
            </a:extLst>
          </p:cNvPr>
          <p:cNvCxnSpPr>
            <a:cxnSpLocks/>
          </p:cNvCxnSpPr>
          <p:nvPr/>
        </p:nvCxnSpPr>
        <p:spPr>
          <a:xfrm flipV="1">
            <a:off x="75615" y="368082"/>
            <a:ext cx="5787975" cy="1244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0286255A-4817-4258-9865-EE4780E3F07D}"/>
              </a:ext>
            </a:extLst>
          </p:cNvPr>
          <p:cNvSpPr/>
          <p:nvPr/>
        </p:nvSpPr>
        <p:spPr>
          <a:xfrm>
            <a:off x="289295" y="2139760"/>
            <a:ext cx="6149285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2563" algn="just"/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септ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езеңд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де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231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ы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дамғ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ғайындал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ұл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2023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өрсеткішт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42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ыңғ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кем.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лп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ыл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айы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ні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ң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ғайындауларыны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су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йқал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</a:p>
          <a:p>
            <a:pPr indent="180975" algn="just"/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олданыстағ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заңнамағ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әйкес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к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да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да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өп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ушілерд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і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езеңд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үйег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тысушыны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айдасын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ударымда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үск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ғдайд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: 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171450" indent="-171450" algn="just"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рбі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ушід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үск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ударымда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ай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айынғ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быс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менг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лақыны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(ЕТЖ)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ет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селенг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өлшерін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спайты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өлшерд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былдана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;</a:t>
            </a:r>
          </a:p>
          <a:p>
            <a:pPr marL="171450" indent="-171450" algn="just"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ударымда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ейінн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инақтала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37ECF32-B21D-44CC-B54C-3E669FF24C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72100" y="8739048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23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1" name="Диаграмма 20">
            <a:extLst>
              <a:ext uri="{FF2B5EF4-FFF2-40B4-BE49-F238E27FC236}">
                <a16:creationId xmlns:a16="http://schemas.microsoft.com/office/drawing/2014/main" id="{64BFEB83-D13E-4D73-9C5F-ED1BB6E449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6696673"/>
              </p:ext>
            </p:extLst>
          </p:nvPr>
        </p:nvGraphicFramePr>
        <p:xfrm>
          <a:off x="255210" y="3701303"/>
          <a:ext cx="4105776" cy="23721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51625411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6823E8CB-96C8-4872-AD7F-5B22F74E4F39}"/>
              </a:ext>
            </a:extLst>
          </p:cNvPr>
          <p:cNvSpPr/>
          <p:nvPr/>
        </p:nvSpPr>
        <p:spPr>
          <a:xfrm>
            <a:off x="1405719" y="2501983"/>
            <a:ext cx="5421326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599425" algn="ctr"/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ушылар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нының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маларының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намикасы</a:t>
            </a:r>
            <a:endParaRPr lang="ru-KZ" sz="105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46F09FD9-4DEC-44DD-AA0D-BB728D660909}"/>
              </a:ext>
            </a:extLst>
          </p:cNvPr>
          <p:cNvSpPr/>
          <p:nvPr/>
        </p:nvSpPr>
        <p:spPr>
          <a:xfrm>
            <a:off x="1975365" y="949939"/>
            <a:ext cx="4623674" cy="116955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ла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уғанна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ейі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үйег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тысуш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т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–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наларды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ір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u="sng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ір</a:t>
            </a:r>
            <a:r>
              <a:rPr lang="ru-RU" sz="1000" u="sng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u="sng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рым</a:t>
            </a:r>
            <a:r>
              <a:rPr lang="ru-RU" sz="1000" u="sng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u="sng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сқа</a:t>
            </a:r>
            <a:r>
              <a:rPr lang="ru-RU" sz="1000" u="sng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u="sng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ейінгі</a:t>
            </a:r>
            <a:r>
              <a:rPr lang="ru-RU" sz="1000" u="sng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бала </a:t>
            </a:r>
            <a:r>
              <a:rPr lang="ru-RU" sz="1000" u="sng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үтіміне</a:t>
            </a:r>
            <a:r>
              <a:rPr lang="ru-RU" sz="1000" u="sng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u="sng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йланыст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ірісін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йырыл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ғдай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ғайындауғ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үгін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ла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өлшер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ңғ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2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ылд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ударымда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үргізілг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рта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йлы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бысты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40% -.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ұрай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 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008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ылда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стап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ктивтерін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үтім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г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 728,6 млрд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еңг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ғыттал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graphicFrame>
        <p:nvGraphicFramePr>
          <p:cNvPr id="35" name="Диаграмма 34">
            <a:extLst>
              <a:ext uri="{FF2B5EF4-FFF2-40B4-BE49-F238E27FC236}">
                <a16:creationId xmlns:a16="http://schemas.microsoft.com/office/drawing/2014/main" id="{699CC4BB-EFBE-4A91-A5EC-4D52453D8B3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30258439"/>
              </p:ext>
            </p:extLst>
          </p:nvPr>
        </p:nvGraphicFramePr>
        <p:xfrm>
          <a:off x="2126255" y="2984504"/>
          <a:ext cx="4324543" cy="21934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057E2885-EFCB-4731-99C0-225B52C5C45B}"/>
              </a:ext>
            </a:extLst>
          </p:cNvPr>
          <p:cNvSpPr/>
          <p:nvPr/>
        </p:nvSpPr>
        <p:spPr>
          <a:xfrm>
            <a:off x="2029144" y="5277080"/>
            <a:ext cx="4569895" cy="286232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024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672 596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лушығ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орда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404,1 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лрд. тенге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масынд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де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нд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лушыла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саны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скен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ң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ғайындауларды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мендеу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йқал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: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иісінш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16,8%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11,5%.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ным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та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де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сомасы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тк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ылды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әйкес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езеңім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алыстырғанд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40,8%-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ғ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ст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</a:p>
          <a:p>
            <a:pPr indent="180975" algn="just"/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олданыстағ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заңнамағ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әйкес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ні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менг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өлшер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бала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үтім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сындай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рдемақ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еңгейін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кем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лмауғ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иіс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005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ылда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стап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өлшері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рдемақ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еңгейін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еткіз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ақсатынд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ктивтерін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284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млрд.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еңгед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стам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рж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н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024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өлшер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шамам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24%  (66,7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ыңн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стам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ң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ғайындаула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рдемақ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еңгейін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еткізіл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осым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нг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сома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шамам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20,7 млрд.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еңген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ра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 </a:t>
            </a:r>
          </a:p>
          <a:p>
            <a:pPr indent="180975" algn="just"/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сеп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зең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Тб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м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өлше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21 266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еңген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ал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оғар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– 238 000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еңген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ра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ұ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2024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екітілг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ЕТЖ-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н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е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сел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өлшерд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40%</a:t>
            </a:r>
            <a:r>
              <a:rPr lang="kk-KZ" sz="1000" dirty="0">
                <a:latin typeface="Arial" panose="020B0604020202020204" pitchFamily="34" charset="0"/>
                <a:cs typeface="Arial" panose="020B0604020202020204" pitchFamily="34" charset="0"/>
              </a:rPr>
              <a:t> құрайды. 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object 8">
            <a:extLst>
              <a:ext uri="{FF2B5EF4-FFF2-40B4-BE49-F238E27FC236}">
                <a16:creationId xmlns:a16="http://schemas.microsoft.com/office/drawing/2014/main" id="{B172FE83-8C8B-4DB9-B23F-203B63F6149F}"/>
              </a:ext>
            </a:extLst>
          </p:cNvPr>
          <p:cNvSpPr txBox="1"/>
          <p:nvPr/>
        </p:nvSpPr>
        <p:spPr>
          <a:xfrm>
            <a:off x="75615" y="74592"/>
            <a:ext cx="6576646" cy="26332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-ДАН ӘЛЕУМЕТТІК ТӨЛЕМДЕР</a:t>
            </a: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A96CD06D-ACBA-4FB8-8037-4A1141DAC9D5}"/>
              </a:ext>
            </a:extLst>
          </p:cNvPr>
          <p:cNvSpPr/>
          <p:nvPr/>
        </p:nvSpPr>
        <p:spPr>
          <a:xfrm>
            <a:off x="0" y="466650"/>
            <a:ext cx="64507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ЛА 1,5 ЖАСҚА ТОЛҒАНҒА ДЕЙІН ОНЫҢ КҮТІМІНЕ БАЙЛАНЫСТЫ КІРІСІНЕН АЙЫРЫЛУ ЖАҒДАЙЫ БОЙЫНША ӘЛЕУМЕТТІК ТӨЛЕМ</a:t>
            </a:r>
          </a:p>
        </p:txBody>
      </p:sp>
      <p:cxnSp>
        <p:nvCxnSpPr>
          <p:cNvPr id="37" name="Прямая соединительная линия 36">
            <a:extLst>
              <a:ext uri="{FF2B5EF4-FFF2-40B4-BE49-F238E27FC236}">
                <a16:creationId xmlns:a16="http://schemas.microsoft.com/office/drawing/2014/main" id="{91CD6C69-DE8C-4DF4-B446-FA34226F4559}"/>
              </a:ext>
            </a:extLst>
          </p:cNvPr>
          <p:cNvCxnSpPr>
            <a:cxnSpLocks/>
          </p:cNvCxnSpPr>
          <p:nvPr/>
        </p:nvCxnSpPr>
        <p:spPr>
          <a:xfrm>
            <a:off x="75615" y="337912"/>
            <a:ext cx="5833695" cy="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AD1A43B8-C520-44CB-9315-B56D02FA8582}"/>
              </a:ext>
            </a:extLst>
          </p:cNvPr>
          <p:cNvSpPr/>
          <p:nvPr/>
        </p:nvSpPr>
        <p:spPr>
          <a:xfrm>
            <a:off x="16" y="977807"/>
            <a:ext cx="1982460" cy="815236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ушылар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ны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672 596 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дам</a:t>
            </a:r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endParaRPr lang="kk-KZ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ңа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ғайындаулар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ны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76 842 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дам</a:t>
            </a:r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м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лемі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404,0  млрд. 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еңге</a:t>
            </a:r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</a:p>
          <a:p>
            <a:pPr algn="ctr"/>
            <a:endParaRPr lang="kk-KZ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Т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ғайындау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еңінде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керілген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лық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ыс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algn="ctr"/>
            <a:r>
              <a:rPr lang="kk-KZ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10 мың теңге</a:t>
            </a:r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endParaRPr lang="kk-KZ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нің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рташа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өлшері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86 758 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еңге</a:t>
            </a:r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endParaRPr lang="kk-KZ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лушылардың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 </a:t>
            </a: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рташа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сы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31 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с</a:t>
            </a:r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endParaRPr lang="kk-KZ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тысудың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ілі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54,3 ай</a:t>
            </a:r>
            <a:endParaRPr lang="ru-KZ" sz="1100" b="1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230E2DB6-69DD-45A7-8DE6-367182C12B8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35702" y="1536405"/>
            <a:ext cx="767317" cy="966136"/>
          </a:xfrm>
          <a:prstGeom prst="rect">
            <a:avLst/>
          </a:prstGeom>
        </p:spPr>
      </p:pic>
      <p:sp>
        <p:nvSpPr>
          <p:cNvPr id="14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39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9C940124-BFAF-4A07-A944-64E3AF5B38BC}"/>
              </a:ext>
            </a:extLst>
          </p:cNvPr>
          <p:cNvCxnSpPr>
            <a:cxnSpLocks/>
          </p:cNvCxnSpPr>
          <p:nvPr/>
        </p:nvCxnSpPr>
        <p:spPr>
          <a:xfrm>
            <a:off x="328780" y="3470343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9C940124-BFAF-4A07-A944-64E3AF5B38BC}"/>
              </a:ext>
            </a:extLst>
          </p:cNvPr>
          <p:cNvCxnSpPr>
            <a:cxnSpLocks/>
          </p:cNvCxnSpPr>
          <p:nvPr/>
        </p:nvCxnSpPr>
        <p:spPr>
          <a:xfrm>
            <a:off x="302756" y="4295799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9C940124-BFAF-4A07-A944-64E3AF5B38BC}"/>
              </a:ext>
            </a:extLst>
          </p:cNvPr>
          <p:cNvCxnSpPr>
            <a:cxnSpLocks/>
          </p:cNvCxnSpPr>
          <p:nvPr/>
        </p:nvCxnSpPr>
        <p:spPr>
          <a:xfrm>
            <a:off x="328780" y="4939689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9C940124-BFAF-4A07-A944-64E3AF5B38BC}"/>
              </a:ext>
            </a:extLst>
          </p:cNvPr>
          <p:cNvCxnSpPr>
            <a:cxnSpLocks/>
          </p:cNvCxnSpPr>
          <p:nvPr/>
        </p:nvCxnSpPr>
        <p:spPr>
          <a:xfrm>
            <a:off x="328780" y="7286649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9C940124-BFAF-4A07-A944-64E3AF5B38BC}"/>
              </a:ext>
            </a:extLst>
          </p:cNvPr>
          <p:cNvCxnSpPr>
            <a:cxnSpLocks/>
          </p:cNvCxnSpPr>
          <p:nvPr/>
        </p:nvCxnSpPr>
        <p:spPr>
          <a:xfrm>
            <a:off x="281137" y="5865274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9C940124-BFAF-4A07-A944-64E3AF5B38BC}"/>
              </a:ext>
            </a:extLst>
          </p:cNvPr>
          <p:cNvCxnSpPr>
            <a:cxnSpLocks/>
          </p:cNvCxnSpPr>
          <p:nvPr/>
        </p:nvCxnSpPr>
        <p:spPr>
          <a:xfrm>
            <a:off x="302756" y="6547509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367713" y="8840071"/>
            <a:ext cx="547437" cy="209124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/>
              <a:t>24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591431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0AE11E39-56E4-4C74-90A2-8CD23824CF35}"/>
              </a:ext>
            </a:extLst>
          </p:cNvPr>
          <p:cNvSpPr/>
          <p:nvPr/>
        </p:nvSpPr>
        <p:spPr>
          <a:xfrm>
            <a:off x="1" y="1112836"/>
            <a:ext cx="6507362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599425" algn="ctr"/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ыс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рушілердің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саны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ушылардың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намикасы</a:t>
            </a:r>
            <a:endParaRPr lang="ru-KZ" sz="105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C16FB191-ADE5-4F66-A768-C63D0787B94A}"/>
              </a:ext>
            </a:extLst>
          </p:cNvPr>
          <p:cNvSpPr/>
          <p:nvPr/>
        </p:nvSpPr>
        <p:spPr>
          <a:xfrm>
            <a:off x="234373" y="3969208"/>
            <a:ext cx="625539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3494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2024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ударымдар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к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д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да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ө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еруш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г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ушылар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үлес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шамам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51%-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ра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" name="Диаграмма 9">
            <a:extLst>
              <a:ext uri="{FF2B5EF4-FFF2-40B4-BE49-F238E27FC236}">
                <a16:creationId xmlns:a16="http://schemas.microsoft.com/office/drawing/2014/main" id="{FD783DEC-AC41-4186-A6EE-8736949D52F8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473912" y="4931010"/>
          <a:ext cx="5910173" cy="26241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4BBEB3EA-7C4D-4FFE-BE48-A2825C4DE245}"/>
              </a:ext>
            </a:extLst>
          </p:cNvPr>
          <p:cNvSpPr/>
          <p:nvPr/>
        </p:nvSpPr>
        <p:spPr>
          <a:xfrm>
            <a:off x="891315" y="4677094"/>
            <a:ext cx="4730142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indent="599425" algn="ctr"/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лалардың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зектілігі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өлінісіндегі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ушылар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%</a:t>
            </a:r>
            <a:endParaRPr lang="ru-KZ" sz="1050" i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48CDC05B-3D86-4062-B760-F898ADF24407}"/>
              </a:ext>
            </a:extLst>
          </p:cNvPr>
          <p:cNvSpPr/>
          <p:nvPr/>
        </p:nvSpPr>
        <p:spPr>
          <a:xfrm>
            <a:off x="234372" y="7609051"/>
            <a:ext cx="6255398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2563" algn="just"/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ушыл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расында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лалар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зектіліг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1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ла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үтім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сайт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ушылар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спаған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лал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саны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іс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зін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е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үлестер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өліне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2024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ушылар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үлес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1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ла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0,9% -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зай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object 8">
            <a:extLst>
              <a:ext uri="{FF2B5EF4-FFF2-40B4-BE49-F238E27FC236}">
                <a16:creationId xmlns:a16="http://schemas.microsoft.com/office/drawing/2014/main" id="{026D3A32-DFA8-45D3-9A15-BC0E02767D66}"/>
              </a:ext>
            </a:extLst>
          </p:cNvPr>
          <p:cNvSpPr txBox="1"/>
          <p:nvPr/>
        </p:nvSpPr>
        <p:spPr>
          <a:xfrm>
            <a:off x="75615" y="74592"/>
            <a:ext cx="6576646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-ДАН ӘЛЕУМЕТТІК ТӨЛЕМДЕР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C1B69C68-E2AE-456B-9342-FB5886385FB9}"/>
              </a:ext>
            </a:extLst>
          </p:cNvPr>
          <p:cNvSpPr/>
          <p:nvPr/>
        </p:nvSpPr>
        <p:spPr>
          <a:xfrm>
            <a:off x="56565" y="423595"/>
            <a:ext cx="6450798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ЛА 1,5 ЖАСҚА ТОЛҒАНҒА ДЕЙІН ОНЫҢ КҮТІМІНЕ БАЙЛАНЫСТЫ КІРІСІНЕН АЙЫРЫЛУ ЖАҒДАЙЫ БОЙЫНША ӘЛЕУМЕТТІК ТӨЛЕМ</a:t>
            </a:r>
          </a:p>
        </p:txBody>
      </p: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14416E13-E40A-46F6-8994-34AFD4AB5D39}"/>
              </a:ext>
            </a:extLst>
          </p:cNvPr>
          <p:cNvCxnSpPr>
            <a:cxnSpLocks/>
          </p:cNvCxnSpPr>
          <p:nvPr/>
        </p:nvCxnSpPr>
        <p:spPr>
          <a:xfrm>
            <a:off x="234372" y="337912"/>
            <a:ext cx="5636370" cy="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2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39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64371" y="8692026"/>
            <a:ext cx="365760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/>
              <a:t>25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6" name="Диаграмма 15">
            <a:extLst>
              <a:ext uri="{FF2B5EF4-FFF2-40B4-BE49-F238E27FC236}">
                <a16:creationId xmlns:a16="http://schemas.microsoft.com/office/drawing/2014/main" id="{96F840DF-C815-41C6-A766-3374932B1A6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35399467"/>
              </p:ext>
            </p:extLst>
          </p:nvPr>
        </p:nvGraphicFramePr>
        <p:xfrm>
          <a:off x="234372" y="1366753"/>
          <a:ext cx="6149713" cy="26024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53081696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911BD6FE-F23A-48C6-90FB-3DB1310050C1}"/>
              </a:ext>
            </a:extLst>
          </p:cNvPr>
          <p:cNvGraphicFramePr/>
          <p:nvPr>
            <p:extLst/>
          </p:nvPr>
        </p:nvGraphicFramePr>
        <p:xfrm>
          <a:off x="1376071" y="1527851"/>
          <a:ext cx="4105858" cy="20812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A2E53A6F-E0BA-4976-9C7C-03BFF4B1DDDC}"/>
              </a:ext>
            </a:extLst>
          </p:cNvPr>
          <p:cNvSpPr/>
          <p:nvPr/>
        </p:nvSpPr>
        <p:spPr>
          <a:xfrm>
            <a:off x="299299" y="1234098"/>
            <a:ext cx="5416226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indent="599425" algn="ctr"/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ғайындалған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дердің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таша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өлшерінің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намикасы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</a:t>
            </a:r>
            <a:r>
              <a:rPr lang="ru-RU" sz="105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ңге</a:t>
            </a:r>
            <a:r>
              <a:rPr lang="ru-RU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</a:t>
            </a:r>
            <a:endParaRPr lang="ru-KZ" sz="1050" i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1D2D802-B08D-4400-8393-3E69B933783A}"/>
              </a:ext>
            </a:extLst>
          </p:cNvPr>
          <p:cNvSpPr/>
          <p:nvPr/>
        </p:nvSpPr>
        <p:spPr>
          <a:xfrm>
            <a:off x="383806" y="3713207"/>
            <a:ext cx="607644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256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2024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ғайындал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н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өлше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86</a:t>
            </a:r>
            <a:r>
              <a:rPr lang="ru-RU" sz="5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758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еңген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ра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202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өрсеткішп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лыстырған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сім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25,8%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000" i="1" dirty="0">
                <a:latin typeface="Arial" panose="020B0604020202020204" pitchFamily="34" charset="0"/>
                <a:cs typeface="Arial" panose="020B0604020202020204" pitchFamily="34" charset="0"/>
              </a:rPr>
              <a:t>68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 9</a:t>
            </a:r>
            <a:r>
              <a:rPr lang="en-US" sz="1000" i="1" dirty="0">
                <a:latin typeface="Arial" panose="020B0604020202020204" pitchFamily="34" charset="0"/>
                <a:cs typeface="Arial" panose="020B0604020202020204" pitchFamily="34" charset="0"/>
              </a:rPr>
              <a:t>57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 тенге)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ра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6" name="Диаграмма 15">
            <a:extLst>
              <a:ext uri="{FF2B5EF4-FFF2-40B4-BE49-F238E27FC236}">
                <a16:creationId xmlns:a16="http://schemas.microsoft.com/office/drawing/2014/main" id="{89027358-16F3-4886-8161-E1C8446F2135}"/>
              </a:ext>
            </a:extLst>
          </p:cNvPr>
          <p:cNvGraphicFramePr/>
          <p:nvPr>
            <p:extLst/>
          </p:nvPr>
        </p:nvGraphicFramePr>
        <p:xfrm>
          <a:off x="1156570" y="4915807"/>
          <a:ext cx="4608942" cy="2037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9E4C815C-B60D-4A77-819B-E24C5552ED09}"/>
              </a:ext>
            </a:extLst>
          </p:cNvPr>
          <p:cNvSpPr/>
          <p:nvPr/>
        </p:nvSpPr>
        <p:spPr>
          <a:xfrm>
            <a:off x="7152" y="4361975"/>
            <a:ext cx="6453101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599425" algn="ctr"/>
            <a:r>
              <a:rPr lang="ru-RU" sz="105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лалардың</a:t>
            </a:r>
            <a:r>
              <a:rPr lang="ru-RU" sz="105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езектілігі</a:t>
            </a:r>
            <a:r>
              <a:rPr lang="ru-RU" sz="105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өлінісінде</a:t>
            </a:r>
            <a:r>
              <a:rPr lang="ru-RU" sz="105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2024-жылға </a:t>
            </a:r>
            <a:r>
              <a:rPr lang="ru-RU" sz="105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ғайындалған</a:t>
            </a:r>
            <a:r>
              <a:rPr lang="ru-RU" sz="105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дердің</a:t>
            </a:r>
            <a:r>
              <a:rPr lang="ru-RU" sz="105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рташа</a:t>
            </a:r>
            <a:r>
              <a:rPr lang="ru-RU" sz="105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өлшерінің</a:t>
            </a:r>
            <a:r>
              <a:rPr lang="ru-RU" sz="105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градациясы</a:t>
            </a:r>
            <a:endParaRPr lang="ru-KZ" sz="105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6CA4C4C7-1ED2-4FCC-BD33-14C560A10C61}"/>
              </a:ext>
            </a:extLst>
          </p:cNvPr>
          <p:cNvSpPr/>
          <p:nvPr/>
        </p:nvSpPr>
        <p:spPr>
          <a:xfrm>
            <a:off x="383806" y="7091585"/>
            <a:ext cx="6268455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3494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2024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3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лас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бар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ушылар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ғайындал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н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оғар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өлше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- 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90 814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ушыл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саны– 59 134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дам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1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лас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бар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ушылар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ғайындал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н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менг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өлше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– 82 975 тенге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ұндай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ушылар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саны 68 389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дам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indent="23494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KZ" sz="10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object 8">
            <a:extLst>
              <a:ext uri="{FF2B5EF4-FFF2-40B4-BE49-F238E27FC236}">
                <a16:creationId xmlns:a16="http://schemas.microsoft.com/office/drawing/2014/main" id="{026D3A32-DFA8-45D3-9A15-BC0E02767D66}"/>
              </a:ext>
            </a:extLst>
          </p:cNvPr>
          <p:cNvSpPr txBox="1"/>
          <p:nvPr/>
        </p:nvSpPr>
        <p:spPr>
          <a:xfrm>
            <a:off x="138539" y="103442"/>
            <a:ext cx="6576646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-ДАН ӘЛЕУМЕТТІК ТӨЛЕМДЕР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C1B69C68-E2AE-456B-9342-FB5886385FB9}"/>
              </a:ext>
            </a:extLst>
          </p:cNvPr>
          <p:cNvSpPr/>
          <p:nvPr/>
        </p:nvSpPr>
        <p:spPr>
          <a:xfrm>
            <a:off x="66090" y="472434"/>
            <a:ext cx="6450798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ЛА 1,5 ЖАСҚА ТОЛҒАНҒА ДЕЙІН ОНЫҢ КҮТІМІНЕ БАЙЛАНЫСТЫ КІРІСІНЕН АЙЫРЫЛУ ЖАҒДАЙЫ БОЙЫНША ӘЛЕУМЕТТІК ТӨЛЕМ</a:t>
            </a:r>
          </a:p>
        </p:txBody>
      </p: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14416E13-E40A-46F6-8994-34AFD4AB5D39}"/>
              </a:ext>
            </a:extLst>
          </p:cNvPr>
          <p:cNvCxnSpPr>
            <a:cxnSpLocks/>
          </p:cNvCxnSpPr>
          <p:nvPr/>
        </p:nvCxnSpPr>
        <p:spPr>
          <a:xfrm flipV="1">
            <a:off x="85140" y="407534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1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39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C65C6F04-55CD-4A75-BB48-B14C5D8446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78921" y="8697410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26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40139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object 8">
            <a:extLst>
              <a:ext uri="{FF2B5EF4-FFF2-40B4-BE49-F238E27FC236}">
                <a16:creationId xmlns:a16="http://schemas.microsoft.com/office/drawing/2014/main" id="{17AD95F7-2C44-4C76-A68A-B9243F5CF4C5}"/>
              </a:ext>
            </a:extLst>
          </p:cNvPr>
          <p:cNvSpPr txBox="1"/>
          <p:nvPr/>
        </p:nvSpPr>
        <p:spPr>
          <a:xfrm>
            <a:off x="160509" y="65458"/>
            <a:ext cx="6621291" cy="768586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-ДАН КӨРСЕТІЛЕТІН МЕМЛЕКЕТТІК ҚЫЗМЕТТЕР. МЕМЛЕКЕТТІК ҚЫЗМЕТТЕР КӨРСЕТУДЕГІ ЦИФРЛЫҚ ШЕШІМДЕРДІҢ ДАМУЫ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A8245BE9-548F-434A-8643-CC032CE4B298}"/>
              </a:ext>
            </a:extLst>
          </p:cNvPr>
          <p:cNvSpPr/>
          <p:nvPr/>
        </p:nvSpPr>
        <p:spPr>
          <a:xfrm>
            <a:off x="285749" y="1256304"/>
            <a:ext cx="604329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tabLst>
                <a:tab pos="263525" algn="l"/>
              </a:tabLst>
            </a:pP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	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індетт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йесіні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өрсетілеті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ызметтерді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kk-KZ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знес-процестер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втоматтандырылғ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өрсет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ысан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-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электрондық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ішінар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втоматтандырылғ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 /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ғаз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үрд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/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оактивт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ызмет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өрсетуді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ұқсат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тілге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ұзақ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уақыты-20 минут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Диаграмма 3">
            <a:extLst>
              <a:ext uri="{FF2B5EF4-FFF2-40B4-BE49-F238E27FC236}">
                <a16:creationId xmlns:a16="http://schemas.microsoft.com/office/drawing/2014/main" id="{5BBA63F2-9662-42C0-8DA2-75574B3E5DCD}"/>
              </a:ext>
            </a:extLst>
          </p:cNvPr>
          <p:cNvGraphicFramePr/>
          <p:nvPr>
            <p:extLst/>
          </p:nvPr>
        </p:nvGraphicFramePr>
        <p:xfrm>
          <a:off x="474072" y="2472091"/>
          <a:ext cx="5743576" cy="20663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70CD1E3A-55F7-4C59-8B2F-99BB00298AFB}"/>
              </a:ext>
            </a:extLst>
          </p:cNvPr>
          <p:cNvSpPr/>
          <p:nvPr/>
        </p:nvSpPr>
        <p:spPr>
          <a:xfrm>
            <a:off x="373666" y="2115334"/>
            <a:ext cx="5944387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 түрлері бөлінісіндегі мемлекеттік көрсетелетін қызметтер</a:t>
            </a:r>
            <a:endParaRPr lang="ru-KZ" sz="1050"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C160A7E2-B3CF-48AA-8DF3-8354547CD674}"/>
              </a:ext>
            </a:extLst>
          </p:cNvPr>
          <p:cNvSpPr/>
          <p:nvPr/>
        </p:nvSpPr>
        <p:spPr>
          <a:xfrm>
            <a:off x="285750" y="4538452"/>
            <a:ext cx="6296025" cy="36317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>
              <a:tabLst>
                <a:tab pos="600272" algn="l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2024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індет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йесі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тысушылар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дер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ғайынд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немесе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ғайындауд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бас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рт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48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127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ызмет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өрсетіл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ұ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2023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өрсеткіштерд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(901 797) 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%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оғар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>
              <a:tabLst>
                <a:tab pos="600272" algn="l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ұ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ретт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лар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6</a:t>
            </a:r>
            <a:r>
              <a:rPr lang="kk-KZ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%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- дан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стам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н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ла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йланыс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дер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ғайынд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ктіл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сан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</a:t>
            </a:r>
            <a:r>
              <a:rPr lang="en-US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0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%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бала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үтім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3%).</a:t>
            </a:r>
          </a:p>
          <a:p>
            <a:pPr indent="180975" algn="just">
              <a:tabLst>
                <a:tab pos="600272" algn="l"/>
              </a:tabLst>
            </a:pP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лемдерд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ғайында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ерзім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егіз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ұмыс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үнінен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спайд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сыраушысын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йырыл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ұмысын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йырыл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ғдайларын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лемд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ғайында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ерзім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заматтар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рнал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үкімет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"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орпорациясын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"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рлық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жетт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ұжаттарме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ірг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тініш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іркелге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үнне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стап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лты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ұмыс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үнінен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спайд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"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Электрондық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үкіметті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" веб-порталы,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кінш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еңгейдег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нктерді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қпараттандыр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бъектілер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немесе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ұял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йланысты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боненттік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ұрылғыс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оактивт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ызмет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рқыл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–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рт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ұмыс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үн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 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just">
              <a:tabLst>
                <a:tab pos="600272" algn="l"/>
              </a:tabLst>
            </a:pP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лемдерд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ғайында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немесе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ғайындауд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бас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рт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шешімд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орды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филиалдар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былдайд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>
              <a:tabLst>
                <a:tab pos="600272" algn="l"/>
              </a:tabLst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Филиал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і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ызметкері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ктем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орта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сепп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і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айда 984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шешім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і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үн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ішін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– 47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шешім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рай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йт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рау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йт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стау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оқтату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т. б.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с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ған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just">
              <a:tabLst>
                <a:tab pos="600272" algn="l"/>
              </a:tabLst>
            </a:pP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еспубликас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кімшілік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әсімдік-процестік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одексіні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ормаларын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әйкес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лемдерд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ғайындауд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бас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ртылға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ғдайд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індетт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үрд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ыңда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әсім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ргізілед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just">
              <a:tabLst>
                <a:tab pos="600272" algn="l"/>
              </a:tabLst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тініш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еруш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sms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хабарлам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рқы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бас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рт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ебепте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хабард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тіле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ұсыныл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жаттар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тініш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еруші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"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заматтар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рнал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үкімет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"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орпорацияс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"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рқы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йтара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сылай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МӘСҚ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филиалдары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ызметкерле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тініш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ерушілерм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ікелей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йланыст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лмайд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just">
              <a:tabLst>
                <a:tab pos="600272" algn="l"/>
              </a:tabLst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тініш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еруш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рау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р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зеңдер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дағалай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ат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ызметте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өрсетуд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шықты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тілд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lang="ru-KZ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CC218A90-8415-46B2-959D-D5A3A9259F87}"/>
              </a:ext>
            </a:extLst>
          </p:cNvPr>
          <p:cNvSpPr/>
          <p:nvPr/>
        </p:nvSpPr>
        <p:spPr>
          <a:xfrm>
            <a:off x="75615" y="995718"/>
            <a:ext cx="662129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. ӘЛЕУМЕТТІК ТӨЛЕМДЕРДІ ТАҒАЙЫНДАУ</a:t>
            </a: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9EF709AC-7721-4C64-A178-60B0EB34315E}"/>
              </a:ext>
            </a:extLst>
          </p:cNvPr>
          <p:cNvCxnSpPr>
            <a:cxnSpLocks/>
          </p:cNvCxnSpPr>
          <p:nvPr/>
        </p:nvCxnSpPr>
        <p:spPr>
          <a:xfrm flipV="1">
            <a:off x="75615" y="874047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0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39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1BAA19AD-B9C2-4936-9519-1215ED58E9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67491" y="8689518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27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534757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228B03C7-E8DC-4AC8-9D88-A0103F9A9C1B}"/>
              </a:ext>
            </a:extLst>
          </p:cNvPr>
          <p:cNvSpPr/>
          <p:nvPr/>
        </p:nvSpPr>
        <p:spPr>
          <a:xfrm>
            <a:off x="274319" y="3435710"/>
            <a:ext cx="5744343" cy="2539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599425" algn="ctr"/>
            <a:r>
              <a:rPr lang="ru-RU" sz="105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5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ызмет</a:t>
            </a:r>
            <a:r>
              <a:rPr lang="ru-RU" sz="105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өрсету</a:t>
            </a:r>
            <a:r>
              <a:rPr lang="ru-RU" sz="105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ысаны</a:t>
            </a:r>
            <a:r>
              <a:rPr lang="ru-RU" sz="105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йынша</a:t>
            </a:r>
            <a:r>
              <a:rPr lang="ru-RU" sz="105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әліметтер</a:t>
            </a:r>
            <a:r>
              <a:rPr lang="ru-RU" sz="105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%</a:t>
            </a:r>
            <a:endParaRPr lang="ru-KZ" sz="105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graphicFrame>
        <p:nvGraphicFramePr>
          <p:cNvPr id="15" name="Диаграмма 14">
            <a:extLst>
              <a:ext uri="{FF2B5EF4-FFF2-40B4-BE49-F238E27FC236}">
                <a16:creationId xmlns:a16="http://schemas.microsoft.com/office/drawing/2014/main" id="{530BDBBB-F0AE-467C-A2E6-15F0DC6021B7}"/>
              </a:ext>
            </a:extLst>
          </p:cNvPr>
          <p:cNvGraphicFramePr/>
          <p:nvPr>
            <p:extLst/>
          </p:nvPr>
        </p:nvGraphicFramePr>
        <p:xfrm>
          <a:off x="583097" y="3715627"/>
          <a:ext cx="6000583" cy="24519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7F2C3162-FA0C-4851-A4B7-C1383C449754}"/>
              </a:ext>
            </a:extLst>
          </p:cNvPr>
          <p:cNvSpPr/>
          <p:nvPr/>
        </p:nvSpPr>
        <p:spPr>
          <a:xfrm>
            <a:off x="424070" y="6167621"/>
            <a:ext cx="6159610" cy="20928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септ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езеңні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орытындылар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: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әстүрл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ысанд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- </a:t>
            </a:r>
            <a:r>
              <a:rPr lang="en-US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9,</a:t>
            </a:r>
            <a:r>
              <a:rPr lang="en-US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% </a:t>
            </a:r>
            <a:r>
              <a:rPr lang="ru-RU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202</a:t>
            </a:r>
            <a:r>
              <a:rPr lang="en-US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3</a:t>
            </a:r>
            <a:r>
              <a:rPr lang="ru-RU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ж. – </a:t>
            </a:r>
            <a:r>
              <a:rPr lang="en-US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39</a:t>
            </a:r>
            <a:r>
              <a:rPr lang="ru-RU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%);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омпози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–  </a:t>
            </a:r>
            <a:r>
              <a:rPr lang="en-US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0,3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% </a:t>
            </a:r>
            <a:r>
              <a:rPr lang="ru-RU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</a:t>
            </a:r>
            <a:r>
              <a:rPr lang="en-US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</a:t>
            </a:r>
            <a:r>
              <a:rPr lang="ru-RU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</a:t>
            </a:r>
            <a:r>
              <a:rPr lang="en-US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4</a:t>
            </a:r>
            <a:r>
              <a:rPr lang="ru-RU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%)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ейі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өрсетілг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дерд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ғайында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ызметте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үлесіні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мендеу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йқалады</a:t>
            </a:r>
            <a:r>
              <a:rPr lang="ru-RU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ұл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етт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электронды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форматт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өрсетілг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ызметтерді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үлес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 </a:t>
            </a:r>
            <a:r>
              <a:rPr lang="en-US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70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</a:t>
            </a:r>
            <a:r>
              <a:rPr lang="en-US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5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%-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ғ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ейі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ст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202</a:t>
            </a:r>
            <a:r>
              <a:rPr lang="en-US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3</a:t>
            </a:r>
            <a:r>
              <a:rPr lang="ru-RU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ж. – </a:t>
            </a:r>
            <a:r>
              <a:rPr lang="en-US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59</a:t>
            </a:r>
            <a:r>
              <a:rPr lang="ru-RU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</a:t>
            </a:r>
            <a:r>
              <a:rPr lang="en-US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6</a:t>
            </a:r>
            <a:r>
              <a:rPr lang="ru-RU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%).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 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Р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одексіні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шеңберінд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іс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акеттері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втоматт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үрд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лыптастыру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нгіз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электронды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ызметтерд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өрсет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ерзімі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8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ұмыс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үнін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4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ұмыс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үнін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ейі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ысқартуғ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үмкінд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ерд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Электронды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үрд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өрсетілг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рлы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ызметте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(70,5% - 668 162)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іс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акеттер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втоматт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үрд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лыптастырыл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ны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ішінд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үлестер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: 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ұмысына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йырыл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 - 46%, бала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үтім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– 44%. </a:t>
            </a:r>
          </a:p>
          <a:p>
            <a:pPr indent="180975" algn="just"/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о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«ЕРДО» АҚ-мен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ірлесіп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2024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ылды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мыз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йына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стап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әуекелдерді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рлы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үрлер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о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еңгейін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үсеті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электронды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іс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акеттер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авто та</a:t>
            </a:r>
            <a:r>
              <a:rPr lang="kk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ғайында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илотты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обан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іск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ост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септ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үнг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втотағайында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акеттерді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үлес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5,5-6,5%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еңгейінд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 useBgFill="1">
        <p:nvSpPr>
          <p:cNvPr id="2" name="Прямоугольник 1">
            <a:extLst>
              <a:ext uri="{FF2B5EF4-FFF2-40B4-BE49-F238E27FC236}">
                <a16:creationId xmlns:a16="http://schemas.microsoft.com/office/drawing/2014/main" id="{C6200DFC-221A-4B53-9AB3-DFE777D22A23}"/>
              </a:ext>
            </a:extLst>
          </p:cNvPr>
          <p:cNvSpPr>
            <a:spLocks/>
          </p:cNvSpPr>
          <p:nvPr/>
        </p:nvSpPr>
        <p:spPr>
          <a:xfrm>
            <a:off x="310101" y="920261"/>
            <a:ext cx="6347873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дерд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ғайында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немесе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ғайындауда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бас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рт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ызметте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«Е-Макет» ААЖ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ғдарламалы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німінд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өрсетілед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 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ӘСҚ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ұрақт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егізд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«Е-Макет» ААЖ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ұмыс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істеуін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мониторинг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үргізед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ның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әтижелер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үйен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да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р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етілдіру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өнінд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ұсыныстард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ҚР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ңбек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халықт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орғау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инистрлігін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іберед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ызметтердің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олжетімділігі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мтамасыз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ту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ақсатында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ыл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айы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лард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өрсетудің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ықтимал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өздер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еңейтілед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дерд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ғайындау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әстүрл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форматта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үгінуг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лад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(«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заматтарға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рналға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үкімет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орпорацияс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» КЕАҚ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рқыл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,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ныме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ірг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үгінг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үн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рлық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әуекелдер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лард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электрондық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үрд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оактивт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үрд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   )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өрсетудің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ламал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ысандары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олдану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мтамасыз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тілд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US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gov.kz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US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nbek.kz.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 </a:t>
            </a:r>
          </a:p>
          <a:p>
            <a:pPr indent="180975" algn="just"/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ұмыста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йырыл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ғдай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бала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үтім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дерд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ғайында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-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кінш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еңгейл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нкте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рқыл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үгінуг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ла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ңбекк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білеттілігін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йырыл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ұмысына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йырыл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ғдайын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дерд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ғайында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– МӘС, МО (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омпози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форматт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рқыл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ұмысына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йырыл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де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осым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- enbek.kz.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рнас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өзделг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сыраушысына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йырыл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де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ғайында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US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gov.kz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оактивт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форматт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тініш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беру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үмкіндіг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растырылға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2" name="object 8">
            <a:extLst>
              <a:ext uri="{FF2B5EF4-FFF2-40B4-BE49-F238E27FC236}">
                <a16:creationId xmlns:a16="http://schemas.microsoft.com/office/drawing/2014/main" id="{2AFE5B47-F6DE-4315-99CC-F13B365B12F8}"/>
              </a:ext>
            </a:extLst>
          </p:cNvPr>
          <p:cNvSpPr txBox="1"/>
          <p:nvPr/>
        </p:nvSpPr>
        <p:spPr>
          <a:xfrm>
            <a:off x="160509" y="36883"/>
            <a:ext cx="6621291" cy="768586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-ДАН КӨРСЕТІЛЕТІН МЕМЛЕКЕТТІК ҚЫЗМЕТТЕР. МЕМЛЕКЕТТІК ҚЫЗМЕТТЕР КӨРСЕТУДЕ ЦИФРЛЫҚ ШЕШІМДЕРДІҢ ДАМУЫ</a:t>
            </a: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1B961D86-1A5A-424E-B4B1-4E6279E3CF4A}"/>
              </a:ext>
            </a:extLst>
          </p:cNvPr>
          <p:cNvCxnSpPr>
            <a:cxnSpLocks/>
          </p:cNvCxnSpPr>
          <p:nvPr/>
        </p:nvCxnSpPr>
        <p:spPr>
          <a:xfrm>
            <a:off x="160509" y="805469"/>
            <a:ext cx="6423171" cy="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0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39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B2BC3A82-2499-427B-9AB7-E81B6A06E3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67491" y="8683069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28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419874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bject 8">
            <a:extLst>
              <a:ext uri="{FF2B5EF4-FFF2-40B4-BE49-F238E27FC236}">
                <a16:creationId xmlns:a16="http://schemas.microsoft.com/office/drawing/2014/main" id="{E84081C9-DAD1-45D4-A398-0FEC30EE5E48}"/>
              </a:ext>
            </a:extLst>
          </p:cNvPr>
          <p:cNvSpPr txBox="1"/>
          <p:nvPr/>
        </p:nvSpPr>
        <p:spPr>
          <a:xfrm>
            <a:off x="160509" y="113083"/>
            <a:ext cx="6621291" cy="768586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-ДАН КӨРСЕТІЛЕТІН МЕМЛЕКЕТТІК ҚЫЗМЕТТЕР. МЕМЛЕКЕТТІК ҚЫЗМЕТТЕР КӨРСЕТУДЕГІ ЦИФРЛЫҚ ШЕШІМДЕРДІҢ ДАМУЫ</a:t>
            </a: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A13F7F67-2E41-4829-A51D-B9FD22085CC4}"/>
              </a:ext>
            </a:extLst>
          </p:cNvPr>
          <p:cNvCxnSpPr>
            <a:cxnSpLocks/>
          </p:cNvCxnSpPr>
          <p:nvPr/>
        </p:nvCxnSpPr>
        <p:spPr>
          <a:xfrm>
            <a:off x="251460" y="881669"/>
            <a:ext cx="6297930" cy="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D16AC863-60B4-464C-8BFB-81AA35ADEDB0}"/>
              </a:ext>
            </a:extLst>
          </p:cNvPr>
          <p:cNvSpPr/>
          <p:nvPr/>
        </p:nvSpPr>
        <p:spPr>
          <a:xfrm>
            <a:off x="341609" y="1159842"/>
            <a:ext cx="585630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tabLst>
                <a:tab pos="600272" algn="l"/>
              </a:tabLst>
            </a:pPr>
            <a:r>
              <a:rPr lang="kk-KZ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ТЫҚ (ҚАТЕ) ТӨЛЕНГЕН ӘЛЕУМЕТТІК АУДАРЫМДАР МЕН ӨСІМПҰЛДАРДЫҢ СОМАЛАРЫН ҚАЙТАРУ</a:t>
            </a:r>
            <a:endParaRPr lang="ru-KZ" sz="1200" b="1" dirty="0">
              <a:solidFill>
                <a:srgbClr val="00206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F18F8A06-38F1-4C27-B097-6452F4797FFD}"/>
              </a:ext>
            </a:extLst>
          </p:cNvPr>
          <p:cNvSpPr/>
          <p:nvPr/>
        </p:nvSpPr>
        <p:spPr>
          <a:xfrm>
            <a:off x="434032" y="5750632"/>
            <a:ext cx="6233400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«</a:t>
            </a:r>
            <a:r>
              <a:rPr lang="kk-KZ" sz="1000" dirty="0">
                <a:latin typeface="Arial" panose="020B0604020202020204" pitchFamily="34" charset="0"/>
                <a:cs typeface="Arial" panose="020B0604020202020204" pitchFamily="34" charset="0"/>
              </a:rPr>
              <a:t>Төлемдерді өңдеуді ұйымдасты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» ААЖ (Е</a:t>
            </a:r>
            <a:r>
              <a:rPr lang="kk-KZ" sz="1000" dirty="0">
                <a:latin typeface="Arial" panose="020B0604020202020204" pitchFamily="34" charset="0"/>
                <a:cs typeface="Arial" panose="020B0604020202020204" pitchFamily="34" charset="0"/>
              </a:rPr>
              <a:t>ХӘҚМ АЖ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) мен «ХҚКО»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интеграциялан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қпаратт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йесім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интеграциял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ргізіл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2024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ыркүйект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неркәсіп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рта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«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ударымдар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уақты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(немесе)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о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еген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рт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т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нг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ударымдар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(немесе)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сімпұлдар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йта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ызмет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өрсет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нәтижеле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«Мониторинг» АЖО-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еректер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беру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іск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сыл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Республикасы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йелерін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ISO 20022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халықара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тандарт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пайдалану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өшу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Айта кету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ре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йелері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тысушылар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ISO 20022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тандартын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і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езгіл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уыс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үн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2024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ыркүйект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ста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ҚР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Ұлтт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нк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йесі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тысушылар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ай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лм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ебептері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йланыс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ірнеш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рет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уыстырыл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ұ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ретт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айынд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зеңін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рт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т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нг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ударымд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сімпұлдар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йтару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рнал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тінімдер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ңдеуд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шен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естілеу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ірнеш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рет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әт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ткіз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ондай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"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заматтар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рнал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үкімет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"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орпорация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"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еткіз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тыры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МХ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ң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форматын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шығыс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дер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лыптастыр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20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39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1795A669-78F8-46EB-9ADC-7F9DBDAD8A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69243" y="8700948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29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6" name="Диаграмма 15">
            <a:extLst>
              <a:ext uri="{FF2B5EF4-FFF2-40B4-BE49-F238E27FC236}">
                <a16:creationId xmlns:a16="http://schemas.microsoft.com/office/drawing/2014/main" id="{97ADBBBD-9FD7-4FD3-8C23-99A736A4C61E}"/>
              </a:ext>
            </a:extLst>
          </p:cNvPr>
          <p:cNvGraphicFramePr/>
          <p:nvPr>
            <p:extLst/>
          </p:nvPr>
        </p:nvGraphicFramePr>
        <p:xfrm>
          <a:off x="517793" y="2721166"/>
          <a:ext cx="5680124" cy="29230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2AA68DA1-282E-491A-A3AE-C006D4E93D97}"/>
              </a:ext>
            </a:extLst>
          </p:cNvPr>
          <p:cNvSpPr/>
          <p:nvPr/>
        </p:nvSpPr>
        <p:spPr>
          <a:xfrm>
            <a:off x="517793" y="1876066"/>
            <a:ext cx="554683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23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024 ж</a:t>
            </a:r>
            <a:r>
              <a:rPr lang="kk-KZ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ылдардағы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ӘА мен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сімпұлды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йтару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тініштердің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инамикасы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35523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8">
            <a:extLst>
              <a:ext uri="{FF2B5EF4-FFF2-40B4-BE49-F238E27FC236}">
                <a16:creationId xmlns:a16="http://schemas.microsoft.com/office/drawing/2014/main" id="{F5673190-FC8E-440E-AB9F-828A242C4BD3}"/>
              </a:ext>
            </a:extLst>
          </p:cNvPr>
          <p:cNvSpPr txBox="1"/>
          <p:nvPr/>
        </p:nvSpPr>
        <p:spPr>
          <a:xfrm>
            <a:off x="338209" y="106518"/>
            <a:ext cx="5830775" cy="478763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«МЕМЛЕКЕТТІК ӘЛЕУМЕТТІК САҚТАНДЫРУ ҚОРЫ» АҚ </a:t>
            </a:r>
            <a:r>
              <a:rPr lang="ru-RU" sz="1400" i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МӘСҚ)</a:t>
            </a:r>
            <a:endParaRPr lang="ru-RU" sz="1600" i="1" spc="20" dirty="0">
              <a:solidFill>
                <a:srgbClr val="00206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F90D0DD1-44A6-4910-AEE0-2488CA3DB317}"/>
              </a:ext>
            </a:extLst>
          </p:cNvPr>
          <p:cNvCxnSpPr>
            <a:cxnSpLocks/>
          </p:cNvCxnSpPr>
          <p:nvPr/>
        </p:nvCxnSpPr>
        <p:spPr>
          <a:xfrm>
            <a:off x="338209" y="777240"/>
            <a:ext cx="5492566" cy="95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E395823F-5FA5-458A-BF76-21F46D5505E3}"/>
              </a:ext>
            </a:extLst>
          </p:cNvPr>
          <p:cNvSpPr/>
          <p:nvPr/>
        </p:nvSpPr>
        <p:spPr>
          <a:xfrm>
            <a:off x="276352" y="955368"/>
            <a:ext cx="3152648" cy="66884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2563" algn="just">
              <a:lnSpc>
                <a:spcPct val="101000"/>
              </a:lnSpc>
            </a:pP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ӘСҚ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лғыз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ұрылтайшыс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тысушыс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емлекет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лып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былаты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кционерлік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оғам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ысанындағ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«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ор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"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кционерлік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оғамы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ұру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"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еспубликас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Үкіметіні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004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7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қпандағ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№ 237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улысын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әйке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ұрылд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pPr indent="182563" algn="just">
              <a:lnSpc>
                <a:spcPct val="101000"/>
              </a:lnSpc>
            </a:pP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ор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оммерциялық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ме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ұйым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лып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былад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яғни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ны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негізгі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ақсат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бы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табу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ме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лынға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таза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іріст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з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кционерлерін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өлмейд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з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кциялар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ивидендтер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септемейд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немесе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лемейд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pPr indent="182563" algn="just">
              <a:lnSpc>
                <a:spcPct val="101000"/>
              </a:lnSpc>
            </a:pP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МӘСҚ-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ның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жоғары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органы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Республикас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ңбе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халық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ғ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инистрліг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ұд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-ЕХ</a:t>
            </a:r>
            <a:r>
              <a:rPr lang="kk-KZ" sz="1000" dirty="0">
                <a:latin typeface="Arial" panose="020B0604020202020204" pitchFamily="34" charset="0"/>
                <a:cs typeface="Arial" panose="020B0604020202020204" pitchFamily="34" charset="0"/>
              </a:rPr>
              <a:t>ӘҚМ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лғыз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акционер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лы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была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indent="182563" algn="just">
              <a:lnSpc>
                <a:spcPct val="101000"/>
              </a:lnSpc>
            </a:pP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МӘСҚ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басқару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органы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Республикасы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заңнамасым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рғысым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лғыз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кционерд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йрық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зыреті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тқызыл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әселелер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шешу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спаған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МӘСҚ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ызметі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лп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сшылық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сырат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ңес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indent="182563" algn="just">
              <a:lnSpc>
                <a:spcPct val="101000"/>
              </a:lnSpc>
            </a:pP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Атқарушы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орган -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МӘСҚ-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ғымда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ызметі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сшылық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сырат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қа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орган-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сқарм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indent="182563" algn="just">
              <a:lnSpc>
                <a:spcPct val="101000"/>
              </a:lnSpc>
            </a:pPr>
            <a:r>
              <a:rPr lang="ru-RU" sz="900" i="1" dirty="0">
                <a:latin typeface="Arial" panose="020B0604020202020204" pitchFamily="34" charset="0"/>
                <a:cs typeface="Arial" panose="020B0604020202020204" pitchFamily="34" charset="0"/>
              </a:rPr>
              <a:t>ҚР </a:t>
            </a:r>
            <a:r>
              <a:rPr lang="ru-RU" sz="900" i="1" dirty="0" err="1">
                <a:latin typeface="Arial" panose="020B0604020202020204" pitchFamily="34" charset="0"/>
                <a:cs typeface="Arial" panose="020B0604020202020204" pitchFamily="34" charset="0"/>
              </a:rPr>
              <a:t>Еңбек</a:t>
            </a:r>
            <a:r>
              <a:rPr lang="ru-RU" sz="9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i="1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9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i="1" dirty="0" err="1">
                <a:latin typeface="Arial" panose="020B0604020202020204" pitchFamily="34" charset="0"/>
                <a:cs typeface="Arial" panose="020B0604020202020204" pitchFamily="34" charset="0"/>
              </a:rPr>
              <a:t>халықты</a:t>
            </a:r>
            <a:r>
              <a:rPr lang="ru-RU" sz="9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i="1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9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i="1" dirty="0" err="1">
                <a:latin typeface="Arial" panose="020B0604020202020204" pitchFamily="34" charset="0"/>
                <a:cs typeface="Arial" panose="020B0604020202020204" pitchFamily="34" charset="0"/>
              </a:rPr>
              <a:t>қорғау</a:t>
            </a:r>
            <a:r>
              <a:rPr lang="ru-RU" sz="9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i="1" dirty="0" err="1">
                <a:latin typeface="Arial" panose="020B0604020202020204" pitchFamily="34" charset="0"/>
                <a:cs typeface="Arial" panose="020B0604020202020204" pitchFamily="34" charset="0"/>
              </a:rPr>
              <a:t>министрінің</a:t>
            </a:r>
            <a:r>
              <a:rPr lang="ru-RU" sz="900" i="1" dirty="0">
                <a:latin typeface="Arial" panose="020B0604020202020204" pitchFamily="34" charset="0"/>
                <a:cs typeface="Arial" panose="020B0604020202020204" pitchFamily="34" charset="0"/>
              </a:rPr>
              <a:t> 28.05.2024. </a:t>
            </a:r>
            <a:r>
              <a:rPr lang="ru-RU" sz="900" i="1" dirty="0" err="1">
                <a:latin typeface="Arial" panose="020B0604020202020204" pitchFamily="34" charset="0"/>
                <a:cs typeface="Arial" panose="020B0604020202020204" pitchFamily="34" charset="0"/>
              </a:rPr>
              <a:t>жылғы</a:t>
            </a:r>
            <a:r>
              <a:rPr lang="ru-RU" sz="900" i="1" dirty="0">
                <a:latin typeface="Arial" panose="020B0604020202020204" pitchFamily="34" charset="0"/>
                <a:cs typeface="Arial" panose="020B0604020202020204" pitchFamily="34" charset="0"/>
              </a:rPr>
              <a:t>  № 167 </a:t>
            </a:r>
            <a:r>
              <a:rPr lang="ru-RU" sz="900" i="1" dirty="0" err="1">
                <a:latin typeface="Arial" panose="020B0604020202020204" pitchFamily="34" charset="0"/>
                <a:cs typeface="Arial" panose="020B0604020202020204" pitchFamily="34" charset="0"/>
              </a:rPr>
              <a:t>бұйрығымен</a:t>
            </a:r>
            <a:r>
              <a:rPr lang="ru-RU" sz="900" i="1" dirty="0">
                <a:latin typeface="Arial" panose="020B0604020202020204" pitchFamily="34" charset="0"/>
                <a:cs typeface="Arial" panose="020B0604020202020204" pitchFamily="34" charset="0"/>
              </a:rPr>
              <a:t> МӘСҚ </a:t>
            </a:r>
            <a:r>
              <a:rPr lang="ru-RU" sz="900" i="1" dirty="0" err="1">
                <a:latin typeface="Arial" panose="020B0604020202020204" pitchFamily="34" charset="0"/>
                <a:cs typeface="Arial" panose="020B0604020202020204" pitchFamily="34" charset="0"/>
              </a:rPr>
              <a:t>Жарғысына</a:t>
            </a:r>
            <a:r>
              <a:rPr lang="ru-RU" sz="900" i="1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900" i="1" dirty="0" err="1">
                <a:latin typeface="Arial" panose="020B0604020202020204" pitchFamily="34" charset="0"/>
                <a:cs typeface="Arial" panose="020B0604020202020204" pitchFamily="34" charset="0"/>
              </a:rPr>
              <a:t>оның</a:t>
            </a:r>
            <a:r>
              <a:rPr lang="ru-RU" sz="9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i="1" dirty="0" err="1">
                <a:latin typeface="Arial" panose="020B0604020202020204" pitchFamily="34" charset="0"/>
                <a:cs typeface="Arial" panose="020B0604020202020204" pitchFamily="34" charset="0"/>
              </a:rPr>
              <a:t>ішінде</a:t>
            </a:r>
            <a:r>
              <a:rPr lang="ru-RU" sz="9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i="1" dirty="0" err="1">
                <a:latin typeface="Arial" panose="020B0604020202020204" pitchFamily="34" charset="0"/>
                <a:cs typeface="Arial" panose="020B0604020202020204" pitchFamily="34" charset="0"/>
              </a:rPr>
              <a:t>Басқарма</a:t>
            </a:r>
            <a:r>
              <a:rPr lang="ru-RU" sz="900" i="1" dirty="0">
                <a:latin typeface="Arial" panose="020B0604020202020204" pitchFamily="34" charset="0"/>
                <a:cs typeface="Arial" panose="020B0604020202020204" pitchFamily="34" charset="0"/>
              </a:rPr>
              <a:t> - </a:t>
            </a:r>
            <a:r>
              <a:rPr lang="ru-RU" sz="900" i="1" dirty="0" err="1">
                <a:latin typeface="Arial" panose="020B0604020202020204" pitchFamily="34" charset="0"/>
                <a:cs typeface="Arial" panose="020B0604020202020204" pitchFamily="34" charset="0"/>
              </a:rPr>
              <a:t>алқалы</a:t>
            </a:r>
            <a:r>
              <a:rPr lang="ru-RU" sz="9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i="1" dirty="0" err="1">
                <a:latin typeface="Arial" panose="020B0604020202020204" pitchFamily="34" charset="0"/>
                <a:cs typeface="Arial" panose="020B0604020202020204" pitchFamily="34" charset="0"/>
              </a:rPr>
              <a:t>атқарушы</a:t>
            </a:r>
            <a:r>
              <a:rPr lang="ru-RU" sz="900" i="1" dirty="0">
                <a:latin typeface="Arial" panose="020B0604020202020204" pitchFamily="34" charset="0"/>
                <a:cs typeface="Arial" panose="020B0604020202020204" pitchFamily="34" charset="0"/>
              </a:rPr>
              <a:t> орган - </a:t>
            </a:r>
            <a:r>
              <a:rPr lang="ru-RU" sz="900" i="1" dirty="0" err="1">
                <a:latin typeface="Arial" panose="020B0604020202020204" pitchFamily="34" charset="0"/>
                <a:cs typeface="Arial" panose="020B0604020202020204" pitchFamily="34" charset="0"/>
              </a:rPr>
              <a:t>бөлігінде</a:t>
            </a:r>
            <a:r>
              <a:rPr lang="ru-RU" sz="9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i="1" dirty="0" err="1">
                <a:latin typeface="Arial" panose="020B0604020202020204" pitchFamily="34" charset="0"/>
                <a:cs typeface="Arial" panose="020B0604020202020204" pitchFamily="34" charset="0"/>
              </a:rPr>
              <a:t>өзгерістер</a:t>
            </a:r>
            <a:r>
              <a:rPr lang="ru-RU" sz="900" i="1" dirty="0"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900" i="1" dirty="0" err="1">
                <a:latin typeface="Arial" panose="020B0604020202020204" pitchFamily="34" charset="0"/>
                <a:cs typeface="Arial" panose="020B0604020202020204" pitchFamily="34" charset="0"/>
              </a:rPr>
              <a:t>толықтырулар</a:t>
            </a:r>
            <a:r>
              <a:rPr lang="ru-RU" sz="900" i="1" dirty="0">
                <a:latin typeface="Arial" panose="020B0604020202020204" pitchFamily="34" charset="0"/>
                <a:cs typeface="Arial" panose="020B0604020202020204" pitchFamily="34" charset="0"/>
              </a:rPr>
              <a:t> енгізілді.</a:t>
            </a:r>
            <a:endParaRPr lang="ru-RU" sz="600" b="1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indent="182563" algn="just">
              <a:lnSpc>
                <a:spcPct val="101000"/>
              </a:lnSpc>
              <a:spcAft>
                <a:spcPts val="0"/>
              </a:spcAft>
            </a:pP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ӘСҚ-</a:t>
            </a:r>
            <a:r>
              <a:rPr lang="ru-RU" sz="1000" b="1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ың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иссиясы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әуекелдер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уындаға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езд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ұмы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істейті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лықты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үддесі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орғау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pPr indent="182563" algn="just">
              <a:lnSpc>
                <a:spcPct val="101000"/>
              </a:lnSpc>
              <a:spcAft>
                <a:spcPts val="0"/>
              </a:spcAft>
            </a:pP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ӘСҚ </a:t>
            </a:r>
            <a:r>
              <a:rPr lang="ru-RU" sz="1000" b="1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айымы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–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әуекелдер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уындаға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езд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декватт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өлшерд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лемдерд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уақтыл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пал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теті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ұрақт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жылық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рнықтылығ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бар институт.</a:t>
            </a:r>
            <a:endParaRPr lang="ru-KZ" sz="10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indent="182563" algn="just">
              <a:lnSpc>
                <a:spcPct val="101000"/>
              </a:lnSpc>
              <a:spcAft>
                <a:spcPts val="0"/>
              </a:spcAft>
            </a:pP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ор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ызметіні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гізгі </a:t>
            </a:r>
            <a:r>
              <a:rPr lang="ru-RU" sz="1000" b="1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ақсаты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еспубликасынд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індетт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йесі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нгізу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ударымдарды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қталуы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ысанал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айдаланылуы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ту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лып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былад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 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E92522C7-CA5E-449F-AFB4-88982F6A6B5C}"/>
              </a:ext>
            </a:extLst>
          </p:cNvPr>
          <p:cNvSpPr/>
          <p:nvPr/>
        </p:nvSpPr>
        <p:spPr>
          <a:xfrm>
            <a:off x="3628385" y="963459"/>
            <a:ext cx="2895298" cy="7478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2563" algn="just">
              <a:tabLst>
                <a:tab pos="540385" algn="l"/>
              </a:tabLst>
            </a:pPr>
            <a:r>
              <a:rPr lang="ru-RU" sz="1000" b="1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ор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елесі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ызметтерді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тқара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:</a:t>
            </a:r>
          </a:p>
          <a:p>
            <a:pPr marL="171450" indent="-171450" algn="just">
              <a:buFontTx/>
              <a:buChar char="-"/>
              <a:tabLst>
                <a:tab pos="354013" algn="l"/>
              </a:tabLst>
            </a:pP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ударымдар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шоғырландыр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;</a:t>
            </a:r>
          </a:p>
          <a:p>
            <a:pPr marL="171450" indent="-171450" algn="just">
              <a:buFontTx/>
              <a:buChar char="-"/>
              <a:tabLst>
                <a:tab pos="354013" algn="l"/>
              </a:tabLst>
            </a:pP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ударымдар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ударымдарды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уақтыл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(немесе)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олы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нбеген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сімпұл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рты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т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нг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ударымдар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ндай-а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уақтыл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(немесе)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олы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еген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сімпұл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йтару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инвестициялы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быст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сепк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лу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үргіз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;</a:t>
            </a:r>
          </a:p>
          <a:p>
            <a:pPr marL="171450" indent="-171450" algn="just">
              <a:spcBef>
                <a:spcPts val="600"/>
              </a:spcBef>
              <a:spcAft>
                <a:spcPts val="0"/>
              </a:spcAft>
              <a:buFontTx/>
              <a:buChar char="-"/>
            </a:pP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Р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одексінд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өзделг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әртіпп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дерді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өлшері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септе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йқында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ғайында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сыр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оқтат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ұр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йт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септе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йт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ста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оқтат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ғайында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ғайындауда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бас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рт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шешімд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йт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ра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;</a:t>
            </a:r>
          </a:p>
          <a:p>
            <a:pPr marL="171450" indent="-171450" algn="just">
              <a:spcBef>
                <a:spcPts val="600"/>
              </a:spcBef>
              <a:spcAft>
                <a:spcPts val="0"/>
              </a:spcAft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де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рты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септелг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нге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де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маларыны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йтарымдарыны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себі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үргіз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;</a:t>
            </a:r>
          </a:p>
          <a:p>
            <a:pPr marL="171450" indent="-171450" algn="just">
              <a:spcBef>
                <a:spcPts val="600"/>
              </a:spcBef>
              <a:spcAft>
                <a:spcPts val="0"/>
              </a:spcAft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індетт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әселелер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онсультатициялы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үсіндір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ұмыстары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үргіз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; </a:t>
            </a:r>
          </a:p>
          <a:p>
            <a:pPr marL="171450" indent="-171450" algn="just">
              <a:spcBef>
                <a:spcPts val="600"/>
              </a:spcBef>
              <a:spcAft>
                <a:spcPts val="0"/>
              </a:spcAft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індетт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аласынд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қпаратты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үйен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ұр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амыту</a:t>
            </a:r>
            <a:endParaRPr lang="ru-RU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2563" algn="just"/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блыстар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республика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аңыз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бар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лалар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20 филиалы бар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з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лг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филиал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ек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заң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ұл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лы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былмай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іра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тын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псырмас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рекет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те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2563" algn="just"/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емлекет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МӘСҚ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активтерінің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сақталуына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нысаналы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пайдаланылуына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кепілдік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береді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indent="182563" algn="just"/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ктивте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себін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де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сырыла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: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256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ңбекк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білеттілігін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йырыл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256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ұмысын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йырыл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256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сыраушысын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уырыл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256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ң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у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лан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лалар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сыра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у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йланыс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іріс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256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- бала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і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рым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сқ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олған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ей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үтімі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йланыс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ірісін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йырыл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0567" y="8787241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62802" y="8787241"/>
            <a:ext cx="410440" cy="263530"/>
          </a:xfrm>
        </p:spPr>
        <p:txBody>
          <a:bodyPr/>
          <a:lstStyle/>
          <a:p>
            <a:r>
              <a:rPr lang="kk-KZ" b="1" dirty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3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173458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Freeform 81">
            <a:extLst>
              <a:ext uri="{FF2B5EF4-FFF2-40B4-BE49-F238E27FC236}">
                <a16:creationId xmlns:a16="http://schemas.microsoft.com/office/drawing/2014/main" id="{C48145F0-C959-4826-93C0-DB03A3A641A6}"/>
              </a:ext>
            </a:extLst>
          </p:cNvPr>
          <p:cNvSpPr>
            <a:spLocks noEditPoints="1"/>
          </p:cNvSpPr>
          <p:nvPr/>
        </p:nvSpPr>
        <p:spPr bwMode="auto">
          <a:xfrm flipH="1">
            <a:off x="4226037" y="5015825"/>
            <a:ext cx="627102" cy="558415"/>
          </a:xfrm>
          <a:custGeom>
            <a:avLst/>
            <a:gdLst>
              <a:gd name="T0" fmla="*/ 603 w 670"/>
              <a:gd name="T1" fmla="*/ 43 h 313"/>
              <a:gd name="T2" fmla="*/ 604 w 670"/>
              <a:gd name="T3" fmla="*/ 48 h 313"/>
              <a:gd name="T4" fmla="*/ 608 w 670"/>
              <a:gd name="T5" fmla="*/ 54 h 313"/>
              <a:gd name="T6" fmla="*/ 611 w 670"/>
              <a:gd name="T7" fmla="*/ 58 h 313"/>
              <a:gd name="T8" fmla="*/ 616 w 670"/>
              <a:gd name="T9" fmla="*/ 63 h 313"/>
              <a:gd name="T10" fmla="*/ 621 w 670"/>
              <a:gd name="T11" fmla="*/ 65 h 313"/>
              <a:gd name="T12" fmla="*/ 627 w 670"/>
              <a:gd name="T13" fmla="*/ 66 h 313"/>
              <a:gd name="T14" fmla="*/ 634 w 670"/>
              <a:gd name="T15" fmla="*/ 67 h 313"/>
              <a:gd name="T16" fmla="*/ 640 w 670"/>
              <a:gd name="T17" fmla="*/ 66 h 313"/>
              <a:gd name="T18" fmla="*/ 646 w 670"/>
              <a:gd name="T19" fmla="*/ 64 h 313"/>
              <a:gd name="T20" fmla="*/ 650 w 670"/>
              <a:gd name="T21" fmla="*/ 61 h 313"/>
              <a:gd name="T22" fmla="*/ 655 w 670"/>
              <a:gd name="T23" fmla="*/ 56 h 313"/>
              <a:gd name="T24" fmla="*/ 658 w 670"/>
              <a:gd name="T25" fmla="*/ 52 h 313"/>
              <a:gd name="T26" fmla="*/ 661 w 670"/>
              <a:gd name="T27" fmla="*/ 45 h 313"/>
              <a:gd name="T28" fmla="*/ 662 w 670"/>
              <a:gd name="T29" fmla="*/ 39 h 313"/>
              <a:gd name="T30" fmla="*/ 662 w 670"/>
              <a:gd name="T31" fmla="*/ 32 h 313"/>
              <a:gd name="T32" fmla="*/ 659 w 670"/>
              <a:gd name="T33" fmla="*/ 27 h 313"/>
              <a:gd name="T34" fmla="*/ 657 w 670"/>
              <a:gd name="T35" fmla="*/ 21 h 313"/>
              <a:gd name="T36" fmla="*/ 653 w 670"/>
              <a:gd name="T37" fmla="*/ 17 h 313"/>
              <a:gd name="T38" fmla="*/ 648 w 670"/>
              <a:gd name="T39" fmla="*/ 12 h 313"/>
              <a:gd name="T40" fmla="*/ 643 w 670"/>
              <a:gd name="T41" fmla="*/ 10 h 313"/>
              <a:gd name="T42" fmla="*/ 637 w 670"/>
              <a:gd name="T43" fmla="*/ 8 h 313"/>
              <a:gd name="T44" fmla="*/ 630 w 670"/>
              <a:gd name="T45" fmla="*/ 8 h 313"/>
              <a:gd name="T46" fmla="*/ 625 w 670"/>
              <a:gd name="T47" fmla="*/ 9 h 313"/>
              <a:gd name="T48" fmla="*/ 619 w 670"/>
              <a:gd name="T49" fmla="*/ 11 h 313"/>
              <a:gd name="T50" fmla="*/ 613 w 670"/>
              <a:gd name="T51" fmla="*/ 14 h 313"/>
              <a:gd name="T52" fmla="*/ 609 w 670"/>
              <a:gd name="T53" fmla="*/ 19 h 313"/>
              <a:gd name="T54" fmla="*/ 605 w 670"/>
              <a:gd name="T55" fmla="*/ 23 h 313"/>
              <a:gd name="T56" fmla="*/ 603 w 670"/>
              <a:gd name="T57" fmla="*/ 29 h 313"/>
              <a:gd name="T58" fmla="*/ 602 w 670"/>
              <a:gd name="T59" fmla="*/ 36 h 313"/>
              <a:gd name="T60" fmla="*/ 627 w 670"/>
              <a:gd name="T61" fmla="*/ 75 h 313"/>
              <a:gd name="T62" fmla="*/ 619 w 670"/>
              <a:gd name="T63" fmla="*/ 73 h 313"/>
              <a:gd name="T64" fmla="*/ 612 w 670"/>
              <a:gd name="T65" fmla="*/ 70 h 313"/>
              <a:gd name="T66" fmla="*/ 607 w 670"/>
              <a:gd name="T67" fmla="*/ 65 h 313"/>
              <a:gd name="T68" fmla="*/ 601 w 670"/>
              <a:gd name="T69" fmla="*/ 59 h 313"/>
              <a:gd name="T70" fmla="*/ 598 w 670"/>
              <a:gd name="T71" fmla="*/ 53 h 313"/>
              <a:gd name="T72" fmla="*/ 595 w 670"/>
              <a:gd name="T73" fmla="*/ 45 h 313"/>
              <a:gd name="T74" fmla="*/ 594 w 670"/>
              <a:gd name="T75" fmla="*/ 37 h 313"/>
              <a:gd name="T76" fmla="*/ 595 w 670"/>
              <a:gd name="T77" fmla="*/ 29 h 313"/>
              <a:gd name="T78" fmla="*/ 598 w 670"/>
              <a:gd name="T79" fmla="*/ 21 h 313"/>
              <a:gd name="T80" fmla="*/ 602 w 670"/>
              <a:gd name="T81" fmla="*/ 14 h 313"/>
              <a:gd name="T82" fmla="*/ 608 w 670"/>
              <a:gd name="T83" fmla="*/ 9 h 313"/>
              <a:gd name="T84" fmla="*/ 613 w 670"/>
              <a:gd name="T85" fmla="*/ 4 h 313"/>
              <a:gd name="T86" fmla="*/ 620 w 670"/>
              <a:gd name="T87" fmla="*/ 2 h 313"/>
              <a:gd name="T88" fmla="*/ 628 w 670"/>
              <a:gd name="T89" fmla="*/ 0 h 313"/>
              <a:gd name="T90" fmla="*/ 637 w 670"/>
              <a:gd name="T91" fmla="*/ 0 h 313"/>
              <a:gd name="T92" fmla="*/ 644 w 670"/>
              <a:gd name="T93" fmla="*/ 2 h 313"/>
              <a:gd name="T94" fmla="*/ 652 w 670"/>
              <a:gd name="T95" fmla="*/ 5 h 313"/>
              <a:gd name="T96" fmla="*/ 657 w 670"/>
              <a:gd name="T97" fmla="*/ 10 h 313"/>
              <a:gd name="T98" fmla="*/ 663 w 670"/>
              <a:gd name="T99" fmla="*/ 15 h 313"/>
              <a:gd name="T100" fmla="*/ 666 w 670"/>
              <a:gd name="T101" fmla="*/ 22 h 313"/>
              <a:gd name="T102" fmla="*/ 668 w 670"/>
              <a:gd name="T103" fmla="*/ 30 h 313"/>
              <a:gd name="T104" fmla="*/ 670 w 670"/>
              <a:gd name="T105" fmla="*/ 38 h 313"/>
              <a:gd name="T106" fmla="*/ 668 w 670"/>
              <a:gd name="T107" fmla="*/ 46 h 313"/>
              <a:gd name="T108" fmla="*/ 666 w 670"/>
              <a:gd name="T109" fmla="*/ 53 h 313"/>
              <a:gd name="T110" fmla="*/ 662 w 670"/>
              <a:gd name="T111" fmla="*/ 59 h 313"/>
              <a:gd name="T112" fmla="*/ 657 w 670"/>
              <a:gd name="T113" fmla="*/ 65 h 313"/>
              <a:gd name="T114" fmla="*/ 650 w 670"/>
              <a:gd name="T115" fmla="*/ 70 h 313"/>
              <a:gd name="T116" fmla="*/ 644 w 670"/>
              <a:gd name="T117" fmla="*/ 73 h 313"/>
              <a:gd name="T118" fmla="*/ 636 w 670"/>
              <a:gd name="T119" fmla="*/ 75 h 313"/>
              <a:gd name="T120" fmla="*/ 628 w 670"/>
              <a:gd name="T121" fmla="*/ 188 h 313"/>
              <a:gd name="T122" fmla="*/ 486 w 670"/>
              <a:gd name="T123" fmla="*/ 313 h 313"/>
              <a:gd name="T124" fmla="*/ 251 w 670"/>
              <a:gd name="T125" fmla="*/ 305 h 3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70" h="313">
                <a:moveTo>
                  <a:pt x="15" y="305"/>
                </a:moveTo>
                <a:lnTo>
                  <a:pt x="15" y="313"/>
                </a:lnTo>
                <a:lnTo>
                  <a:pt x="0" y="313"/>
                </a:lnTo>
                <a:lnTo>
                  <a:pt x="0" y="305"/>
                </a:lnTo>
                <a:lnTo>
                  <a:pt x="15" y="305"/>
                </a:lnTo>
                <a:lnTo>
                  <a:pt x="15" y="305"/>
                </a:lnTo>
                <a:close/>
                <a:moveTo>
                  <a:pt x="602" y="37"/>
                </a:moveTo>
                <a:lnTo>
                  <a:pt x="602" y="38"/>
                </a:lnTo>
                <a:lnTo>
                  <a:pt x="602" y="38"/>
                </a:lnTo>
                <a:lnTo>
                  <a:pt x="602" y="38"/>
                </a:lnTo>
                <a:lnTo>
                  <a:pt x="602" y="38"/>
                </a:lnTo>
                <a:lnTo>
                  <a:pt x="602" y="38"/>
                </a:lnTo>
                <a:lnTo>
                  <a:pt x="602" y="38"/>
                </a:lnTo>
                <a:lnTo>
                  <a:pt x="602" y="39"/>
                </a:lnTo>
                <a:lnTo>
                  <a:pt x="602" y="39"/>
                </a:lnTo>
                <a:lnTo>
                  <a:pt x="602" y="39"/>
                </a:lnTo>
                <a:lnTo>
                  <a:pt x="602" y="39"/>
                </a:lnTo>
                <a:lnTo>
                  <a:pt x="602" y="39"/>
                </a:lnTo>
                <a:lnTo>
                  <a:pt x="602" y="39"/>
                </a:lnTo>
                <a:lnTo>
                  <a:pt x="602" y="40"/>
                </a:lnTo>
                <a:lnTo>
                  <a:pt x="602" y="40"/>
                </a:lnTo>
                <a:lnTo>
                  <a:pt x="602" y="40"/>
                </a:lnTo>
                <a:lnTo>
                  <a:pt x="602" y="40"/>
                </a:lnTo>
                <a:lnTo>
                  <a:pt x="602" y="40"/>
                </a:lnTo>
                <a:lnTo>
                  <a:pt x="602" y="40"/>
                </a:lnTo>
                <a:lnTo>
                  <a:pt x="602" y="41"/>
                </a:lnTo>
                <a:lnTo>
                  <a:pt x="602" y="41"/>
                </a:lnTo>
                <a:lnTo>
                  <a:pt x="602" y="41"/>
                </a:lnTo>
                <a:lnTo>
                  <a:pt x="602" y="41"/>
                </a:lnTo>
                <a:lnTo>
                  <a:pt x="602" y="41"/>
                </a:lnTo>
                <a:lnTo>
                  <a:pt x="602" y="41"/>
                </a:lnTo>
                <a:lnTo>
                  <a:pt x="603" y="43"/>
                </a:lnTo>
                <a:lnTo>
                  <a:pt x="603" y="43"/>
                </a:lnTo>
                <a:lnTo>
                  <a:pt x="603" y="43"/>
                </a:lnTo>
                <a:lnTo>
                  <a:pt x="603" y="43"/>
                </a:lnTo>
                <a:lnTo>
                  <a:pt x="603" y="43"/>
                </a:lnTo>
                <a:lnTo>
                  <a:pt x="603" y="43"/>
                </a:lnTo>
                <a:lnTo>
                  <a:pt x="603" y="44"/>
                </a:lnTo>
                <a:lnTo>
                  <a:pt x="603" y="44"/>
                </a:lnTo>
                <a:lnTo>
                  <a:pt x="603" y="44"/>
                </a:lnTo>
                <a:lnTo>
                  <a:pt x="603" y="44"/>
                </a:lnTo>
                <a:lnTo>
                  <a:pt x="603" y="44"/>
                </a:lnTo>
                <a:lnTo>
                  <a:pt x="603" y="44"/>
                </a:lnTo>
                <a:lnTo>
                  <a:pt x="603" y="45"/>
                </a:lnTo>
                <a:lnTo>
                  <a:pt x="603" y="45"/>
                </a:lnTo>
                <a:lnTo>
                  <a:pt x="603" y="45"/>
                </a:lnTo>
                <a:lnTo>
                  <a:pt x="603" y="45"/>
                </a:lnTo>
                <a:lnTo>
                  <a:pt x="603" y="45"/>
                </a:lnTo>
                <a:lnTo>
                  <a:pt x="603" y="45"/>
                </a:lnTo>
                <a:lnTo>
                  <a:pt x="603" y="45"/>
                </a:lnTo>
                <a:lnTo>
                  <a:pt x="603" y="46"/>
                </a:lnTo>
                <a:lnTo>
                  <a:pt x="603" y="46"/>
                </a:lnTo>
                <a:lnTo>
                  <a:pt x="603" y="46"/>
                </a:lnTo>
                <a:lnTo>
                  <a:pt x="603" y="46"/>
                </a:lnTo>
                <a:lnTo>
                  <a:pt x="603" y="46"/>
                </a:lnTo>
                <a:lnTo>
                  <a:pt x="603" y="46"/>
                </a:lnTo>
                <a:lnTo>
                  <a:pt x="603" y="47"/>
                </a:lnTo>
                <a:lnTo>
                  <a:pt x="604" y="47"/>
                </a:lnTo>
                <a:lnTo>
                  <a:pt x="604" y="47"/>
                </a:lnTo>
                <a:lnTo>
                  <a:pt x="604" y="47"/>
                </a:lnTo>
                <a:lnTo>
                  <a:pt x="604" y="47"/>
                </a:lnTo>
                <a:lnTo>
                  <a:pt x="604" y="47"/>
                </a:lnTo>
                <a:lnTo>
                  <a:pt x="604" y="47"/>
                </a:lnTo>
                <a:lnTo>
                  <a:pt x="604" y="48"/>
                </a:lnTo>
                <a:lnTo>
                  <a:pt x="604" y="48"/>
                </a:lnTo>
                <a:lnTo>
                  <a:pt x="604" y="48"/>
                </a:lnTo>
                <a:lnTo>
                  <a:pt x="604" y="48"/>
                </a:lnTo>
                <a:lnTo>
                  <a:pt x="604" y="48"/>
                </a:lnTo>
                <a:lnTo>
                  <a:pt x="604" y="48"/>
                </a:lnTo>
                <a:lnTo>
                  <a:pt x="604" y="49"/>
                </a:lnTo>
                <a:lnTo>
                  <a:pt x="604" y="49"/>
                </a:lnTo>
                <a:lnTo>
                  <a:pt x="604" y="49"/>
                </a:lnTo>
                <a:lnTo>
                  <a:pt x="604" y="49"/>
                </a:lnTo>
                <a:lnTo>
                  <a:pt x="604" y="49"/>
                </a:lnTo>
                <a:lnTo>
                  <a:pt x="605" y="49"/>
                </a:lnTo>
                <a:lnTo>
                  <a:pt x="605" y="49"/>
                </a:lnTo>
                <a:lnTo>
                  <a:pt x="605" y="50"/>
                </a:lnTo>
                <a:lnTo>
                  <a:pt x="605" y="50"/>
                </a:lnTo>
                <a:lnTo>
                  <a:pt x="605" y="50"/>
                </a:lnTo>
                <a:lnTo>
                  <a:pt x="605" y="50"/>
                </a:lnTo>
                <a:lnTo>
                  <a:pt x="605" y="50"/>
                </a:lnTo>
                <a:lnTo>
                  <a:pt x="605" y="50"/>
                </a:lnTo>
                <a:lnTo>
                  <a:pt x="605" y="50"/>
                </a:lnTo>
                <a:lnTo>
                  <a:pt x="605" y="52"/>
                </a:lnTo>
                <a:lnTo>
                  <a:pt x="605" y="52"/>
                </a:lnTo>
                <a:lnTo>
                  <a:pt x="605" y="52"/>
                </a:lnTo>
                <a:lnTo>
                  <a:pt x="605" y="52"/>
                </a:lnTo>
                <a:lnTo>
                  <a:pt x="605" y="52"/>
                </a:lnTo>
                <a:lnTo>
                  <a:pt x="607" y="52"/>
                </a:lnTo>
                <a:lnTo>
                  <a:pt x="607" y="52"/>
                </a:lnTo>
                <a:lnTo>
                  <a:pt x="607" y="53"/>
                </a:lnTo>
                <a:lnTo>
                  <a:pt x="607" y="53"/>
                </a:lnTo>
                <a:lnTo>
                  <a:pt x="607" y="53"/>
                </a:lnTo>
                <a:lnTo>
                  <a:pt x="607" y="53"/>
                </a:lnTo>
                <a:lnTo>
                  <a:pt x="607" y="53"/>
                </a:lnTo>
                <a:lnTo>
                  <a:pt x="607" y="53"/>
                </a:lnTo>
                <a:lnTo>
                  <a:pt x="607" y="53"/>
                </a:lnTo>
                <a:lnTo>
                  <a:pt x="607" y="53"/>
                </a:lnTo>
                <a:lnTo>
                  <a:pt x="607" y="54"/>
                </a:lnTo>
                <a:lnTo>
                  <a:pt x="607" y="54"/>
                </a:lnTo>
                <a:lnTo>
                  <a:pt x="608" y="54"/>
                </a:lnTo>
                <a:lnTo>
                  <a:pt x="608" y="54"/>
                </a:lnTo>
                <a:lnTo>
                  <a:pt x="608" y="54"/>
                </a:lnTo>
                <a:lnTo>
                  <a:pt x="608" y="54"/>
                </a:lnTo>
                <a:lnTo>
                  <a:pt x="608" y="54"/>
                </a:lnTo>
                <a:lnTo>
                  <a:pt x="608" y="55"/>
                </a:lnTo>
                <a:lnTo>
                  <a:pt x="608" y="55"/>
                </a:lnTo>
                <a:lnTo>
                  <a:pt x="608" y="55"/>
                </a:lnTo>
                <a:lnTo>
                  <a:pt x="608" y="55"/>
                </a:lnTo>
                <a:lnTo>
                  <a:pt x="608" y="55"/>
                </a:lnTo>
                <a:lnTo>
                  <a:pt x="608" y="55"/>
                </a:lnTo>
                <a:lnTo>
                  <a:pt x="609" y="55"/>
                </a:lnTo>
                <a:lnTo>
                  <a:pt x="609" y="55"/>
                </a:lnTo>
                <a:lnTo>
                  <a:pt x="609" y="56"/>
                </a:lnTo>
                <a:lnTo>
                  <a:pt x="609" y="56"/>
                </a:lnTo>
                <a:lnTo>
                  <a:pt x="609" y="56"/>
                </a:lnTo>
                <a:lnTo>
                  <a:pt x="609" y="56"/>
                </a:lnTo>
                <a:lnTo>
                  <a:pt x="609" y="56"/>
                </a:lnTo>
                <a:lnTo>
                  <a:pt x="609" y="56"/>
                </a:lnTo>
                <a:lnTo>
                  <a:pt x="609" y="56"/>
                </a:lnTo>
                <a:lnTo>
                  <a:pt x="609" y="56"/>
                </a:lnTo>
                <a:lnTo>
                  <a:pt x="610" y="57"/>
                </a:lnTo>
                <a:lnTo>
                  <a:pt x="610" y="57"/>
                </a:lnTo>
                <a:lnTo>
                  <a:pt x="610" y="57"/>
                </a:lnTo>
                <a:lnTo>
                  <a:pt x="610" y="57"/>
                </a:lnTo>
                <a:lnTo>
                  <a:pt x="610" y="57"/>
                </a:lnTo>
                <a:lnTo>
                  <a:pt x="610" y="57"/>
                </a:lnTo>
                <a:lnTo>
                  <a:pt x="610" y="57"/>
                </a:lnTo>
                <a:lnTo>
                  <a:pt x="610" y="57"/>
                </a:lnTo>
                <a:lnTo>
                  <a:pt x="610" y="57"/>
                </a:lnTo>
                <a:lnTo>
                  <a:pt x="610" y="58"/>
                </a:lnTo>
                <a:lnTo>
                  <a:pt x="611" y="58"/>
                </a:lnTo>
                <a:lnTo>
                  <a:pt x="611" y="58"/>
                </a:lnTo>
                <a:lnTo>
                  <a:pt x="611" y="58"/>
                </a:lnTo>
                <a:lnTo>
                  <a:pt x="611" y="58"/>
                </a:lnTo>
                <a:lnTo>
                  <a:pt x="611" y="58"/>
                </a:lnTo>
                <a:lnTo>
                  <a:pt x="611" y="58"/>
                </a:lnTo>
                <a:lnTo>
                  <a:pt x="611" y="58"/>
                </a:lnTo>
                <a:lnTo>
                  <a:pt x="611" y="58"/>
                </a:lnTo>
                <a:lnTo>
                  <a:pt x="611" y="59"/>
                </a:lnTo>
                <a:lnTo>
                  <a:pt x="612" y="59"/>
                </a:lnTo>
                <a:lnTo>
                  <a:pt x="612" y="59"/>
                </a:lnTo>
                <a:lnTo>
                  <a:pt x="612" y="59"/>
                </a:lnTo>
                <a:lnTo>
                  <a:pt x="612" y="59"/>
                </a:lnTo>
                <a:lnTo>
                  <a:pt x="612" y="59"/>
                </a:lnTo>
                <a:lnTo>
                  <a:pt x="612" y="59"/>
                </a:lnTo>
                <a:lnTo>
                  <a:pt x="612" y="59"/>
                </a:lnTo>
                <a:lnTo>
                  <a:pt x="612" y="59"/>
                </a:lnTo>
                <a:lnTo>
                  <a:pt x="613" y="61"/>
                </a:lnTo>
                <a:lnTo>
                  <a:pt x="613" y="61"/>
                </a:lnTo>
                <a:lnTo>
                  <a:pt x="613" y="61"/>
                </a:lnTo>
                <a:lnTo>
                  <a:pt x="613" y="61"/>
                </a:lnTo>
                <a:lnTo>
                  <a:pt x="613" y="61"/>
                </a:lnTo>
                <a:lnTo>
                  <a:pt x="613" y="61"/>
                </a:lnTo>
                <a:lnTo>
                  <a:pt x="613" y="61"/>
                </a:lnTo>
                <a:lnTo>
                  <a:pt x="613" y="61"/>
                </a:lnTo>
                <a:lnTo>
                  <a:pt x="614" y="61"/>
                </a:lnTo>
                <a:lnTo>
                  <a:pt x="614" y="61"/>
                </a:lnTo>
                <a:lnTo>
                  <a:pt x="614" y="62"/>
                </a:lnTo>
                <a:lnTo>
                  <a:pt x="614" y="62"/>
                </a:lnTo>
                <a:lnTo>
                  <a:pt x="614" y="62"/>
                </a:lnTo>
                <a:lnTo>
                  <a:pt x="614" y="62"/>
                </a:lnTo>
                <a:lnTo>
                  <a:pt x="614" y="62"/>
                </a:lnTo>
                <a:lnTo>
                  <a:pt x="614" y="62"/>
                </a:lnTo>
                <a:lnTo>
                  <a:pt x="616" y="62"/>
                </a:lnTo>
                <a:lnTo>
                  <a:pt x="616" y="62"/>
                </a:lnTo>
                <a:lnTo>
                  <a:pt x="616" y="62"/>
                </a:lnTo>
                <a:lnTo>
                  <a:pt x="616" y="62"/>
                </a:lnTo>
                <a:lnTo>
                  <a:pt x="616" y="62"/>
                </a:lnTo>
                <a:lnTo>
                  <a:pt x="616" y="63"/>
                </a:lnTo>
                <a:lnTo>
                  <a:pt x="616" y="63"/>
                </a:lnTo>
                <a:lnTo>
                  <a:pt x="616" y="63"/>
                </a:lnTo>
                <a:lnTo>
                  <a:pt x="617" y="63"/>
                </a:lnTo>
                <a:lnTo>
                  <a:pt x="617" y="63"/>
                </a:lnTo>
                <a:lnTo>
                  <a:pt x="617" y="63"/>
                </a:lnTo>
                <a:lnTo>
                  <a:pt x="617" y="63"/>
                </a:lnTo>
                <a:lnTo>
                  <a:pt x="617" y="63"/>
                </a:lnTo>
                <a:lnTo>
                  <a:pt x="617" y="63"/>
                </a:lnTo>
                <a:lnTo>
                  <a:pt x="617" y="63"/>
                </a:lnTo>
                <a:lnTo>
                  <a:pt x="618" y="63"/>
                </a:lnTo>
                <a:lnTo>
                  <a:pt x="618" y="63"/>
                </a:lnTo>
                <a:lnTo>
                  <a:pt x="618" y="64"/>
                </a:lnTo>
                <a:lnTo>
                  <a:pt x="618" y="64"/>
                </a:lnTo>
                <a:lnTo>
                  <a:pt x="618" y="64"/>
                </a:lnTo>
                <a:lnTo>
                  <a:pt x="618" y="64"/>
                </a:lnTo>
                <a:lnTo>
                  <a:pt x="618" y="64"/>
                </a:lnTo>
                <a:lnTo>
                  <a:pt x="619" y="64"/>
                </a:lnTo>
                <a:lnTo>
                  <a:pt x="619" y="64"/>
                </a:lnTo>
                <a:lnTo>
                  <a:pt x="619" y="64"/>
                </a:lnTo>
                <a:lnTo>
                  <a:pt x="619" y="64"/>
                </a:lnTo>
                <a:lnTo>
                  <a:pt x="619" y="64"/>
                </a:lnTo>
                <a:lnTo>
                  <a:pt x="619" y="64"/>
                </a:lnTo>
                <a:lnTo>
                  <a:pt x="619" y="64"/>
                </a:lnTo>
                <a:lnTo>
                  <a:pt x="620" y="64"/>
                </a:lnTo>
                <a:lnTo>
                  <a:pt x="620" y="64"/>
                </a:lnTo>
                <a:lnTo>
                  <a:pt x="620" y="65"/>
                </a:lnTo>
                <a:lnTo>
                  <a:pt x="620" y="65"/>
                </a:lnTo>
                <a:lnTo>
                  <a:pt x="620" y="65"/>
                </a:lnTo>
                <a:lnTo>
                  <a:pt x="620" y="65"/>
                </a:lnTo>
                <a:lnTo>
                  <a:pt x="620" y="65"/>
                </a:lnTo>
                <a:lnTo>
                  <a:pt x="621" y="65"/>
                </a:lnTo>
                <a:lnTo>
                  <a:pt x="621" y="65"/>
                </a:lnTo>
                <a:lnTo>
                  <a:pt x="621" y="65"/>
                </a:lnTo>
                <a:lnTo>
                  <a:pt x="621" y="65"/>
                </a:lnTo>
                <a:lnTo>
                  <a:pt x="621" y="65"/>
                </a:lnTo>
                <a:lnTo>
                  <a:pt x="621" y="65"/>
                </a:lnTo>
                <a:lnTo>
                  <a:pt x="622" y="65"/>
                </a:lnTo>
                <a:lnTo>
                  <a:pt x="622" y="65"/>
                </a:lnTo>
                <a:lnTo>
                  <a:pt x="622" y="65"/>
                </a:lnTo>
                <a:lnTo>
                  <a:pt x="622" y="65"/>
                </a:lnTo>
                <a:lnTo>
                  <a:pt x="622" y="65"/>
                </a:lnTo>
                <a:lnTo>
                  <a:pt x="622" y="65"/>
                </a:lnTo>
                <a:lnTo>
                  <a:pt x="622" y="65"/>
                </a:lnTo>
                <a:lnTo>
                  <a:pt x="623" y="66"/>
                </a:lnTo>
                <a:lnTo>
                  <a:pt x="623" y="66"/>
                </a:lnTo>
                <a:lnTo>
                  <a:pt x="623" y="66"/>
                </a:lnTo>
                <a:lnTo>
                  <a:pt x="623" y="66"/>
                </a:lnTo>
                <a:lnTo>
                  <a:pt x="623" y="66"/>
                </a:lnTo>
                <a:lnTo>
                  <a:pt x="623" y="66"/>
                </a:lnTo>
                <a:lnTo>
                  <a:pt x="625" y="66"/>
                </a:lnTo>
                <a:lnTo>
                  <a:pt x="625" y="66"/>
                </a:lnTo>
                <a:lnTo>
                  <a:pt x="625" y="66"/>
                </a:lnTo>
                <a:lnTo>
                  <a:pt x="625" y="66"/>
                </a:lnTo>
                <a:lnTo>
                  <a:pt x="625" y="66"/>
                </a:lnTo>
                <a:lnTo>
                  <a:pt x="625" y="66"/>
                </a:lnTo>
                <a:lnTo>
                  <a:pt x="625" y="66"/>
                </a:lnTo>
                <a:lnTo>
                  <a:pt x="626" y="66"/>
                </a:lnTo>
                <a:lnTo>
                  <a:pt x="626" y="66"/>
                </a:lnTo>
                <a:lnTo>
                  <a:pt x="626" y="66"/>
                </a:lnTo>
                <a:lnTo>
                  <a:pt x="626" y="66"/>
                </a:lnTo>
                <a:lnTo>
                  <a:pt x="626" y="66"/>
                </a:lnTo>
                <a:lnTo>
                  <a:pt x="626" y="66"/>
                </a:lnTo>
                <a:lnTo>
                  <a:pt x="627" y="66"/>
                </a:lnTo>
                <a:lnTo>
                  <a:pt x="627" y="66"/>
                </a:lnTo>
                <a:lnTo>
                  <a:pt x="627" y="66"/>
                </a:lnTo>
                <a:lnTo>
                  <a:pt x="627" y="66"/>
                </a:lnTo>
                <a:lnTo>
                  <a:pt x="627" y="66"/>
                </a:lnTo>
                <a:lnTo>
                  <a:pt x="627" y="66"/>
                </a:lnTo>
                <a:lnTo>
                  <a:pt x="628" y="66"/>
                </a:lnTo>
                <a:lnTo>
                  <a:pt x="628" y="67"/>
                </a:lnTo>
                <a:lnTo>
                  <a:pt x="628" y="67"/>
                </a:lnTo>
                <a:lnTo>
                  <a:pt x="628" y="67"/>
                </a:lnTo>
                <a:lnTo>
                  <a:pt x="628" y="67"/>
                </a:lnTo>
                <a:lnTo>
                  <a:pt x="628" y="67"/>
                </a:lnTo>
                <a:lnTo>
                  <a:pt x="629" y="67"/>
                </a:lnTo>
                <a:lnTo>
                  <a:pt x="629" y="67"/>
                </a:lnTo>
                <a:lnTo>
                  <a:pt x="629" y="67"/>
                </a:lnTo>
                <a:lnTo>
                  <a:pt x="629" y="67"/>
                </a:lnTo>
                <a:lnTo>
                  <a:pt x="629" y="67"/>
                </a:lnTo>
                <a:lnTo>
                  <a:pt x="629" y="67"/>
                </a:lnTo>
                <a:lnTo>
                  <a:pt x="630" y="67"/>
                </a:lnTo>
                <a:lnTo>
                  <a:pt x="630" y="67"/>
                </a:lnTo>
                <a:lnTo>
                  <a:pt x="630" y="67"/>
                </a:lnTo>
                <a:lnTo>
                  <a:pt x="630" y="67"/>
                </a:lnTo>
                <a:lnTo>
                  <a:pt x="630" y="67"/>
                </a:lnTo>
                <a:lnTo>
                  <a:pt x="630" y="67"/>
                </a:lnTo>
                <a:lnTo>
                  <a:pt x="631" y="67"/>
                </a:lnTo>
                <a:lnTo>
                  <a:pt x="631" y="67"/>
                </a:lnTo>
                <a:lnTo>
                  <a:pt x="631" y="67"/>
                </a:lnTo>
                <a:lnTo>
                  <a:pt x="631" y="67"/>
                </a:lnTo>
                <a:lnTo>
                  <a:pt x="631" y="67"/>
                </a:lnTo>
                <a:lnTo>
                  <a:pt x="631" y="67"/>
                </a:lnTo>
                <a:lnTo>
                  <a:pt x="632" y="67"/>
                </a:lnTo>
                <a:lnTo>
                  <a:pt x="632" y="67"/>
                </a:lnTo>
                <a:lnTo>
                  <a:pt x="632" y="67"/>
                </a:lnTo>
                <a:lnTo>
                  <a:pt x="632" y="67"/>
                </a:lnTo>
                <a:lnTo>
                  <a:pt x="632" y="67"/>
                </a:lnTo>
                <a:lnTo>
                  <a:pt x="632" y="67"/>
                </a:lnTo>
                <a:lnTo>
                  <a:pt x="634" y="67"/>
                </a:lnTo>
                <a:lnTo>
                  <a:pt x="634" y="67"/>
                </a:lnTo>
                <a:lnTo>
                  <a:pt x="634" y="67"/>
                </a:lnTo>
                <a:lnTo>
                  <a:pt x="634" y="67"/>
                </a:lnTo>
                <a:lnTo>
                  <a:pt x="634" y="67"/>
                </a:lnTo>
                <a:lnTo>
                  <a:pt x="634" y="67"/>
                </a:lnTo>
                <a:lnTo>
                  <a:pt x="635" y="67"/>
                </a:lnTo>
                <a:lnTo>
                  <a:pt x="635" y="67"/>
                </a:lnTo>
                <a:lnTo>
                  <a:pt x="635" y="67"/>
                </a:lnTo>
                <a:lnTo>
                  <a:pt x="635" y="67"/>
                </a:lnTo>
                <a:lnTo>
                  <a:pt x="635" y="67"/>
                </a:lnTo>
                <a:lnTo>
                  <a:pt x="635" y="67"/>
                </a:lnTo>
                <a:lnTo>
                  <a:pt x="636" y="67"/>
                </a:lnTo>
                <a:lnTo>
                  <a:pt x="636" y="67"/>
                </a:lnTo>
                <a:lnTo>
                  <a:pt x="636" y="67"/>
                </a:lnTo>
                <a:lnTo>
                  <a:pt x="636" y="67"/>
                </a:lnTo>
                <a:lnTo>
                  <a:pt x="636" y="67"/>
                </a:lnTo>
                <a:lnTo>
                  <a:pt x="636" y="67"/>
                </a:lnTo>
                <a:lnTo>
                  <a:pt x="637" y="66"/>
                </a:lnTo>
                <a:lnTo>
                  <a:pt x="637" y="66"/>
                </a:lnTo>
                <a:lnTo>
                  <a:pt x="637" y="66"/>
                </a:lnTo>
                <a:lnTo>
                  <a:pt x="637" y="66"/>
                </a:lnTo>
                <a:lnTo>
                  <a:pt x="637" y="66"/>
                </a:lnTo>
                <a:lnTo>
                  <a:pt x="637" y="66"/>
                </a:lnTo>
                <a:lnTo>
                  <a:pt x="638" y="66"/>
                </a:lnTo>
                <a:lnTo>
                  <a:pt x="638" y="66"/>
                </a:lnTo>
                <a:lnTo>
                  <a:pt x="638" y="66"/>
                </a:lnTo>
                <a:lnTo>
                  <a:pt x="638" y="66"/>
                </a:lnTo>
                <a:lnTo>
                  <a:pt x="638" y="66"/>
                </a:lnTo>
                <a:lnTo>
                  <a:pt x="638" y="66"/>
                </a:lnTo>
                <a:lnTo>
                  <a:pt x="639" y="66"/>
                </a:lnTo>
                <a:lnTo>
                  <a:pt x="639" y="66"/>
                </a:lnTo>
                <a:lnTo>
                  <a:pt x="639" y="66"/>
                </a:lnTo>
                <a:lnTo>
                  <a:pt x="639" y="66"/>
                </a:lnTo>
                <a:lnTo>
                  <a:pt x="639" y="66"/>
                </a:lnTo>
                <a:lnTo>
                  <a:pt x="639" y="66"/>
                </a:lnTo>
                <a:lnTo>
                  <a:pt x="639" y="66"/>
                </a:lnTo>
                <a:lnTo>
                  <a:pt x="640" y="66"/>
                </a:lnTo>
                <a:lnTo>
                  <a:pt x="640" y="66"/>
                </a:lnTo>
                <a:lnTo>
                  <a:pt x="640" y="66"/>
                </a:lnTo>
                <a:lnTo>
                  <a:pt x="640" y="66"/>
                </a:lnTo>
                <a:lnTo>
                  <a:pt x="640" y="66"/>
                </a:lnTo>
                <a:lnTo>
                  <a:pt x="640" y="66"/>
                </a:lnTo>
                <a:lnTo>
                  <a:pt x="641" y="66"/>
                </a:lnTo>
                <a:lnTo>
                  <a:pt x="641" y="66"/>
                </a:lnTo>
                <a:lnTo>
                  <a:pt x="641" y="65"/>
                </a:lnTo>
                <a:lnTo>
                  <a:pt x="641" y="65"/>
                </a:lnTo>
                <a:lnTo>
                  <a:pt x="641" y="65"/>
                </a:lnTo>
                <a:lnTo>
                  <a:pt x="641" y="65"/>
                </a:lnTo>
                <a:lnTo>
                  <a:pt x="641" y="65"/>
                </a:lnTo>
                <a:lnTo>
                  <a:pt x="643" y="65"/>
                </a:lnTo>
                <a:lnTo>
                  <a:pt x="643" y="65"/>
                </a:lnTo>
                <a:lnTo>
                  <a:pt x="643" y="65"/>
                </a:lnTo>
                <a:lnTo>
                  <a:pt x="643" y="65"/>
                </a:lnTo>
                <a:lnTo>
                  <a:pt x="643" y="65"/>
                </a:lnTo>
                <a:lnTo>
                  <a:pt x="643" y="65"/>
                </a:lnTo>
                <a:lnTo>
                  <a:pt x="644" y="65"/>
                </a:lnTo>
                <a:lnTo>
                  <a:pt x="644" y="65"/>
                </a:lnTo>
                <a:lnTo>
                  <a:pt x="644" y="65"/>
                </a:lnTo>
                <a:lnTo>
                  <a:pt x="644" y="65"/>
                </a:lnTo>
                <a:lnTo>
                  <a:pt x="644" y="65"/>
                </a:lnTo>
                <a:lnTo>
                  <a:pt x="644" y="65"/>
                </a:lnTo>
                <a:lnTo>
                  <a:pt x="644" y="64"/>
                </a:lnTo>
                <a:lnTo>
                  <a:pt x="645" y="64"/>
                </a:lnTo>
                <a:lnTo>
                  <a:pt x="645" y="64"/>
                </a:lnTo>
                <a:lnTo>
                  <a:pt x="645" y="64"/>
                </a:lnTo>
                <a:lnTo>
                  <a:pt x="645" y="64"/>
                </a:lnTo>
                <a:lnTo>
                  <a:pt x="645" y="64"/>
                </a:lnTo>
                <a:lnTo>
                  <a:pt x="645" y="64"/>
                </a:lnTo>
                <a:lnTo>
                  <a:pt x="645" y="64"/>
                </a:lnTo>
                <a:lnTo>
                  <a:pt x="646" y="64"/>
                </a:lnTo>
                <a:lnTo>
                  <a:pt x="646" y="64"/>
                </a:lnTo>
                <a:lnTo>
                  <a:pt x="646" y="64"/>
                </a:lnTo>
                <a:lnTo>
                  <a:pt x="646" y="64"/>
                </a:lnTo>
                <a:lnTo>
                  <a:pt x="646" y="64"/>
                </a:lnTo>
                <a:lnTo>
                  <a:pt x="646" y="64"/>
                </a:lnTo>
                <a:lnTo>
                  <a:pt x="646" y="63"/>
                </a:lnTo>
                <a:lnTo>
                  <a:pt x="647" y="63"/>
                </a:lnTo>
                <a:lnTo>
                  <a:pt x="647" y="63"/>
                </a:lnTo>
                <a:lnTo>
                  <a:pt x="647" y="63"/>
                </a:lnTo>
                <a:lnTo>
                  <a:pt x="647" y="63"/>
                </a:lnTo>
                <a:lnTo>
                  <a:pt x="647" y="63"/>
                </a:lnTo>
                <a:lnTo>
                  <a:pt x="647" y="63"/>
                </a:lnTo>
                <a:lnTo>
                  <a:pt x="647" y="63"/>
                </a:lnTo>
                <a:lnTo>
                  <a:pt x="647" y="63"/>
                </a:lnTo>
                <a:lnTo>
                  <a:pt x="648" y="63"/>
                </a:lnTo>
                <a:lnTo>
                  <a:pt x="648" y="63"/>
                </a:lnTo>
                <a:lnTo>
                  <a:pt x="648" y="63"/>
                </a:lnTo>
                <a:lnTo>
                  <a:pt x="648" y="62"/>
                </a:lnTo>
                <a:lnTo>
                  <a:pt x="648" y="62"/>
                </a:lnTo>
                <a:lnTo>
                  <a:pt x="648" y="62"/>
                </a:lnTo>
                <a:lnTo>
                  <a:pt x="648" y="62"/>
                </a:lnTo>
                <a:lnTo>
                  <a:pt x="649" y="62"/>
                </a:lnTo>
                <a:lnTo>
                  <a:pt x="649" y="62"/>
                </a:lnTo>
                <a:lnTo>
                  <a:pt x="649" y="62"/>
                </a:lnTo>
                <a:lnTo>
                  <a:pt x="649" y="62"/>
                </a:lnTo>
                <a:lnTo>
                  <a:pt x="649" y="62"/>
                </a:lnTo>
                <a:lnTo>
                  <a:pt x="649" y="62"/>
                </a:lnTo>
                <a:lnTo>
                  <a:pt x="649" y="62"/>
                </a:lnTo>
                <a:lnTo>
                  <a:pt x="649" y="61"/>
                </a:lnTo>
                <a:lnTo>
                  <a:pt x="650" y="61"/>
                </a:lnTo>
                <a:lnTo>
                  <a:pt x="650" y="61"/>
                </a:lnTo>
                <a:lnTo>
                  <a:pt x="650" y="61"/>
                </a:lnTo>
                <a:lnTo>
                  <a:pt x="650" y="61"/>
                </a:lnTo>
                <a:lnTo>
                  <a:pt x="650" y="61"/>
                </a:lnTo>
                <a:lnTo>
                  <a:pt x="650" y="61"/>
                </a:lnTo>
                <a:lnTo>
                  <a:pt x="650" y="61"/>
                </a:lnTo>
                <a:lnTo>
                  <a:pt x="650" y="61"/>
                </a:lnTo>
                <a:lnTo>
                  <a:pt x="652" y="61"/>
                </a:lnTo>
                <a:lnTo>
                  <a:pt x="652" y="59"/>
                </a:lnTo>
                <a:lnTo>
                  <a:pt x="652" y="59"/>
                </a:lnTo>
                <a:lnTo>
                  <a:pt x="652" y="59"/>
                </a:lnTo>
                <a:lnTo>
                  <a:pt x="652" y="59"/>
                </a:lnTo>
                <a:lnTo>
                  <a:pt x="652" y="59"/>
                </a:lnTo>
                <a:lnTo>
                  <a:pt x="652" y="59"/>
                </a:lnTo>
                <a:lnTo>
                  <a:pt x="652" y="59"/>
                </a:lnTo>
                <a:lnTo>
                  <a:pt x="653" y="59"/>
                </a:lnTo>
                <a:lnTo>
                  <a:pt x="653" y="59"/>
                </a:lnTo>
                <a:lnTo>
                  <a:pt x="653" y="58"/>
                </a:lnTo>
                <a:lnTo>
                  <a:pt x="653" y="58"/>
                </a:lnTo>
                <a:lnTo>
                  <a:pt x="653" y="58"/>
                </a:lnTo>
                <a:lnTo>
                  <a:pt x="653" y="58"/>
                </a:lnTo>
                <a:lnTo>
                  <a:pt x="653" y="58"/>
                </a:lnTo>
                <a:lnTo>
                  <a:pt x="653" y="58"/>
                </a:lnTo>
                <a:lnTo>
                  <a:pt x="653" y="58"/>
                </a:lnTo>
                <a:lnTo>
                  <a:pt x="654" y="58"/>
                </a:lnTo>
                <a:lnTo>
                  <a:pt x="654" y="58"/>
                </a:lnTo>
                <a:lnTo>
                  <a:pt x="654" y="57"/>
                </a:lnTo>
                <a:lnTo>
                  <a:pt x="654" y="57"/>
                </a:lnTo>
                <a:lnTo>
                  <a:pt x="654" y="57"/>
                </a:lnTo>
                <a:lnTo>
                  <a:pt x="654" y="57"/>
                </a:lnTo>
                <a:lnTo>
                  <a:pt x="654" y="57"/>
                </a:lnTo>
                <a:lnTo>
                  <a:pt x="654" y="57"/>
                </a:lnTo>
                <a:lnTo>
                  <a:pt x="654" y="57"/>
                </a:lnTo>
                <a:lnTo>
                  <a:pt x="654" y="57"/>
                </a:lnTo>
                <a:lnTo>
                  <a:pt x="655" y="57"/>
                </a:lnTo>
                <a:lnTo>
                  <a:pt x="655" y="56"/>
                </a:lnTo>
                <a:lnTo>
                  <a:pt x="655" y="56"/>
                </a:lnTo>
                <a:lnTo>
                  <a:pt x="655" y="56"/>
                </a:lnTo>
                <a:lnTo>
                  <a:pt x="655" y="56"/>
                </a:lnTo>
                <a:lnTo>
                  <a:pt x="655" y="56"/>
                </a:lnTo>
                <a:lnTo>
                  <a:pt x="655" y="56"/>
                </a:lnTo>
                <a:lnTo>
                  <a:pt x="655" y="56"/>
                </a:lnTo>
                <a:lnTo>
                  <a:pt x="655" y="56"/>
                </a:lnTo>
                <a:lnTo>
                  <a:pt x="655" y="55"/>
                </a:lnTo>
                <a:lnTo>
                  <a:pt x="656" y="55"/>
                </a:lnTo>
                <a:lnTo>
                  <a:pt x="656" y="55"/>
                </a:lnTo>
                <a:lnTo>
                  <a:pt x="656" y="55"/>
                </a:lnTo>
                <a:lnTo>
                  <a:pt x="656" y="55"/>
                </a:lnTo>
                <a:lnTo>
                  <a:pt x="656" y="55"/>
                </a:lnTo>
                <a:lnTo>
                  <a:pt x="656" y="55"/>
                </a:lnTo>
                <a:lnTo>
                  <a:pt x="656" y="55"/>
                </a:lnTo>
                <a:lnTo>
                  <a:pt x="656" y="54"/>
                </a:lnTo>
                <a:lnTo>
                  <a:pt x="656" y="54"/>
                </a:lnTo>
                <a:lnTo>
                  <a:pt x="656" y="54"/>
                </a:lnTo>
                <a:lnTo>
                  <a:pt x="657" y="54"/>
                </a:lnTo>
                <a:lnTo>
                  <a:pt x="657" y="54"/>
                </a:lnTo>
                <a:lnTo>
                  <a:pt x="657" y="54"/>
                </a:lnTo>
                <a:lnTo>
                  <a:pt x="657" y="54"/>
                </a:lnTo>
                <a:lnTo>
                  <a:pt x="657" y="53"/>
                </a:lnTo>
                <a:lnTo>
                  <a:pt x="657" y="53"/>
                </a:lnTo>
                <a:lnTo>
                  <a:pt x="657" y="53"/>
                </a:lnTo>
                <a:lnTo>
                  <a:pt x="657" y="53"/>
                </a:lnTo>
                <a:lnTo>
                  <a:pt x="657" y="53"/>
                </a:lnTo>
                <a:lnTo>
                  <a:pt x="657" y="53"/>
                </a:lnTo>
                <a:lnTo>
                  <a:pt x="657" y="53"/>
                </a:lnTo>
                <a:lnTo>
                  <a:pt x="657" y="53"/>
                </a:lnTo>
                <a:lnTo>
                  <a:pt x="658" y="52"/>
                </a:lnTo>
                <a:lnTo>
                  <a:pt x="658" y="52"/>
                </a:lnTo>
                <a:lnTo>
                  <a:pt x="658" y="52"/>
                </a:lnTo>
                <a:lnTo>
                  <a:pt x="658" y="52"/>
                </a:lnTo>
                <a:lnTo>
                  <a:pt x="658" y="52"/>
                </a:lnTo>
                <a:lnTo>
                  <a:pt x="658" y="52"/>
                </a:lnTo>
                <a:lnTo>
                  <a:pt x="658" y="52"/>
                </a:lnTo>
                <a:lnTo>
                  <a:pt x="658" y="50"/>
                </a:lnTo>
                <a:lnTo>
                  <a:pt x="658" y="50"/>
                </a:lnTo>
                <a:lnTo>
                  <a:pt x="658" y="50"/>
                </a:lnTo>
                <a:lnTo>
                  <a:pt x="658" y="50"/>
                </a:lnTo>
                <a:lnTo>
                  <a:pt x="658" y="50"/>
                </a:lnTo>
                <a:lnTo>
                  <a:pt x="658" y="50"/>
                </a:lnTo>
                <a:lnTo>
                  <a:pt x="658" y="50"/>
                </a:lnTo>
                <a:lnTo>
                  <a:pt x="659" y="49"/>
                </a:lnTo>
                <a:lnTo>
                  <a:pt x="659" y="49"/>
                </a:lnTo>
                <a:lnTo>
                  <a:pt x="659" y="49"/>
                </a:lnTo>
                <a:lnTo>
                  <a:pt x="659" y="49"/>
                </a:lnTo>
                <a:lnTo>
                  <a:pt x="659" y="49"/>
                </a:lnTo>
                <a:lnTo>
                  <a:pt x="659" y="49"/>
                </a:lnTo>
                <a:lnTo>
                  <a:pt x="659" y="49"/>
                </a:lnTo>
                <a:lnTo>
                  <a:pt x="659" y="48"/>
                </a:lnTo>
                <a:lnTo>
                  <a:pt x="659" y="48"/>
                </a:lnTo>
                <a:lnTo>
                  <a:pt x="659" y="48"/>
                </a:lnTo>
                <a:lnTo>
                  <a:pt x="659" y="48"/>
                </a:lnTo>
                <a:lnTo>
                  <a:pt x="659" y="48"/>
                </a:lnTo>
                <a:lnTo>
                  <a:pt x="659" y="48"/>
                </a:lnTo>
                <a:lnTo>
                  <a:pt x="659" y="47"/>
                </a:lnTo>
                <a:lnTo>
                  <a:pt x="659" y="47"/>
                </a:lnTo>
                <a:lnTo>
                  <a:pt x="659" y="47"/>
                </a:lnTo>
                <a:lnTo>
                  <a:pt x="659" y="47"/>
                </a:lnTo>
                <a:lnTo>
                  <a:pt x="661" y="47"/>
                </a:lnTo>
                <a:lnTo>
                  <a:pt x="661" y="47"/>
                </a:lnTo>
                <a:lnTo>
                  <a:pt x="661" y="47"/>
                </a:lnTo>
                <a:lnTo>
                  <a:pt x="661" y="46"/>
                </a:lnTo>
                <a:lnTo>
                  <a:pt x="661" y="46"/>
                </a:lnTo>
                <a:lnTo>
                  <a:pt x="661" y="46"/>
                </a:lnTo>
                <a:lnTo>
                  <a:pt x="661" y="46"/>
                </a:lnTo>
                <a:lnTo>
                  <a:pt x="661" y="46"/>
                </a:lnTo>
                <a:lnTo>
                  <a:pt x="661" y="46"/>
                </a:lnTo>
                <a:lnTo>
                  <a:pt x="661" y="45"/>
                </a:lnTo>
                <a:lnTo>
                  <a:pt x="661" y="45"/>
                </a:lnTo>
                <a:lnTo>
                  <a:pt x="661" y="45"/>
                </a:lnTo>
                <a:lnTo>
                  <a:pt x="661" y="45"/>
                </a:lnTo>
                <a:lnTo>
                  <a:pt x="661" y="45"/>
                </a:lnTo>
                <a:lnTo>
                  <a:pt x="661" y="45"/>
                </a:lnTo>
                <a:lnTo>
                  <a:pt x="661" y="45"/>
                </a:lnTo>
                <a:lnTo>
                  <a:pt x="661" y="44"/>
                </a:lnTo>
                <a:lnTo>
                  <a:pt x="661" y="44"/>
                </a:lnTo>
                <a:lnTo>
                  <a:pt x="661" y="44"/>
                </a:lnTo>
                <a:lnTo>
                  <a:pt x="661" y="44"/>
                </a:lnTo>
                <a:lnTo>
                  <a:pt x="661" y="44"/>
                </a:lnTo>
                <a:lnTo>
                  <a:pt x="661" y="44"/>
                </a:lnTo>
                <a:lnTo>
                  <a:pt x="661" y="43"/>
                </a:lnTo>
                <a:lnTo>
                  <a:pt x="661" y="43"/>
                </a:lnTo>
                <a:lnTo>
                  <a:pt x="662" y="43"/>
                </a:lnTo>
                <a:lnTo>
                  <a:pt x="662" y="43"/>
                </a:lnTo>
                <a:lnTo>
                  <a:pt x="662" y="43"/>
                </a:lnTo>
                <a:lnTo>
                  <a:pt x="662" y="43"/>
                </a:lnTo>
                <a:lnTo>
                  <a:pt x="662" y="41"/>
                </a:lnTo>
                <a:lnTo>
                  <a:pt x="662" y="41"/>
                </a:lnTo>
                <a:lnTo>
                  <a:pt x="662" y="41"/>
                </a:lnTo>
                <a:lnTo>
                  <a:pt x="662" y="41"/>
                </a:lnTo>
                <a:lnTo>
                  <a:pt x="662" y="41"/>
                </a:lnTo>
                <a:lnTo>
                  <a:pt x="662" y="41"/>
                </a:lnTo>
                <a:lnTo>
                  <a:pt x="662" y="40"/>
                </a:lnTo>
                <a:lnTo>
                  <a:pt x="662" y="40"/>
                </a:lnTo>
                <a:lnTo>
                  <a:pt x="662" y="40"/>
                </a:lnTo>
                <a:lnTo>
                  <a:pt x="662" y="40"/>
                </a:lnTo>
                <a:lnTo>
                  <a:pt x="662" y="40"/>
                </a:lnTo>
                <a:lnTo>
                  <a:pt x="662" y="40"/>
                </a:lnTo>
                <a:lnTo>
                  <a:pt x="662" y="39"/>
                </a:lnTo>
                <a:lnTo>
                  <a:pt x="662" y="39"/>
                </a:lnTo>
                <a:lnTo>
                  <a:pt x="662" y="39"/>
                </a:lnTo>
                <a:lnTo>
                  <a:pt x="662" y="39"/>
                </a:lnTo>
                <a:lnTo>
                  <a:pt x="662" y="39"/>
                </a:lnTo>
                <a:lnTo>
                  <a:pt x="662" y="39"/>
                </a:lnTo>
                <a:lnTo>
                  <a:pt x="662" y="38"/>
                </a:lnTo>
                <a:lnTo>
                  <a:pt x="662" y="38"/>
                </a:lnTo>
                <a:lnTo>
                  <a:pt x="662" y="38"/>
                </a:lnTo>
                <a:lnTo>
                  <a:pt x="662" y="38"/>
                </a:lnTo>
                <a:lnTo>
                  <a:pt x="662" y="38"/>
                </a:lnTo>
                <a:lnTo>
                  <a:pt x="662" y="38"/>
                </a:lnTo>
                <a:lnTo>
                  <a:pt x="662" y="37"/>
                </a:lnTo>
                <a:lnTo>
                  <a:pt x="662" y="37"/>
                </a:lnTo>
                <a:lnTo>
                  <a:pt x="662" y="37"/>
                </a:lnTo>
                <a:lnTo>
                  <a:pt x="662" y="37"/>
                </a:lnTo>
                <a:lnTo>
                  <a:pt x="662" y="37"/>
                </a:lnTo>
                <a:lnTo>
                  <a:pt x="662" y="37"/>
                </a:lnTo>
                <a:lnTo>
                  <a:pt x="662" y="36"/>
                </a:lnTo>
                <a:lnTo>
                  <a:pt x="662" y="36"/>
                </a:lnTo>
                <a:lnTo>
                  <a:pt x="662" y="36"/>
                </a:lnTo>
                <a:lnTo>
                  <a:pt x="662" y="36"/>
                </a:lnTo>
                <a:lnTo>
                  <a:pt x="662" y="36"/>
                </a:lnTo>
                <a:lnTo>
                  <a:pt x="662" y="36"/>
                </a:lnTo>
                <a:lnTo>
                  <a:pt x="662" y="35"/>
                </a:lnTo>
                <a:lnTo>
                  <a:pt x="662" y="35"/>
                </a:lnTo>
                <a:lnTo>
                  <a:pt x="662" y="35"/>
                </a:lnTo>
                <a:lnTo>
                  <a:pt x="662" y="35"/>
                </a:lnTo>
                <a:lnTo>
                  <a:pt x="662" y="35"/>
                </a:lnTo>
                <a:lnTo>
                  <a:pt x="662" y="35"/>
                </a:lnTo>
                <a:lnTo>
                  <a:pt x="662" y="34"/>
                </a:lnTo>
                <a:lnTo>
                  <a:pt x="662" y="34"/>
                </a:lnTo>
                <a:lnTo>
                  <a:pt x="662" y="34"/>
                </a:lnTo>
                <a:lnTo>
                  <a:pt x="662" y="34"/>
                </a:lnTo>
                <a:lnTo>
                  <a:pt x="662" y="34"/>
                </a:lnTo>
                <a:lnTo>
                  <a:pt x="662" y="34"/>
                </a:lnTo>
                <a:lnTo>
                  <a:pt x="662" y="32"/>
                </a:lnTo>
                <a:lnTo>
                  <a:pt x="662" y="32"/>
                </a:lnTo>
                <a:lnTo>
                  <a:pt x="662" y="32"/>
                </a:lnTo>
                <a:lnTo>
                  <a:pt x="662" y="32"/>
                </a:lnTo>
                <a:lnTo>
                  <a:pt x="662" y="32"/>
                </a:lnTo>
                <a:lnTo>
                  <a:pt x="661" y="32"/>
                </a:lnTo>
                <a:lnTo>
                  <a:pt x="661" y="31"/>
                </a:lnTo>
                <a:lnTo>
                  <a:pt x="661" y="31"/>
                </a:lnTo>
                <a:lnTo>
                  <a:pt x="661" y="31"/>
                </a:lnTo>
                <a:lnTo>
                  <a:pt x="661" y="31"/>
                </a:lnTo>
                <a:lnTo>
                  <a:pt x="661" y="31"/>
                </a:lnTo>
                <a:lnTo>
                  <a:pt x="661" y="31"/>
                </a:lnTo>
                <a:lnTo>
                  <a:pt x="661" y="30"/>
                </a:lnTo>
                <a:lnTo>
                  <a:pt x="661" y="30"/>
                </a:lnTo>
                <a:lnTo>
                  <a:pt x="661" y="30"/>
                </a:lnTo>
                <a:lnTo>
                  <a:pt x="661" y="30"/>
                </a:lnTo>
                <a:lnTo>
                  <a:pt x="661" y="30"/>
                </a:lnTo>
                <a:lnTo>
                  <a:pt x="661" y="30"/>
                </a:lnTo>
                <a:lnTo>
                  <a:pt x="661" y="30"/>
                </a:lnTo>
                <a:lnTo>
                  <a:pt x="661" y="29"/>
                </a:lnTo>
                <a:lnTo>
                  <a:pt x="661" y="29"/>
                </a:lnTo>
                <a:lnTo>
                  <a:pt x="661" y="29"/>
                </a:lnTo>
                <a:lnTo>
                  <a:pt x="661" y="29"/>
                </a:lnTo>
                <a:lnTo>
                  <a:pt x="661" y="29"/>
                </a:lnTo>
                <a:lnTo>
                  <a:pt x="661" y="29"/>
                </a:lnTo>
                <a:lnTo>
                  <a:pt x="661" y="28"/>
                </a:lnTo>
                <a:lnTo>
                  <a:pt x="661" y="28"/>
                </a:lnTo>
                <a:lnTo>
                  <a:pt x="661" y="28"/>
                </a:lnTo>
                <a:lnTo>
                  <a:pt x="661" y="28"/>
                </a:lnTo>
                <a:lnTo>
                  <a:pt x="659" y="28"/>
                </a:lnTo>
                <a:lnTo>
                  <a:pt x="659" y="28"/>
                </a:lnTo>
                <a:lnTo>
                  <a:pt x="659" y="28"/>
                </a:lnTo>
                <a:lnTo>
                  <a:pt x="659" y="27"/>
                </a:lnTo>
                <a:lnTo>
                  <a:pt x="659" y="27"/>
                </a:lnTo>
                <a:lnTo>
                  <a:pt x="659" y="27"/>
                </a:lnTo>
                <a:lnTo>
                  <a:pt x="659" y="27"/>
                </a:lnTo>
                <a:lnTo>
                  <a:pt x="659" y="27"/>
                </a:lnTo>
                <a:lnTo>
                  <a:pt x="659" y="27"/>
                </a:lnTo>
                <a:lnTo>
                  <a:pt x="659" y="26"/>
                </a:lnTo>
                <a:lnTo>
                  <a:pt x="659" y="26"/>
                </a:lnTo>
                <a:lnTo>
                  <a:pt x="659" y="26"/>
                </a:lnTo>
                <a:lnTo>
                  <a:pt x="659" y="26"/>
                </a:lnTo>
                <a:lnTo>
                  <a:pt x="659" y="26"/>
                </a:lnTo>
                <a:lnTo>
                  <a:pt x="659" y="26"/>
                </a:lnTo>
                <a:lnTo>
                  <a:pt x="659" y="26"/>
                </a:lnTo>
                <a:lnTo>
                  <a:pt x="659" y="24"/>
                </a:lnTo>
                <a:lnTo>
                  <a:pt x="658" y="24"/>
                </a:lnTo>
                <a:lnTo>
                  <a:pt x="658" y="24"/>
                </a:lnTo>
                <a:lnTo>
                  <a:pt x="658" y="24"/>
                </a:lnTo>
                <a:lnTo>
                  <a:pt x="658" y="24"/>
                </a:lnTo>
                <a:lnTo>
                  <a:pt x="658" y="24"/>
                </a:lnTo>
                <a:lnTo>
                  <a:pt x="658" y="24"/>
                </a:lnTo>
                <a:lnTo>
                  <a:pt x="658" y="23"/>
                </a:lnTo>
                <a:lnTo>
                  <a:pt x="658" y="23"/>
                </a:lnTo>
                <a:lnTo>
                  <a:pt x="658" y="23"/>
                </a:lnTo>
                <a:lnTo>
                  <a:pt x="658" y="23"/>
                </a:lnTo>
                <a:lnTo>
                  <a:pt x="658" y="23"/>
                </a:lnTo>
                <a:lnTo>
                  <a:pt x="658" y="23"/>
                </a:lnTo>
                <a:lnTo>
                  <a:pt x="658" y="23"/>
                </a:lnTo>
                <a:lnTo>
                  <a:pt x="658" y="22"/>
                </a:lnTo>
                <a:lnTo>
                  <a:pt x="657" y="22"/>
                </a:lnTo>
                <a:lnTo>
                  <a:pt x="657" y="22"/>
                </a:lnTo>
                <a:lnTo>
                  <a:pt x="657" y="22"/>
                </a:lnTo>
                <a:lnTo>
                  <a:pt x="657" y="22"/>
                </a:lnTo>
                <a:lnTo>
                  <a:pt x="657" y="22"/>
                </a:lnTo>
                <a:lnTo>
                  <a:pt x="657" y="22"/>
                </a:lnTo>
                <a:lnTo>
                  <a:pt x="657" y="22"/>
                </a:lnTo>
                <a:lnTo>
                  <a:pt x="657" y="21"/>
                </a:lnTo>
                <a:lnTo>
                  <a:pt x="657" y="21"/>
                </a:lnTo>
                <a:lnTo>
                  <a:pt x="657" y="21"/>
                </a:lnTo>
                <a:lnTo>
                  <a:pt x="657" y="21"/>
                </a:lnTo>
                <a:lnTo>
                  <a:pt x="657" y="21"/>
                </a:lnTo>
                <a:lnTo>
                  <a:pt x="656" y="21"/>
                </a:lnTo>
                <a:lnTo>
                  <a:pt x="656" y="21"/>
                </a:lnTo>
                <a:lnTo>
                  <a:pt x="656" y="20"/>
                </a:lnTo>
                <a:lnTo>
                  <a:pt x="656" y="20"/>
                </a:lnTo>
                <a:lnTo>
                  <a:pt x="656" y="20"/>
                </a:lnTo>
                <a:lnTo>
                  <a:pt x="656" y="20"/>
                </a:lnTo>
                <a:lnTo>
                  <a:pt x="656" y="20"/>
                </a:lnTo>
                <a:lnTo>
                  <a:pt x="656" y="20"/>
                </a:lnTo>
                <a:lnTo>
                  <a:pt x="656" y="20"/>
                </a:lnTo>
                <a:lnTo>
                  <a:pt x="656" y="20"/>
                </a:lnTo>
                <a:lnTo>
                  <a:pt x="655" y="19"/>
                </a:lnTo>
                <a:lnTo>
                  <a:pt x="655" y="19"/>
                </a:lnTo>
                <a:lnTo>
                  <a:pt x="655" y="19"/>
                </a:lnTo>
                <a:lnTo>
                  <a:pt x="655" y="19"/>
                </a:lnTo>
                <a:lnTo>
                  <a:pt x="655" y="19"/>
                </a:lnTo>
                <a:lnTo>
                  <a:pt x="655" y="19"/>
                </a:lnTo>
                <a:lnTo>
                  <a:pt x="655" y="19"/>
                </a:lnTo>
                <a:lnTo>
                  <a:pt x="655" y="19"/>
                </a:lnTo>
                <a:lnTo>
                  <a:pt x="655" y="18"/>
                </a:lnTo>
                <a:lnTo>
                  <a:pt x="655" y="18"/>
                </a:lnTo>
                <a:lnTo>
                  <a:pt x="654" y="18"/>
                </a:lnTo>
                <a:lnTo>
                  <a:pt x="654" y="18"/>
                </a:lnTo>
                <a:lnTo>
                  <a:pt x="654" y="18"/>
                </a:lnTo>
                <a:lnTo>
                  <a:pt x="654" y="18"/>
                </a:lnTo>
                <a:lnTo>
                  <a:pt x="654" y="18"/>
                </a:lnTo>
                <a:lnTo>
                  <a:pt x="654" y="18"/>
                </a:lnTo>
                <a:lnTo>
                  <a:pt x="654" y="17"/>
                </a:lnTo>
                <a:lnTo>
                  <a:pt x="654" y="17"/>
                </a:lnTo>
                <a:lnTo>
                  <a:pt x="654" y="17"/>
                </a:lnTo>
                <a:lnTo>
                  <a:pt x="654" y="17"/>
                </a:lnTo>
                <a:lnTo>
                  <a:pt x="653" y="17"/>
                </a:lnTo>
                <a:lnTo>
                  <a:pt x="653" y="17"/>
                </a:lnTo>
                <a:lnTo>
                  <a:pt x="653" y="17"/>
                </a:lnTo>
                <a:lnTo>
                  <a:pt x="653" y="17"/>
                </a:lnTo>
                <a:lnTo>
                  <a:pt x="653" y="17"/>
                </a:lnTo>
                <a:lnTo>
                  <a:pt x="653" y="15"/>
                </a:lnTo>
                <a:lnTo>
                  <a:pt x="653" y="15"/>
                </a:lnTo>
                <a:lnTo>
                  <a:pt x="653" y="15"/>
                </a:lnTo>
                <a:lnTo>
                  <a:pt x="653" y="15"/>
                </a:lnTo>
                <a:lnTo>
                  <a:pt x="652" y="15"/>
                </a:lnTo>
                <a:lnTo>
                  <a:pt x="652" y="15"/>
                </a:lnTo>
                <a:lnTo>
                  <a:pt x="652" y="15"/>
                </a:lnTo>
                <a:lnTo>
                  <a:pt x="652" y="15"/>
                </a:lnTo>
                <a:lnTo>
                  <a:pt x="652" y="15"/>
                </a:lnTo>
                <a:lnTo>
                  <a:pt x="652" y="15"/>
                </a:lnTo>
                <a:lnTo>
                  <a:pt x="652" y="14"/>
                </a:lnTo>
                <a:lnTo>
                  <a:pt x="652" y="14"/>
                </a:lnTo>
                <a:lnTo>
                  <a:pt x="650" y="14"/>
                </a:lnTo>
                <a:lnTo>
                  <a:pt x="650" y="14"/>
                </a:lnTo>
                <a:lnTo>
                  <a:pt x="650" y="14"/>
                </a:lnTo>
                <a:lnTo>
                  <a:pt x="650" y="14"/>
                </a:lnTo>
                <a:lnTo>
                  <a:pt x="650" y="14"/>
                </a:lnTo>
                <a:lnTo>
                  <a:pt x="650" y="14"/>
                </a:lnTo>
                <a:lnTo>
                  <a:pt x="650" y="14"/>
                </a:lnTo>
                <a:lnTo>
                  <a:pt x="650" y="13"/>
                </a:lnTo>
                <a:lnTo>
                  <a:pt x="649" y="13"/>
                </a:lnTo>
                <a:lnTo>
                  <a:pt x="649" y="13"/>
                </a:lnTo>
                <a:lnTo>
                  <a:pt x="649" y="13"/>
                </a:lnTo>
                <a:lnTo>
                  <a:pt x="649" y="13"/>
                </a:lnTo>
                <a:lnTo>
                  <a:pt x="649" y="13"/>
                </a:lnTo>
                <a:lnTo>
                  <a:pt x="649" y="13"/>
                </a:lnTo>
                <a:lnTo>
                  <a:pt x="649" y="13"/>
                </a:lnTo>
                <a:lnTo>
                  <a:pt x="649" y="13"/>
                </a:lnTo>
                <a:lnTo>
                  <a:pt x="648" y="13"/>
                </a:lnTo>
                <a:lnTo>
                  <a:pt x="648" y="13"/>
                </a:lnTo>
                <a:lnTo>
                  <a:pt x="648" y="12"/>
                </a:lnTo>
                <a:lnTo>
                  <a:pt x="648" y="12"/>
                </a:lnTo>
                <a:lnTo>
                  <a:pt x="648" y="12"/>
                </a:lnTo>
                <a:lnTo>
                  <a:pt x="648" y="12"/>
                </a:lnTo>
                <a:lnTo>
                  <a:pt x="648" y="12"/>
                </a:lnTo>
                <a:lnTo>
                  <a:pt x="647" y="12"/>
                </a:lnTo>
                <a:lnTo>
                  <a:pt x="647" y="12"/>
                </a:lnTo>
                <a:lnTo>
                  <a:pt x="647" y="12"/>
                </a:lnTo>
                <a:lnTo>
                  <a:pt x="647" y="12"/>
                </a:lnTo>
                <a:lnTo>
                  <a:pt x="647" y="12"/>
                </a:lnTo>
                <a:lnTo>
                  <a:pt x="647" y="12"/>
                </a:lnTo>
                <a:lnTo>
                  <a:pt x="647" y="12"/>
                </a:lnTo>
                <a:lnTo>
                  <a:pt x="647" y="11"/>
                </a:lnTo>
                <a:lnTo>
                  <a:pt x="646" y="11"/>
                </a:lnTo>
                <a:lnTo>
                  <a:pt x="646" y="11"/>
                </a:lnTo>
                <a:lnTo>
                  <a:pt x="646" y="11"/>
                </a:lnTo>
                <a:lnTo>
                  <a:pt x="646" y="11"/>
                </a:lnTo>
                <a:lnTo>
                  <a:pt x="646" y="11"/>
                </a:lnTo>
                <a:lnTo>
                  <a:pt x="646" y="11"/>
                </a:lnTo>
                <a:lnTo>
                  <a:pt x="646" y="11"/>
                </a:lnTo>
                <a:lnTo>
                  <a:pt x="645" y="11"/>
                </a:lnTo>
                <a:lnTo>
                  <a:pt x="645" y="11"/>
                </a:lnTo>
                <a:lnTo>
                  <a:pt x="645" y="11"/>
                </a:lnTo>
                <a:lnTo>
                  <a:pt x="645" y="11"/>
                </a:lnTo>
                <a:lnTo>
                  <a:pt x="645" y="11"/>
                </a:lnTo>
                <a:lnTo>
                  <a:pt x="645" y="11"/>
                </a:lnTo>
                <a:lnTo>
                  <a:pt x="645" y="10"/>
                </a:lnTo>
                <a:lnTo>
                  <a:pt x="644" y="10"/>
                </a:lnTo>
                <a:lnTo>
                  <a:pt x="644" y="10"/>
                </a:lnTo>
                <a:lnTo>
                  <a:pt x="644" y="10"/>
                </a:lnTo>
                <a:lnTo>
                  <a:pt x="644" y="10"/>
                </a:lnTo>
                <a:lnTo>
                  <a:pt x="644" y="10"/>
                </a:lnTo>
                <a:lnTo>
                  <a:pt x="644" y="10"/>
                </a:lnTo>
                <a:lnTo>
                  <a:pt x="644" y="10"/>
                </a:lnTo>
                <a:lnTo>
                  <a:pt x="643" y="10"/>
                </a:lnTo>
                <a:lnTo>
                  <a:pt x="643" y="10"/>
                </a:lnTo>
                <a:lnTo>
                  <a:pt x="643" y="10"/>
                </a:lnTo>
                <a:lnTo>
                  <a:pt x="643" y="10"/>
                </a:lnTo>
                <a:lnTo>
                  <a:pt x="643" y="10"/>
                </a:lnTo>
                <a:lnTo>
                  <a:pt x="643" y="10"/>
                </a:lnTo>
                <a:lnTo>
                  <a:pt x="641" y="10"/>
                </a:lnTo>
                <a:lnTo>
                  <a:pt x="641" y="10"/>
                </a:lnTo>
                <a:lnTo>
                  <a:pt x="641" y="10"/>
                </a:lnTo>
                <a:lnTo>
                  <a:pt x="641" y="9"/>
                </a:lnTo>
                <a:lnTo>
                  <a:pt x="641" y="9"/>
                </a:lnTo>
                <a:lnTo>
                  <a:pt x="641" y="9"/>
                </a:lnTo>
                <a:lnTo>
                  <a:pt x="641" y="9"/>
                </a:lnTo>
                <a:lnTo>
                  <a:pt x="640" y="9"/>
                </a:lnTo>
                <a:lnTo>
                  <a:pt x="640" y="9"/>
                </a:lnTo>
                <a:lnTo>
                  <a:pt x="640" y="9"/>
                </a:lnTo>
                <a:lnTo>
                  <a:pt x="640" y="9"/>
                </a:lnTo>
                <a:lnTo>
                  <a:pt x="640" y="9"/>
                </a:lnTo>
                <a:lnTo>
                  <a:pt x="640" y="9"/>
                </a:lnTo>
                <a:lnTo>
                  <a:pt x="639" y="9"/>
                </a:lnTo>
                <a:lnTo>
                  <a:pt x="639" y="9"/>
                </a:lnTo>
                <a:lnTo>
                  <a:pt x="639" y="9"/>
                </a:lnTo>
                <a:lnTo>
                  <a:pt x="639" y="9"/>
                </a:lnTo>
                <a:lnTo>
                  <a:pt x="639" y="9"/>
                </a:lnTo>
                <a:lnTo>
                  <a:pt x="639" y="9"/>
                </a:lnTo>
                <a:lnTo>
                  <a:pt x="639" y="9"/>
                </a:lnTo>
                <a:lnTo>
                  <a:pt x="638" y="9"/>
                </a:lnTo>
                <a:lnTo>
                  <a:pt x="638" y="9"/>
                </a:lnTo>
                <a:lnTo>
                  <a:pt x="638" y="9"/>
                </a:lnTo>
                <a:lnTo>
                  <a:pt x="638" y="9"/>
                </a:lnTo>
                <a:lnTo>
                  <a:pt x="638" y="9"/>
                </a:lnTo>
                <a:lnTo>
                  <a:pt x="638" y="9"/>
                </a:lnTo>
                <a:lnTo>
                  <a:pt x="637" y="8"/>
                </a:lnTo>
                <a:lnTo>
                  <a:pt x="637" y="8"/>
                </a:lnTo>
                <a:lnTo>
                  <a:pt x="637" y="8"/>
                </a:lnTo>
                <a:lnTo>
                  <a:pt x="637" y="8"/>
                </a:lnTo>
                <a:lnTo>
                  <a:pt x="637" y="8"/>
                </a:lnTo>
                <a:lnTo>
                  <a:pt x="637" y="8"/>
                </a:lnTo>
                <a:lnTo>
                  <a:pt x="636" y="8"/>
                </a:lnTo>
                <a:lnTo>
                  <a:pt x="636" y="8"/>
                </a:lnTo>
                <a:lnTo>
                  <a:pt x="636" y="8"/>
                </a:lnTo>
                <a:lnTo>
                  <a:pt x="636" y="8"/>
                </a:lnTo>
                <a:lnTo>
                  <a:pt x="636" y="8"/>
                </a:lnTo>
                <a:lnTo>
                  <a:pt x="636" y="8"/>
                </a:lnTo>
                <a:lnTo>
                  <a:pt x="635" y="8"/>
                </a:lnTo>
                <a:lnTo>
                  <a:pt x="635" y="8"/>
                </a:lnTo>
                <a:lnTo>
                  <a:pt x="635" y="8"/>
                </a:lnTo>
                <a:lnTo>
                  <a:pt x="635" y="8"/>
                </a:lnTo>
                <a:lnTo>
                  <a:pt x="635" y="8"/>
                </a:lnTo>
                <a:lnTo>
                  <a:pt x="635" y="8"/>
                </a:lnTo>
                <a:lnTo>
                  <a:pt x="634" y="8"/>
                </a:lnTo>
                <a:lnTo>
                  <a:pt x="634" y="8"/>
                </a:lnTo>
                <a:lnTo>
                  <a:pt x="634" y="8"/>
                </a:lnTo>
                <a:lnTo>
                  <a:pt x="634" y="8"/>
                </a:lnTo>
                <a:lnTo>
                  <a:pt x="634" y="8"/>
                </a:lnTo>
                <a:lnTo>
                  <a:pt x="634" y="8"/>
                </a:lnTo>
                <a:lnTo>
                  <a:pt x="632" y="8"/>
                </a:lnTo>
                <a:lnTo>
                  <a:pt x="632" y="8"/>
                </a:lnTo>
                <a:lnTo>
                  <a:pt x="632" y="8"/>
                </a:lnTo>
                <a:lnTo>
                  <a:pt x="632" y="8"/>
                </a:lnTo>
                <a:lnTo>
                  <a:pt x="632" y="8"/>
                </a:lnTo>
                <a:lnTo>
                  <a:pt x="632" y="8"/>
                </a:lnTo>
                <a:lnTo>
                  <a:pt x="631" y="8"/>
                </a:lnTo>
                <a:lnTo>
                  <a:pt x="631" y="8"/>
                </a:lnTo>
                <a:lnTo>
                  <a:pt x="631" y="8"/>
                </a:lnTo>
                <a:lnTo>
                  <a:pt x="631" y="8"/>
                </a:lnTo>
                <a:lnTo>
                  <a:pt x="631" y="8"/>
                </a:lnTo>
                <a:lnTo>
                  <a:pt x="631" y="8"/>
                </a:lnTo>
                <a:lnTo>
                  <a:pt x="630" y="8"/>
                </a:lnTo>
                <a:lnTo>
                  <a:pt x="630" y="8"/>
                </a:lnTo>
                <a:lnTo>
                  <a:pt x="630" y="8"/>
                </a:lnTo>
                <a:lnTo>
                  <a:pt x="630" y="8"/>
                </a:lnTo>
                <a:lnTo>
                  <a:pt x="630" y="8"/>
                </a:lnTo>
                <a:lnTo>
                  <a:pt x="630" y="8"/>
                </a:lnTo>
                <a:lnTo>
                  <a:pt x="629" y="8"/>
                </a:lnTo>
                <a:lnTo>
                  <a:pt x="629" y="8"/>
                </a:lnTo>
                <a:lnTo>
                  <a:pt x="629" y="8"/>
                </a:lnTo>
                <a:lnTo>
                  <a:pt x="629" y="8"/>
                </a:lnTo>
                <a:lnTo>
                  <a:pt x="629" y="8"/>
                </a:lnTo>
                <a:lnTo>
                  <a:pt x="629" y="8"/>
                </a:lnTo>
                <a:lnTo>
                  <a:pt x="628" y="8"/>
                </a:lnTo>
                <a:lnTo>
                  <a:pt x="628" y="8"/>
                </a:lnTo>
                <a:lnTo>
                  <a:pt x="628" y="8"/>
                </a:lnTo>
                <a:lnTo>
                  <a:pt x="628" y="8"/>
                </a:lnTo>
                <a:lnTo>
                  <a:pt x="628" y="8"/>
                </a:lnTo>
                <a:lnTo>
                  <a:pt x="628" y="8"/>
                </a:lnTo>
                <a:lnTo>
                  <a:pt x="627" y="8"/>
                </a:lnTo>
                <a:lnTo>
                  <a:pt x="627" y="8"/>
                </a:lnTo>
                <a:lnTo>
                  <a:pt x="627" y="8"/>
                </a:lnTo>
                <a:lnTo>
                  <a:pt x="627" y="8"/>
                </a:lnTo>
                <a:lnTo>
                  <a:pt x="627" y="8"/>
                </a:lnTo>
                <a:lnTo>
                  <a:pt x="627" y="9"/>
                </a:lnTo>
                <a:lnTo>
                  <a:pt x="626" y="9"/>
                </a:lnTo>
                <a:lnTo>
                  <a:pt x="626" y="9"/>
                </a:lnTo>
                <a:lnTo>
                  <a:pt x="626" y="9"/>
                </a:lnTo>
                <a:lnTo>
                  <a:pt x="626" y="9"/>
                </a:lnTo>
                <a:lnTo>
                  <a:pt x="626" y="9"/>
                </a:lnTo>
                <a:lnTo>
                  <a:pt x="626" y="9"/>
                </a:lnTo>
                <a:lnTo>
                  <a:pt x="625" y="9"/>
                </a:lnTo>
                <a:lnTo>
                  <a:pt x="625" y="9"/>
                </a:lnTo>
                <a:lnTo>
                  <a:pt x="625" y="9"/>
                </a:lnTo>
                <a:lnTo>
                  <a:pt x="625" y="9"/>
                </a:lnTo>
                <a:lnTo>
                  <a:pt x="625" y="9"/>
                </a:lnTo>
                <a:lnTo>
                  <a:pt x="625" y="9"/>
                </a:lnTo>
                <a:lnTo>
                  <a:pt x="625" y="9"/>
                </a:lnTo>
                <a:lnTo>
                  <a:pt x="623" y="9"/>
                </a:lnTo>
                <a:lnTo>
                  <a:pt x="623" y="9"/>
                </a:lnTo>
                <a:lnTo>
                  <a:pt x="623" y="9"/>
                </a:lnTo>
                <a:lnTo>
                  <a:pt x="623" y="9"/>
                </a:lnTo>
                <a:lnTo>
                  <a:pt x="623" y="9"/>
                </a:lnTo>
                <a:lnTo>
                  <a:pt x="623" y="9"/>
                </a:lnTo>
                <a:lnTo>
                  <a:pt x="622" y="9"/>
                </a:lnTo>
                <a:lnTo>
                  <a:pt x="622" y="9"/>
                </a:lnTo>
                <a:lnTo>
                  <a:pt x="622" y="9"/>
                </a:lnTo>
                <a:lnTo>
                  <a:pt x="622" y="10"/>
                </a:lnTo>
                <a:lnTo>
                  <a:pt x="622" y="10"/>
                </a:lnTo>
                <a:lnTo>
                  <a:pt x="622" y="10"/>
                </a:lnTo>
                <a:lnTo>
                  <a:pt x="622" y="10"/>
                </a:lnTo>
                <a:lnTo>
                  <a:pt x="621" y="10"/>
                </a:lnTo>
                <a:lnTo>
                  <a:pt x="621" y="10"/>
                </a:lnTo>
                <a:lnTo>
                  <a:pt x="621" y="10"/>
                </a:lnTo>
                <a:lnTo>
                  <a:pt x="621" y="10"/>
                </a:lnTo>
                <a:lnTo>
                  <a:pt x="621" y="10"/>
                </a:lnTo>
                <a:lnTo>
                  <a:pt x="621" y="10"/>
                </a:lnTo>
                <a:lnTo>
                  <a:pt x="620" y="10"/>
                </a:lnTo>
                <a:lnTo>
                  <a:pt x="620" y="10"/>
                </a:lnTo>
                <a:lnTo>
                  <a:pt x="620" y="10"/>
                </a:lnTo>
                <a:lnTo>
                  <a:pt x="620" y="10"/>
                </a:lnTo>
                <a:lnTo>
                  <a:pt x="620" y="10"/>
                </a:lnTo>
                <a:lnTo>
                  <a:pt x="620" y="10"/>
                </a:lnTo>
                <a:lnTo>
                  <a:pt x="620" y="10"/>
                </a:lnTo>
                <a:lnTo>
                  <a:pt x="619" y="11"/>
                </a:lnTo>
                <a:lnTo>
                  <a:pt x="619" y="11"/>
                </a:lnTo>
                <a:lnTo>
                  <a:pt x="619" y="11"/>
                </a:lnTo>
                <a:lnTo>
                  <a:pt x="619" y="11"/>
                </a:lnTo>
                <a:lnTo>
                  <a:pt x="619" y="11"/>
                </a:lnTo>
                <a:lnTo>
                  <a:pt x="619" y="11"/>
                </a:lnTo>
                <a:lnTo>
                  <a:pt x="619" y="11"/>
                </a:lnTo>
                <a:lnTo>
                  <a:pt x="618" y="11"/>
                </a:lnTo>
                <a:lnTo>
                  <a:pt x="618" y="11"/>
                </a:lnTo>
                <a:lnTo>
                  <a:pt x="618" y="11"/>
                </a:lnTo>
                <a:lnTo>
                  <a:pt x="618" y="11"/>
                </a:lnTo>
                <a:lnTo>
                  <a:pt x="618" y="11"/>
                </a:lnTo>
                <a:lnTo>
                  <a:pt x="618" y="11"/>
                </a:lnTo>
                <a:lnTo>
                  <a:pt x="618" y="11"/>
                </a:lnTo>
                <a:lnTo>
                  <a:pt x="617" y="12"/>
                </a:lnTo>
                <a:lnTo>
                  <a:pt x="617" y="12"/>
                </a:lnTo>
                <a:lnTo>
                  <a:pt x="617" y="12"/>
                </a:lnTo>
                <a:lnTo>
                  <a:pt x="617" y="12"/>
                </a:lnTo>
                <a:lnTo>
                  <a:pt x="617" y="12"/>
                </a:lnTo>
                <a:lnTo>
                  <a:pt x="617" y="12"/>
                </a:lnTo>
                <a:lnTo>
                  <a:pt x="617" y="12"/>
                </a:lnTo>
                <a:lnTo>
                  <a:pt x="616" y="12"/>
                </a:lnTo>
                <a:lnTo>
                  <a:pt x="616" y="12"/>
                </a:lnTo>
                <a:lnTo>
                  <a:pt x="616" y="12"/>
                </a:lnTo>
                <a:lnTo>
                  <a:pt x="616" y="12"/>
                </a:lnTo>
                <a:lnTo>
                  <a:pt x="616" y="12"/>
                </a:lnTo>
                <a:lnTo>
                  <a:pt x="616" y="13"/>
                </a:lnTo>
                <a:lnTo>
                  <a:pt x="616" y="13"/>
                </a:lnTo>
                <a:lnTo>
                  <a:pt x="616" y="13"/>
                </a:lnTo>
                <a:lnTo>
                  <a:pt x="614" y="13"/>
                </a:lnTo>
                <a:lnTo>
                  <a:pt x="614" y="13"/>
                </a:lnTo>
                <a:lnTo>
                  <a:pt x="614" y="13"/>
                </a:lnTo>
                <a:lnTo>
                  <a:pt x="614" y="13"/>
                </a:lnTo>
                <a:lnTo>
                  <a:pt x="614" y="13"/>
                </a:lnTo>
                <a:lnTo>
                  <a:pt x="614" y="13"/>
                </a:lnTo>
                <a:lnTo>
                  <a:pt x="614" y="13"/>
                </a:lnTo>
                <a:lnTo>
                  <a:pt x="614" y="13"/>
                </a:lnTo>
                <a:lnTo>
                  <a:pt x="613" y="14"/>
                </a:lnTo>
                <a:lnTo>
                  <a:pt x="613" y="14"/>
                </a:lnTo>
                <a:lnTo>
                  <a:pt x="613" y="14"/>
                </a:lnTo>
                <a:lnTo>
                  <a:pt x="613" y="14"/>
                </a:lnTo>
                <a:lnTo>
                  <a:pt x="613" y="14"/>
                </a:lnTo>
                <a:lnTo>
                  <a:pt x="613" y="14"/>
                </a:lnTo>
                <a:lnTo>
                  <a:pt x="613" y="14"/>
                </a:lnTo>
                <a:lnTo>
                  <a:pt x="613" y="14"/>
                </a:lnTo>
                <a:lnTo>
                  <a:pt x="612" y="14"/>
                </a:lnTo>
                <a:lnTo>
                  <a:pt x="612" y="15"/>
                </a:lnTo>
                <a:lnTo>
                  <a:pt x="612" y="15"/>
                </a:lnTo>
                <a:lnTo>
                  <a:pt x="612" y="15"/>
                </a:lnTo>
                <a:lnTo>
                  <a:pt x="612" y="15"/>
                </a:lnTo>
                <a:lnTo>
                  <a:pt x="612" y="15"/>
                </a:lnTo>
                <a:lnTo>
                  <a:pt x="612" y="15"/>
                </a:lnTo>
                <a:lnTo>
                  <a:pt x="612" y="15"/>
                </a:lnTo>
                <a:lnTo>
                  <a:pt x="611" y="15"/>
                </a:lnTo>
                <a:lnTo>
                  <a:pt x="611" y="15"/>
                </a:lnTo>
                <a:lnTo>
                  <a:pt x="611" y="15"/>
                </a:lnTo>
                <a:lnTo>
                  <a:pt x="611" y="17"/>
                </a:lnTo>
                <a:lnTo>
                  <a:pt x="611" y="17"/>
                </a:lnTo>
                <a:lnTo>
                  <a:pt x="611" y="17"/>
                </a:lnTo>
                <a:lnTo>
                  <a:pt x="611" y="17"/>
                </a:lnTo>
                <a:lnTo>
                  <a:pt x="611" y="17"/>
                </a:lnTo>
                <a:lnTo>
                  <a:pt x="611" y="17"/>
                </a:lnTo>
                <a:lnTo>
                  <a:pt x="610" y="17"/>
                </a:lnTo>
                <a:lnTo>
                  <a:pt x="610" y="17"/>
                </a:lnTo>
                <a:lnTo>
                  <a:pt x="610" y="17"/>
                </a:lnTo>
                <a:lnTo>
                  <a:pt x="610" y="18"/>
                </a:lnTo>
                <a:lnTo>
                  <a:pt x="610" y="18"/>
                </a:lnTo>
                <a:lnTo>
                  <a:pt x="610" y="18"/>
                </a:lnTo>
                <a:lnTo>
                  <a:pt x="610" y="18"/>
                </a:lnTo>
                <a:lnTo>
                  <a:pt x="610" y="18"/>
                </a:lnTo>
                <a:lnTo>
                  <a:pt x="610" y="18"/>
                </a:lnTo>
                <a:lnTo>
                  <a:pt x="610" y="18"/>
                </a:lnTo>
                <a:lnTo>
                  <a:pt x="609" y="18"/>
                </a:lnTo>
                <a:lnTo>
                  <a:pt x="609" y="19"/>
                </a:lnTo>
                <a:lnTo>
                  <a:pt x="609" y="19"/>
                </a:lnTo>
                <a:lnTo>
                  <a:pt x="609" y="19"/>
                </a:lnTo>
                <a:lnTo>
                  <a:pt x="609" y="19"/>
                </a:lnTo>
                <a:lnTo>
                  <a:pt x="609" y="19"/>
                </a:lnTo>
                <a:lnTo>
                  <a:pt x="609" y="19"/>
                </a:lnTo>
                <a:lnTo>
                  <a:pt x="609" y="19"/>
                </a:lnTo>
                <a:lnTo>
                  <a:pt x="609" y="19"/>
                </a:lnTo>
                <a:lnTo>
                  <a:pt x="609" y="20"/>
                </a:lnTo>
                <a:lnTo>
                  <a:pt x="608" y="20"/>
                </a:lnTo>
                <a:lnTo>
                  <a:pt x="608" y="20"/>
                </a:lnTo>
                <a:lnTo>
                  <a:pt x="608" y="20"/>
                </a:lnTo>
                <a:lnTo>
                  <a:pt x="608" y="20"/>
                </a:lnTo>
                <a:lnTo>
                  <a:pt x="608" y="20"/>
                </a:lnTo>
                <a:lnTo>
                  <a:pt x="608" y="20"/>
                </a:lnTo>
                <a:lnTo>
                  <a:pt x="608" y="20"/>
                </a:lnTo>
                <a:lnTo>
                  <a:pt x="608" y="21"/>
                </a:lnTo>
                <a:lnTo>
                  <a:pt x="608" y="21"/>
                </a:lnTo>
                <a:lnTo>
                  <a:pt x="608" y="21"/>
                </a:lnTo>
                <a:lnTo>
                  <a:pt x="608" y="21"/>
                </a:lnTo>
                <a:lnTo>
                  <a:pt x="607" y="21"/>
                </a:lnTo>
                <a:lnTo>
                  <a:pt x="607" y="21"/>
                </a:lnTo>
                <a:lnTo>
                  <a:pt x="607" y="21"/>
                </a:lnTo>
                <a:lnTo>
                  <a:pt x="607" y="22"/>
                </a:lnTo>
                <a:lnTo>
                  <a:pt x="607" y="22"/>
                </a:lnTo>
                <a:lnTo>
                  <a:pt x="607" y="22"/>
                </a:lnTo>
                <a:lnTo>
                  <a:pt x="607" y="22"/>
                </a:lnTo>
                <a:lnTo>
                  <a:pt x="607" y="22"/>
                </a:lnTo>
                <a:lnTo>
                  <a:pt x="607" y="22"/>
                </a:lnTo>
                <a:lnTo>
                  <a:pt x="607" y="22"/>
                </a:lnTo>
                <a:lnTo>
                  <a:pt x="607" y="22"/>
                </a:lnTo>
                <a:lnTo>
                  <a:pt x="607" y="23"/>
                </a:lnTo>
                <a:lnTo>
                  <a:pt x="605" y="23"/>
                </a:lnTo>
                <a:lnTo>
                  <a:pt x="605" y="23"/>
                </a:lnTo>
                <a:lnTo>
                  <a:pt x="605" y="23"/>
                </a:lnTo>
                <a:lnTo>
                  <a:pt x="605" y="23"/>
                </a:lnTo>
                <a:lnTo>
                  <a:pt x="605" y="23"/>
                </a:lnTo>
                <a:lnTo>
                  <a:pt x="605" y="23"/>
                </a:lnTo>
                <a:lnTo>
                  <a:pt x="605" y="24"/>
                </a:lnTo>
                <a:lnTo>
                  <a:pt x="605" y="24"/>
                </a:lnTo>
                <a:lnTo>
                  <a:pt x="605" y="24"/>
                </a:lnTo>
                <a:lnTo>
                  <a:pt x="605" y="24"/>
                </a:lnTo>
                <a:lnTo>
                  <a:pt x="605" y="24"/>
                </a:lnTo>
                <a:lnTo>
                  <a:pt x="605" y="24"/>
                </a:lnTo>
                <a:lnTo>
                  <a:pt x="605" y="24"/>
                </a:lnTo>
                <a:lnTo>
                  <a:pt x="605" y="26"/>
                </a:lnTo>
                <a:lnTo>
                  <a:pt x="604" y="26"/>
                </a:lnTo>
                <a:lnTo>
                  <a:pt x="604" y="26"/>
                </a:lnTo>
                <a:lnTo>
                  <a:pt x="604" y="26"/>
                </a:lnTo>
                <a:lnTo>
                  <a:pt x="604" y="26"/>
                </a:lnTo>
                <a:lnTo>
                  <a:pt x="604" y="26"/>
                </a:lnTo>
                <a:lnTo>
                  <a:pt x="604" y="26"/>
                </a:lnTo>
                <a:lnTo>
                  <a:pt x="604" y="27"/>
                </a:lnTo>
                <a:lnTo>
                  <a:pt x="604" y="27"/>
                </a:lnTo>
                <a:lnTo>
                  <a:pt x="604" y="27"/>
                </a:lnTo>
                <a:lnTo>
                  <a:pt x="604" y="27"/>
                </a:lnTo>
                <a:lnTo>
                  <a:pt x="604" y="27"/>
                </a:lnTo>
                <a:lnTo>
                  <a:pt x="604" y="27"/>
                </a:lnTo>
                <a:lnTo>
                  <a:pt x="604" y="28"/>
                </a:lnTo>
                <a:lnTo>
                  <a:pt x="604" y="28"/>
                </a:lnTo>
                <a:lnTo>
                  <a:pt x="604" y="28"/>
                </a:lnTo>
                <a:lnTo>
                  <a:pt x="604" y="28"/>
                </a:lnTo>
                <a:lnTo>
                  <a:pt x="604" y="28"/>
                </a:lnTo>
                <a:lnTo>
                  <a:pt x="603" y="28"/>
                </a:lnTo>
                <a:lnTo>
                  <a:pt x="603" y="28"/>
                </a:lnTo>
                <a:lnTo>
                  <a:pt x="603" y="29"/>
                </a:lnTo>
                <a:lnTo>
                  <a:pt x="603" y="29"/>
                </a:lnTo>
                <a:lnTo>
                  <a:pt x="603" y="29"/>
                </a:lnTo>
                <a:lnTo>
                  <a:pt x="603" y="29"/>
                </a:lnTo>
                <a:lnTo>
                  <a:pt x="603" y="29"/>
                </a:lnTo>
                <a:lnTo>
                  <a:pt x="603" y="29"/>
                </a:lnTo>
                <a:lnTo>
                  <a:pt x="603" y="30"/>
                </a:lnTo>
                <a:lnTo>
                  <a:pt x="603" y="30"/>
                </a:lnTo>
                <a:lnTo>
                  <a:pt x="603" y="30"/>
                </a:lnTo>
                <a:lnTo>
                  <a:pt x="603" y="30"/>
                </a:lnTo>
                <a:lnTo>
                  <a:pt x="603" y="30"/>
                </a:lnTo>
                <a:lnTo>
                  <a:pt x="603" y="30"/>
                </a:lnTo>
                <a:lnTo>
                  <a:pt x="603" y="30"/>
                </a:lnTo>
                <a:lnTo>
                  <a:pt x="603" y="31"/>
                </a:lnTo>
                <a:lnTo>
                  <a:pt x="603" y="31"/>
                </a:lnTo>
                <a:lnTo>
                  <a:pt x="603" y="31"/>
                </a:lnTo>
                <a:lnTo>
                  <a:pt x="603" y="31"/>
                </a:lnTo>
                <a:lnTo>
                  <a:pt x="603" y="31"/>
                </a:lnTo>
                <a:lnTo>
                  <a:pt x="603" y="31"/>
                </a:lnTo>
                <a:lnTo>
                  <a:pt x="603" y="32"/>
                </a:lnTo>
                <a:lnTo>
                  <a:pt x="603" y="32"/>
                </a:lnTo>
                <a:lnTo>
                  <a:pt x="603" y="32"/>
                </a:lnTo>
                <a:lnTo>
                  <a:pt x="603" y="32"/>
                </a:lnTo>
                <a:lnTo>
                  <a:pt x="603" y="32"/>
                </a:lnTo>
                <a:lnTo>
                  <a:pt x="602" y="32"/>
                </a:lnTo>
                <a:lnTo>
                  <a:pt x="602" y="34"/>
                </a:lnTo>
                <a:lnTo>
                  <a:pt x="602" y="34"/>
                </a:lnTo>
                <a:lnTo>
                  <a:pt x="602" y="34"/>
                </a:lnTo>
                <a:lnTo>
                  <a:pt x="602" y="34"/>
                </a:lnTo>
                <a:lnTo>
                  <a:pt x="602" y="34"/>
                </a:lnTo>
                <a:lnTo>
                  <a:pt x="602" y="34"/>
                </a:lnTo>
                <a:lnTo>
                  <a:pt x="602" y="35"/>
                </a:lnTo>
                <a:lnTo>
                  <a:pt x="602" y="35"/>
                </a:lnTo>
                <a:lnTo>
                  <a:pt x="602" y="35"/>
                </a:lnTo>
                <a:lnTo>
                  <a:pt x="602" y="35"/>
                </a:lnTo>
                <a:lnTo>
                  <a:pt x="602" y="35"/>
                </a:lnTo>
                <a:lnTo>
                  <a:pt x="602" y="35"/>
                </a:lnTo>
                <a:lnTo>
                  <a:pt x="602" y="36"/>
                </a:lnTo>
                <a:lnTo>
                  <a:pt x="602" y="36"/>
                </a:lnTo>
                <a:lnTo>
                  <a:pt x="602" y="36"/>
                </a:lnTo>
                <a:lnTo>
                  <a:pt x="602" y="36"/>
                </a:lnTo>
                <a:lnTo>
                  <a:pt x="602" y="36"/>
                </a:lnTo>
                <a:lnTo>
                  <a:pt x="602" y="36"/>
                </a:lnTo>
                <a:lnTo>
                  <a:pt x="602" y="37"/>
                </a:lnTo>
                <a:lnTo>
                  <a:pt x="602" y="37"/>
                </a:lnTo>
                <a:lnTo>
                  <a:pt x="602" y="37"/>
                </a:lnTo>
                <a:lnTo>
                  <a:pt x="602" y="37"/>
                </a:lnTo>
                <a:lnTo>
                  <a:pt x="602" y="37"/>
                </a:lnTo>
                <a:lnTo>
                  <a:pt x="602" y="37"/>
                </a:lnTo>
                <a:lnTo>
                  <a:pt x="602" y="37"/>
                </a:lnTo>
                <a:close/>
                <a:moveTo>
                  <a:pt x="632" y="75"/>
                </a:moveTo>
                <a:lnTo>
                  <a:pt x="631" y="75"/>
                </a:lnTo>
                <a:lnTo>
                  <a:pt x="631" y="75"/>
                </a:lnTo>
                <a:lnTo>
                  <a:pt x="631" y="75"/>
                </a:lnTo>
                <a:lnTo>
                  <a:pt x="631" y="75"/>
                </a:lnTo>
                <a:lnTo>
                  <a:pt x="630" y="75"/>
                </a:lnTo>
                <a:lnTo>
                  <a:pt x="630" y="75"/>
                </a:lnTo>
                <a:lnTo>
                  <a:pt x="630" y="75"/>
                </a:lnTo>
                <a:lnTo>
                  <a:pt x="630" y="75"/>
                </a:lnTo>
                <a:lnTo>
                  <a:pt x="630" y="75"/>
                </a:lnTo>
                <a:lnTo>
                  <a:pt x="629" y="75"/>
                </a:lnTo>
                <a:lnTo>
                  <a:pt x="629" y="75"/>
                </a:lnTo>
                <a:lnTo>
                  <a:pt x="629" y="75"/>
                </a:lnTo>
                <a:lnTo>
                  <a:pt x="629" y="75"/>
                </a:lnTo>
                <a:lnTo>
                  <a:pt x="629" y="75"/>
                </a:lnTo>
                <a:lnTo>
                  <a:pt x="628" y="75"/>
                </a:lnTo>
                <a:lnTo>
                  <a:pt x="628" y="75"/>
                </a:lnTo>
                <a:lnTo>
                  <a:pt x="628" y="75"/>
                </a:lnTo>
                <a:lnTo>
                  <a:pt x="628" y="75"/>
                </a:lnTo>
                <a:lnTo>
                  <a:pt x="628" y="75"/>
                </a:lnTo>
                <a:lnTo>
                  <a:pt x="627" y="75"/>
                </a:lnTo>
                <a:lnTo>
                  <a:pt x="627" y="75"/>
                </a:lnTo>
                <a:lnTo>
                  <a:pt x="627" y="75"/>
                </a:lnTo>
                <a:lnTo>
                  <a:pt x="627" y="74"/>
                </a:lnTo>
                <a:lnTo>
                  <a:pt x="626" y="74"/>
                </a:lnTo>
                <a:lnTo>
                  <a:pt x="626" y="74"/>
                </a:lnTo>
                <a:lnTo>
                  <a:pt x="626" y="74"/>
                </a:lnTo>
                <a:lnTo>
                  <a:pt x="626" y="74"/>
                </a:lnTo>
                <a:lnTo>
                  <a:pt x="626" y="74"/>
                </a:lnTo>
                <a:lnTo>
                  <a:pt x="625" y="74"/>
                </a:lnTo>
                <a:lnTo>
                  <a:pt x="625" y="74"/>
                </a:lnTo>
                <a:lnTo>
                  <a:pt x="625" y="74"/>
                </a:lnTo>
                <a:lnTo>
                  <a:pt x="625" y="74"/>
                </a:lnTo>
                <a:lnTo>
                  <a:pt x="625" y="74"/>
                </a:lnTo>
                <a:lnTo>
                  <a:pt x="623" y="74"/>
                </a:lnTo>
                <a:lnTo>
                  <a:pt x="623" y="74"/>
                </a:lnTo>
                <a:lnTo>
                  <a:pt x="623" y="74"/>
                </a:lnTo>
                <a:lnTo>
                  <a:pt x="623" y="74"/>
                </a:lnTo>
                <a:lnTo>
                  <a:pt x="623" y="74"/>
                </a:lnTo>
                <a:lnTo>
                  <a:pt x="622" y="74"/>
                </a:lnTo>
                <a:lnTo>
                  <a:pt x="622" y="74"/>
                </a:lnTo>
                <a:lnTo>
                  <a:pt x="622" y="74"/>
                </a:lnTo>
                <a:lnTo>
                  <a:pt x="622" y="74"/>
                </a:lnTo>
                <a:lnTo>
                  <a:pt x="622" y="74"/>
                </a:lnTo>
                <a:lnTo>
                  <a:pt x="621" y="74"/>
                </a:lnTo>
                <a:lnTo>
                  <a:pt x="621" y="73"/>
                </a:lnTo>
                <a:lnTo>
                  <a:pt x="621" y="73"/>
                </a:lnTo>
                <a:lnTo>
                  <a:pt x="621" y="73"/>
                </a:lnTo>
                <a:lnTo>
                  <a:pt x="621" y="73"/>
                </a:lnTo>
                <a:lnTo>
                  <a:pt x="620" y="73"/>
                </a:lnTo>
                <a:lnTo>
                  <a:pt x="620" y="73"/>
                </a:lnTo>
                <a:lnTo>
                  <a:pt x="620" y="73"/>
                </a:lnTo>
                <a:lnTo>
                  <a:pt x="620" y="73"/>
                </a:lnTo>
                <a:lnTo>
                  <a:pt x="620" y="73"/>
                </a:lnTo>
                <a:lnTo>
                  <a:pt x="619" y="73"/>
                </a:lnTo>
                <a:lnTo>
                  <a:pt x="619" y="73"/>
                </a:lnTo>
                <a:lnTo>
                  <a:pt x="619" y="73"/>
                </a:lnTo>
                <a:lnTo>
                  <a:pt x="619" y="73"/>
                </a:lnTo>
                <a:lnTo>
                  <a:pt x="619" y="73"/>
                </a:lnTo>
                <a:lnTo>
                  <a:pt x="619" y="73"/>
                </a:lnTo>
                <a:lnTo>
                  <a:pt x="618" y="72"/>
                </a:lnTo>
                <a:lnTo>
                  <a:pt x="618" y="72"/>
                </a:lnTo>
                <a:lnTo>
                  <a:pt x="618" y="72"/>
                </a:lnTo>
                <a:lnTo>
                  <a:pt x="618" y="72"/>
                </a:lnTo>
                <a:lnTo>
                  <a:pt x="618" y="72"/>
                </a:lnTo>
                <a:lnTo>
                  <a:pt x="617" y="72"/>
                </a:lnTo>
                <a:lnTo>
                  <a:pt x="617" y="72"/>
                </a:lnTo>
                <a:lnTo>
                  <a:pt x="617" y="72"/>
                </a:lnTo>
                <a:lnTo>
                  <a:pt x="617" y="72"/>
                </a:lnTo>
                <a:lnTo>
                  <a:pt x="617" y="72"/>
                </a:lnTo>
                <a:lnTo>
                  <a:pt x="616" y="72"/>
                </a:lnTo>
                <a:lnTo>
                  <a:pt x="616" y="72"/>
                </a:lnTo>
                <a:lnTo>
                  <a:pt x="616" y="72"/>
                </a:lnTo>
                <a:lnTo>
                  <a:pt x="616" y="71"/>
                </a:lnTo>
                <a:lnTo>
                  <a:pt x="616" y="71"/>
                </a:lnTo>
                <a:lnTo>
                  <a:pt x="616" y="71"/>
                </a:lnTo>
                <a:lnTo>
                  <a:pt x="614" y="71"/>
                </a:lnTo>
                <a:lnTo>
                  <a:pt x="614" y="71"/>
                </a:lnTo>
                <a:lnTo>
                  <a:pt x="614" y="71"/>
                </a:lnTo>
                <a:lnTo>
                  <a:pt x="614" y="71"/>
                </a:lnTo>
                <a:lnTo>
                  <a:pt x="614" y="71"/>
                </a:lnTo>
                <a:lnTo>
                  <a:pt x="613" y="71"/>
                </a:lnTo>
                <a:lnTo>
                  <a:pt x="613" y="71"/>
                </a:lnTo>
                <a:lnTo>
                  <a:pt x="613" y="70"/>
                </a:lnTo>
                <a:lnTo>
                  <a:pt x="613" y="70"/>
                </a:lnTo>
                <a:lnTo>
                  <a:pt x="613" y="70"/>
                </a:lnTo>
                <a:lnTo>
                  <a:pt x="613" y="70"/>
                </a:lnTo>
                <a:lnTo>
                  <a:pt x="612" y="70"/>
                </a:lnTo>
                <a:lnTo>
                  <a:pt x="612" y="70"/>
                </a:lnTo>
                <a:lnTo>
                  <a:pt x="612" y="70"/>
                </a:lnTo>
                <a:lnTo>
                  <a:pt x="612" y="70"/>
                </a:lnTo>
                <a:lnTo>
                  <a:pt x="612" y="70"/>
                </a:lnTo>
                <a:lnTo>
                  <a:pt x="612" y="70"/>
                </a:lnTo>
                <a:lnTo>
                  <a:pt x="611" y="68"/>
                </a:lnTo>
                <a:lnTo>
                  <a:pt x="611" y="68"/>
                </a:lnTo>
                <a:lnTo>
                  <a:pt x="611" y="68"/>
                </a:lnTo>
                <a:lnTo>
                  <a:pt x="611" y="68"/>
                </a:lnTo>
                <a:lnTo>
                  <a:pt x="611" y="68"/>
                </a:lnTo>
                <a:lnTo>
                  <a:pt x="611" y="68"/>
                </a:lnTo>
                <a:lnTo>
                  <a:pt x="610" y="68"/>
                </a:lnTo>
                <a:lnTo>
                  <a:pt x="610" y="68"/>
                </a:lnTo>
                <a:lnTo>
                  <a:pt x="610" y="68"/>
                </a:lnTo>
                <a:lnTo>
                  <a:pt x="610" y="67"/>
                </a:lnTo>
                <a:lnTo>
                  <a:pt x="610" y="67"/>
                </a:lnTo>
                <a:lnTo>
                  <a:pt x="610" y="67"/>
                </a:lnTo>
                <a:lnTo>
                  <a:pt x="609" y="67"/>
                </a:lnTo>
                <a:lnTo>
                  <a:pt x="609" y="67"/>
                </a:lnTo>
                <a:lnTo>
                  <a:pt x="609" y="67"/>
                </a:lnTo>
                <a:lnTo>
                  <a:pt x="609" y="67"/>
                </a:lnTo>
                <a:lnTo>
                  <a:pt x="609" y="67"/>
                </a:lnTo>
                <a:lnTo>
                  <a:pt x="609" y="66"/>
                </a:lnTo>
                <a:lnTo>
                  <a:pt x="608" y="66"/>
                </a:lnTo>
                <a:lnTo>
                  <a:pt x="608" y="66"/>
                </a:lnTo>
                <a:lnTo>
                  <a:pt x="608" y="66"/>
                </a:lnTo>
                <a:lnTo>
                  <a:pt x="608" y="66"/>
                </a:lnTo>
                <a:lnTo>
                  <a:pt x="608" y="66"/>
                </a:lnTo>
                <a:lnTo>
                  <a:pt x="608" y="66"/>
                </a:lnTo>
                <a:lnTo>
                  <a:pt x="608" y="66"/>
                </a:lnTo>
                <a:lnTo>
                  <a:pt x="607" y="65"/>
                </a:lnTo>
                <a:lnTo>
                  <a:pt x="607" y="65"/>
                </a:lnTo>
                <a:lnTo>
                  <a:pt x="607" y="65"/>
                </a:lnTo>
                <a:lnTo>
                  <a:pt x="607" y="65"/>
                </a:lnTo>
                <a:lnTo>
                  <a:pt x="607" y="65"/>
                </a:lnTo>
                <a:lnTo>
                  <a:pt x="607" y="65"/>
                </a:lnTo>
                <a:lnTo>
                  <a:pt x="607" y="65"/>
                </a:lnTo>
                <a:lnTo>
                  <a:pt x="605" y="64"/>
                </a:lnTo>
                <a:lnTo>
                  <a:pt x="605" y="64"/>
                </a:lnTo>
                <a:lnTo>
                  <a:pt x="605" y="64"/>
                </a:lnTo>
                <a:lnTo>
                  <a:pt x="605" y="64"/>
                </a:lnTo>
                <a:lnTo>
                  <a:pt x="605" y="64"/>
                </a:lnTo>
                <a:lnTo>
                  <a:pt x="605" y="64"/>
                </a:lnTo>
                <a:lnTo>
                  <a:pt x="605" y="64"/>
                </a:lnTo>
                <a:lnTo>
                  <a:pt x="604" y="63"/>
                </a:lnTo>
                <a:lnTo>
                  <a:pt x="604" y="63"/>
                </a:lnTo>
                <a:lnTo>
                  <a:pt x="604" y="63"/>
                </a:lnTo>
                <a:lnTo>
                  <a:pt x="604" y="63"/>
                </a:lnTo>
                <a:lnTo>
                  <a:pt x="604" y="63"/>
                </a:lnTo>
                <a:lnTo>
                  <a:pt x="604" y="63"/>
                </a:lnTo>
                <a:lnTo>
                  <a:pt x="604" y="63"/>
                </a:lnTo>
                <a:lnTo>
                  <a:pt x="603" y="62"/>
                </a:lnTo>
                <a:lnTo>
                  <a:pt x="603" y="62"/>
                </a:lnTo>
                <a:lnTo>
                  <a:pt x="603" y="62"/>
                </a:lnTo>
                <a:lnTo>
                  <a:pt x="603" y="62"/>
                </a:lnTo>
                <a:lnTo>
                  <a:pt x="603" y="62"/>
                </a:lnTo>
                <a:lnTo>
                  <a:pt x="603" y="62"/>
                </a:lnTo>
                <a:lnTo>
                  <a:pt x="603" y="61"/>
                </a:lnTo>
                <a:lnTo>
                  <a:pt x="603" y="61"/>
                </a:lnTo>
                <a:lnTo>
                  <a:pt x="602" y="61"/>
                </a:lnTo>
                <a:lnTo>
                  <a:pt x="602" y="61"/>
                </a:lnTo>
                <a:lnTo>
                  <a:pt x="602" y="61"/>
                </a:lnTo>
                <a:lnTo>
                  <a:pt x="602" y="61"/>
                </a:lnTo>
                <a:lnTo>
                  <a:pt x="602" y="61"/>
                </a:lnTo>
                <a:lnTo>
                  <a:pt x="602" y="59"/>
                </a:lnTo>
                <a:lnTo>
                  <a:pt x="602" y="59"/>
                </a:lnTo>
                <a:lnTo>
                  <a:pt x="602" y="59"/>
                </a:lnTo>
                <a:lnTo>
                  <a:pt x="601" y="59"/>
                </a:lnTo>
                <a:lnTo>
                  <a:pt x="601" y="59"/>
                </a:lnTo>
                <a:lnTo>
                  <a:pt x="601" y="59"/>
                </a:lnTo>
                <a:lnTo>
                  <a:pt x="601" y="58"/>
                </a:lnTo>
                <a:lnTo>
                  <a:pt x="601" y="58"/>
                </a:lnTo>
                <a:lnTo>
                  <a:pt x="601" y="58"/>
                </a:lnTo>
                <a:lnTo>
                  <a:pt x="601" y="58"/>
                </a:lnTo>
                <a:lnTo>
                  <a:pt x="601" y="58"/>
                </a:lnTo>
                <a:lnTo>
                  <a:pt x="601" y="58"/>
                </a:lnTo>
                <a:lnTo>
                  <a:pt x="600" y="57"/>
                </a:lnTo>
                <a:lnTo>
                  <a:pt x="600" y="57"/>
                </a:lnTo>
                <a:lnTo>
                  <a:pt x="600" y="57"/>
                </a:lnTo>
                <a:lnTo>
                  <a:pt x="600" y="57"/>
                </a:lnTo>
                <a:lnTo>
                  <a:pt x="600" y="57"/>
                </a:lnTo>
                <a:lnTo>
                  <a:pt x="600" y="57"/>
                </a:lnTo>
                <a:lnTo>
                  <a:pt x="600" y="56"/>
                </a:lnTo>
                <a:lnTo>
                  <a:pt x="600" y="56"/>
                </a:lnTo>
                <a:lnTo>
                  <a:pt x="600" y="56"/>
                </a:lnTo>
                <a:lnTo>
                  <a:pt x="599" y="56"/>
                </a:lnTo>
                <a:lnTo>
                  <a:pt x="599" y="56"/>
                </a:lnTo>
                <a:lnTo>
                  <a:pt x="599" y="56"/>
                </a:lnTo>
                <a:lnTo>
                  <a:pt x="599" y="55"/>
                </a:lnTo>
                <a:lnTo>
                  <a:pt x="599" y="55"/>
                </a:lnTo>
                <a:lnTo>
                  <a:pt x="599" y="55"/>
                </a:lnTo>
                <a:lnTo>
                  <a:pt x="599" y="55"/>
                </a:lnTo>
                <a:lnTo>
                  <a:pt x="599" y="55"/>
                </a:lnTo>
                <a:lnTo>
                  <a:pt x="599" y="54"/>
                </a:lnTo>
                <a:lnTo>
                  <a:pt x="599" y="54"/>
                </a:lnTo>
                <a:lnTo>
                  <a:pt x="599" y="54"/>
                </a:lnTo>
                <a:lnTo>
                  <a:pt x="598" y="54"/>
                </a:lnTo>
                <a:lnTo>
                  <a:pt x="598" y="54"/>
                </a:lnTo>
                <a:lnTo>
                  <a:pt x="598" y="54"/>
                </a:lnTo>
                <a:lnTo>
                  <a:pt x="598" y="53"/>
                </a:lnTo>
                <a:lnTo>
                  <a:pt x="598" y="53"/>
                </a:lnTo>
                <a:lnTo>
                  <a:pt x="598" y="53"/>
                </a:lnTo>
                <a:lnTo>
                  <a:pt x="598" y="53"/>
                </a:lnTo>
                <a:lnTo>
                  <a:pt x="598" y="53"/>
                </a:lnTo>
                <a:lnTo>
                  <a:pt x="598" y="52"/>
                </a:lnTo>
                <a:lnTo>
                  <a:pt x="598" y="52"/>
                </a:lnTo>
                <a:lnTo>
                  <a:pt x="598" y="52"/>
                </a:lnTo>
                <a:lnTo>
                  <a:pt x="598" y="52"/>
                </a:lnTo>
                <a:lnTo>
                  <a:pt x="596" y="52"/>
                </a:lnTo>
                <a:lnTo>
                  <a:pt x="596" y="50"/>
                </a:lnTo>
                <a:lnTo>
                  <a:pt x="596" y="50"/>
                </a:lnTo>
                <a:lnTo>
                  <a:pt x="596" y="50"/>
                </a:lnTo>
                <a:lnTo>
                  <a:pt x="596" y="50"/>
                </a:lnTo>
                <a:lnTo>
                  <a:pt x="596" y="50"/>
                </a:lnTo>
                <a:lnTo>
                  <a:pt x="596" y="50"/>
                </a:lnTo>
                <a:lnTo>
                  <a:pt x="596" y="49"/>
                </a:lnTo>
                <a:lnTo>
                  <a:pt x="596" y="49"/>
                </a:lnTo>
                <a:lnTo>
                  <a:pt x="596" y="49"/>
                </a:lnTo>
                <a:lnTo>
                  <a:pt x="596" y="49"/>
                </a:lnTo>
                <a:lnTo>
                  <a:pt x="596" y="49"/>
                </a:lnTo>
                <a:lnTo>
                  <a:pt x="596" y="48"/>
                </a:lnTo>
                <a:lnTo>
                  <a:pt x="596" y="48"/>
                </a:lnTo>
                <a:lnTo>
                  <a:pt x="596" y="48"/>
                </a:lnTo>
                <a:lnTo>
                  <a:pt x="595" y="48"/>
                </a:lnTo>
                <a:lnTo>
                  <a:pt x="595" y="48"/>
                </a:lnTo>
                <a:lnTo>
                  <a:pt x="595" y="47"/>
                </a:lnTo>
                <a:lnTo>
                  <a:pt x="595" y="47"/>
                </a:lnTo>
                <a:lnTo>
                  <a:pt x="595" y="47"/>
                </a:lnTo>
                <a:lnTo>
                  <a:pt x="595" y="47"/>
                </a:lnTo>
                <a:lnTo>
                  <a:pt x="595" y="47"/>
                </a:lnTo>
                <a:lnTo>
                  <a:pt x="595" y="46"/>
                </a:lnTo>
                <a:lnTo>
                  <a:pt x="595" y="46"/>
                </a:lnTo>
                <a:lnTo>
                  <a:pt x="595" y="46"/>
                </a:lnTo>
                <a:lnTo>
                  <a:pt x="595" y="46"/>
                </a:lnTo>
                <a:lnTo>
                  <a:pt x="595" y="46"/>
                </a:lnTo>
                <a:lnTo>
                  <a:pt x="595" y="45"/>
                </a:lnTo>
                <a:lnTo>
                  <a:pt x="595" y="45"/>
                </a:lnTo>
                <a:lnTo>
                  <a:pt x="595" y="45"/>
                </a:lnTo>
                <a:lnTo>
                  <a:pt x="595" y="45"/>
                </a:lnTo>
                <a:lnTo>
                  <a:pt x="595" y="45"/>
                </a:lnTo>
                <a:lnTo>
                  <a:pt x="595" y="44"/>
                </a:lnTo>
                <a:lnTo>
                  <a:pt x="595" y="44"/>
                </a:lnTo>
                <a:lnTo>
                  <a:pt x="595" y="44"/>
                </a:lnTo>
                <a:lnTo>
                  <a:pt x="595" y="44"/>
                </a:lnTo>
                <a:lnTo>
                  <a:pt x="595" y="44"/>
                </a:lnTo>
                <a:lnTo>
                  <a:pt x="595" y="43"/>
                </a:lnTo>
                <a:lnTo>
                  <a:pt x="594" y="43"/>
                </a:lnTo>
                <a:lnTo>
                  <a:pt x="594" y="43"/>
                </a:lnTo>
                <a:lnTo>
                  <a:pt x="594" y="43"/>
                </a:lnTo>
                <a:lnTo>
                  <a:pt x="594" y="41"/>
                </a:lnTo>
                <a:lnTo>
                  <a:pt x="594" y="41"/>
                </a:lnTo>
                <a:lnTo>
                  <a:pt x="594" y="41"/>
                </a:lnTo>
                <a:lnTo>
                  <a:pt x="594" y="41"/>
                </a:lnTo>
                <a:lnTo>
                  <a:pt x="594" y="41"/>
                </a:lnTo>
                <a:lnTo>
                  <a:pt x="594" y="40"/>
                </a:lnTo>
                <a:lnTo>
                  <a:pt x="594" y="40"/>
                </a:lnTo>
                <a:lnTo>
                  <a:pt x="594" y="40"/>
                </a:lnTo>
                <a:lnTo>
                  <a:pt x="594" y="40"/>
                </a:lnTo>
                <a:lnTo>
                  <a:pt x="594" y="40"/>
                </a:lnTo>
                <a:lnTo>
                  <a:pt x="594" y="39"/>
                </a:lnTo>
                <a:lnTo>
                  <a:pt x="594" y="39"/>
                </a:lnTo>
                <a:lnTo>
                  <a:pt x="594" y="39"/>
                </a:lnTo>
                <a:lnTo>
                  <a:pt x="594" y="39"/>
                </a:lnTo>
                <a:lnTo>
                  <a:pt x="594" y="39"/>
                </a:lnTo>
                <a:lnTo>
                  <a:pt x="594" y="38"/>
                </a:lnTo>
                <a:lnTo>
                  <a:pt x="594" y="38"/>
                </a:lnTo>
                <a:lnTo>
                  <a:pt x="594" y="38"/>
                </a:lnTo>
                <a:lnTo>
                  <a:pt x="594" y="38"/>
                </a:lnTo>
                <a:lnTo>
                  <a:pt x="594" y="37"/>
                </a:lnTo>
                <a:lnTo>
                  <a:pt x="594" y="37"/>
                </a:lnTo>
                <a:lnTo>
                  <a:pt x="594" y="37"/>
                </a:lnTo>
                <a:lnTo>
                  <a:pt x="594" y="37"/>
                </a:lnTo>
                <a:lnTo>
                  <a:pt x="594" y="37"/>
                </a:lnTo>
                <a:lnTo>
                  <a:pt x="594" y="36"/>
                </a:lnTo>
                <a:lnTo>
                  <a:pt x="594" y="36"/>
                </a:lnTo>
                <a:lnTo>
                  <a:pt x="594" y="36"/>
                </a:lnTo>
                <a:lnTo>
                  <a:pt x="594" y="36"/>
                </a:lnTo>
                <a:lnTo>
                  <a:pt x="594" y="36"/>
                </a:lnTo>
                <a:lnTo>
                  <a:pt x="594" y="35"/>
                </a:lnTo>
                <a:lnTo>
                  <a:pt x="594" y="35"/>
                </a:lnTo>
                <a:lnTo>
                  <a:pt x="594" y="35"/>
                </a:lnTo>
                <a:lnTo>
                  <a:pt x="594" y="35"/>
                </a:lnTo>
                <a:lnTo>
                  <a:pt x="594" y="34"/>
                </a:lnTo>
                <a:lnTo>
                  <a:pt x="594" y="34"/>
                </a:lnTo>
                <a:lnTo>
                  <a:pt x="594" y="34"/>
                </a:lnTo>
                <a:lnTo>
                  <a:pt x="594" y="34"/>
                </a:lnTo>
                <a:lnTo>
                  <a:pt x="594" y="34"/>
                </a:lnTo>
                <a:lnTo>
                  <a:pt x="594" y="32"/>
                </a:lnTo>
                <a:lnTo>
                  <a:pt x="594" y="32"/>
                </a:lnTo>
                <a:lnTo>
                  <a:pt x="594" y="32"/>
                </a:lnTo>
                <a:lnTo>
                  <a:pt x="594" y="32"/>
                </a:lnTo>
                <a:lnTo>
                  <a:pt x="595" y="32"/>
                </a:lnTo>
                <a:lnTo>
                  <a:pt x="595" y="31"/>
                </a:lnTo>
                <a:lnTo>
                  <a:pt x="595" y="31"/>
                </a:lnTo>
                <a:lnTo>
                  <a:pt x="595" y="31"/>
                </a:lnTo>
                <a:lnTo>
                  <a:pt x="595" y="31"/>
                </a:lnTo>
                <a:lnTo>
                  <a:pt x="595" y="31"/>
                </a:lnTo>
                <a:lnTo>
                  <a:pt x="595" y="30"/>
                </a:lnTo>
                <a:lnTo>
                  <a:pt x="595" y="30"/>
                </a:lnTo>
                <a:lnTo>
                  <a:pt x="595" y="30"/>
                </a:lnTo>
                <a:lnTo>
                  <a:pt x="595" y="30"/>
                </a:lnTo>
                <a:lnTo>
                  <a:pt x="595" y="30"/>
                </a:lnTo>
                <a:lnTo>
                  <a:pt x="595" y="29"/>
                </a:lnTo>
                <a:lnTo>
                  <a:pt x="595" y="29"/>
                </a:lnTo>
                <a:lnTo>
                  <a:pt x="595" y="29"/>
                </a:lnTo>
                <a:lnTo>
                  <a:pt x="595" y="29"/>
                </a:lnTo>
                <a:lnTo>
                  <a:pt x="595" y="28"/>
                </a:lnTo>
                <a:lnTo>
                  <a:pt x="595" y="28"/>
                </a:lnTo>
                <a:lnTo>
                  <a:pt x="595" y="28"/>
                </a:lnTo>
                <a:lnTo>
                  <a:pt x="595" y="28"/>
                </a:lnTo>
                <a:lnTo>
                  <a:pt x="595" y="28"/>
                </a:lnTo>
                <a:lnTo>
                  <a:pt x="595" y="28"/>
                </a:lnTo>
                <a:lnTo>
                  <a:pt x="595" y="27"/>
                </a:lnTo>
                <a:lnTo>
                  <a:pt x="595" y="27"/>
                </a:lnTo>
                <a:lnTo>
                  <a:pt x="596" y="27"/>
                </a:lnTo>
                <a:lnTo>
                  <a:pt x="596" y="27"/>
                </a:lnTo>
                <a:lnTo>
                  <a:pt x="596" y="27"/>
                </a:lnTo>
                <a:lnTo>
                  <a:pt x="596" y="26"/>
                </a:lnTo>
                <a:lnTo>
                  <a:pt x="596" y="26"/>
                </a:lnTo>
                <a:lnTo>
                  <a:pt x="596" y="26"/>
                </a:lnTo>
                <a:lnTo>
                  <a:pt x="596" y="26"/>
                </a:lnTo>
                <a:lnTo>
                  <a:pt x="596" y="26"/>
                </a:lnTo>
                <a:lnTo>
                  <a:pt x="596" y="24"/>
                </a:lnTo>
                <a:lnTo>
                  <a:pt x="596" y="24"/>
                </a:lnTo>
                <a:lnTo>
                  <a:pt x="596" y="24"/>
                </a:lnTo>
                <a:lnTo>
                  <a:pt x="596" y="24"/>
                </a:lnTo>
                <a:lnTo>
                  <a:pt x="596" y="24"/>
                </a:lnTo>
                <a:lnTo>
                  <a:pt x="596" y="23"/>
                </a:lnTo>
                <a:lnTo>
                  <a:pt x="596" y="23"/>
                </a:lnTo>
                <a:lnTo>
                  <a:pt x="598" y="23"/>
                </a:lnTo>
                <a:lnTo>
                  <a:pt x="598" y="23"/>
                </a:lnTo>
                <a:lnTo>
                  <a:pt x="598" y="23"/>
                </a:lnTo>
                <a:lnTo>
                  <a:pt x="598" y="22"/>
                </a:lnTo>
                <a:lnTo>
                  <a:pt x="598" y="22"/>
                </a:lnTo>
                <a:lnTo>
                  <a:pt x="598" y="22"/>
                </a:lnTo>
                <a:lnTo>
                  <a:pt x="598" y="22"/>
                </a:lnTo>
                <a:lnTo>
                  <a:pt x="598" y="22"/>
                </a:lnTo>
                <a:lnTo>
                  <a:pt x="598" y="22"/>
                </a:lnTo>
                <a:lnTo>
                  <a:pt x="598" y="21"/>
                </a:lnTo>
                <a:lnTo>
                  <a:pt x="598" y="21"/>
                </a:lnTo>
                <a:lnTo>
                  <a:pt x="598" y="21"/>
                </a:lnTo>
                <a:lnTo>
                  <a:pt x="599" y="21"/>
                </a:lnTo>
                <a:lnTo>
                  <a:pt x="599" y="21"/>
                </a:lnTo>
                <a:lnTo>
                  <a:pt x="599" y="20"/>
                </a:lnTo>
                <a:lnTo>
                  <a:pt x="599" y="20"/>
                </a:lnTo>
                <a:lnTo>
                  <a:pt x="599" y="20"/>
                </a:lnTo>
                <a:lnTo>
                  <a:pt x="599" y="20"/>
                </a:lnTo>
                <a:lnTo>
                  <a:pt x="599" y="20"/>
                </a:lnTo>
                <a:lnTo>
                  <a:pt x="599" y="20"/>
                </a:lnTo>
                <a:lnTo>
                  <a:pt x="599" y="19"/>
                </a:lnTo>
                <a:lnTo>
                  <a:pt x="599" y="19"/>
                </a:lnTo>
                <a:lnTo>
                  <a:pt x="599" y="19"/>
                </a:lnTo>
                <a:lnTo>
                  <a:pt x="600" y="19"/>
                </a:lnTo>
                <a:lnTo>
                  <a:pt x="600" y="19"/>
                </a:lnTo>
                <a:lnTo>
                  <a:pt x="600" y="18"/>
                </a:lnTo>
                <a:lnTo>
                  <a:pt x="600" y="18"/>
                </a:lnTo>
                <a:lnTo>
                  <a:pt x="600" y="18"/>
                </a:lnTo>
                <a:lnTo>
                  <a:pt x="600" y="18"/>
                </a:lnTo>
                <a:lnTo>
                  <a:pt x="600" y="18"/>
                </a:lnTo>
                <a:lnTo>
                  <a:pt x="600" y="18"/>
                </a:lnTo>
                <a:lnTo>
                  <a:pt x="600" y="17"/>
                </a:lnTo>
                <a:lnTo>
                  <a:pt x="601" y="17"/>
                </a:lnTo>
                <a:lnTo>
                  <a:pt x="601" y="17"/>
                </a:lnTo>
                <a:lnTo>
                  <a:pt x="601" y="17"/>
                </a:lnTo>
                <a:lnTo>
                  <a:pt x="601" y="17"/>
                </a:lnTo>
                <a:lnTo>
                  <a:pt x="601" y="17"/>
                </a:lnTo>
                <a:lnTo>
                  <a:pt x="601" y="15"/>
                </a:lnTo>
                <a:lnTo>
                  <a:pt x="601" y="15"/>
                </a:lnTo>
                <a:lnTo>
                  <a:pt x="601" y="15"/>
                </a:lnTo>
                <a:lnTo>
                  <a:pt x="601" y="15"/>
                </a:lnTo>
                <a:lnTo>
                  <a:pt x="602" y="15"/>
                </a:lnTo>
                <a:lnTo>
                  <a:pt x="602" y="15"/>
                </a:lnTo>
                <a:lnTo>
                  <a:pt x="602" y="14"/>
                </a:lnTo>
                <a:lnTo>
                  <a:pt x="602" y="14"/>
                </a:lnTo>
                <a:lnTo>
                  <a:pt x="602" y="14"/>
                </a:lnTo>
                <a:lnTo>
                  <a:pt x="602" y="14"/>
                </a:lnTo>
                <a:lnTo>
                  <a:pt x="602" y="14"/>
                </a:lnTo>
                <a:lnTo>
                  <a:pt x="602" y="14"/>
                </a:lnTo>
                <a:lnTo>
                  <a:pt x="603" y="14"/>
                </a:lnTo>
                <a:lnTo>
                  <a:pt x="603" y="13"/>
                </a:lnTo>
                <a:lnTo>
                  <a:pt x="603" y="13"/>
                </a:lnTo>
                <a:lnTo>
                  <a:pt x="603" y="13"/>
                </a:lnTo>
                <a:lnTo>
                  <a:pt x="603" y="13"/>
                </a:lnTo>
                <a:lnTo>
                  <a:pt x="603" y="13"/>
                </a:lnTo>
                <a:lnTo>
                  <a:pt x="603" y="13"/>
                </a:lnTo>
                <a:lnTo>
                  <a:pt x="603" y="12"/>
                </a:lnTo>
                <a:lnTo>
                  <a:pt x="604" y="12"/>
                </a:lnTo>
                <a:lnTo>
                  <a:pt x="604" y="12"/>
                </a:lnTo>
                <a:lnTo>
                  <a:pt x="604" y="12"/>
                </a:lnTo>
                <a:lnTo>
                  <a:pt x="604" y="12"/>
                </a:lnTo>
                <a:lnTo>
                  <a:pt x="604" y="12"/>
                </a:lnTo>
                <a:lnTo>
                  <a:pt x="604" y="12"/>
                </a:lnTo>
                <a:lnTo>
                  <a:pt x="604" y="11"/>
                </a:lnTo>
                <a:lnTo>
                  <a:pt x="605" y="11"/>
                </a:lnTo>
                <a:lnTo>
                  <a:pt x="605" y="11"/>
                </a:lnTo>
                <a:lnTo>
                  <a:pt x="605" y="11"/>
                </a:lnTo>
                <a:lnTo>
                  <a:pt x="605" y="11"/>
                </a:lnTo>
                <a:lnTo>
                  <a:pt x="605" y="11"/>
                </a:lnTo>
                <a:lnTo>
                  <a:pt x="605" y="11"/>
                </a:lnTo>
                <a:lnTo>
                  <a:pt x="605" y="10"/>
                </a:lnTo>
                <a:lnTo>
                  <a:pt x="607" y="10"/>
                </a:lnTo>
                <a:lnTo>
                  <a:pt x="607" y="10"/>
                </a:lnTo>
                <a:lnTo>
                  <a:pt x="607" y="10"/>
                </a:lnTo>
                <a:lnTo>
                  <a:pt x="607" y="10"/>
                </a:lnTo>
                <a:lnTo>
                  <a:pt x="607" y="10"/>
                </a:lnTo>
                <a:lnTo>
                  <a:pt x="607" y="10"/>
                </a:lnTo>
                <a:lnTo>
                  <a:pt x="607" y="9"/>
                </a:lnTo>
                <a:lnTo>
                  <a:pt x="608" y="9"/>
                </a:lnTo>
                <a:lnTo>
                  <a:pt x="608" y="9"/>
                </a:lnTo>
                <a:lnTo>
                  <a:pt x="608" y="9"/>
                </a:lnTo>
                <a:lnTo>
                  <a:pt x="608" y="9"/>
                </a:lnTo>
                <a:lnTo>
                  <a:pt x="608" y="9"/>
                </a:lnTo>
                <a:lnTo>
                  <a:pt x="608" y="9"/>
                </a:lnTo>
                <a:lnTo>
                  <a:pt x="608" y="9"/>
                </a:lnTo>
                <a:lnTo>
                  <a:pt x="609" y="8"/>
                </a:lnTo>
                <a:lnTo>
                  <a:pt x="609" y="8"/>
                </a:lnTo>
                <a:lnTo>
                  <a:pt x="609" y="8"/>
                </a:lnTo>
                <a:lnTo>
                  <a:pt x="609" y="8"/>
                </a:lnTo>
                <a:lnTo>
                  <a:pt x="609" y="8"/>
                </a:lnTo>
                <a:lnTo>
                  <a:pt x="609" y="8"/>
                </a:lnTo>
                <a:lnTo>
                  <a:pt x="610" y="8"/>
                </a:lnTo>
                <a:lnTo>
                  <a:pt x="610" y="8"/>
                </a:lnTo>
                <a:lnTo>
                  <a:pt x="610" y="6"/>
                </a:lnTo>
                <a:lnTo>
                  <a:pt x="610" y="6"/>
                </a:lnTo>
                <a:lnTo>
                  <a:pt x="610" y="6"/>
                </a:lnTo>
                <a:lnTo>
                  <a:pt x="610" y="6"/>
                </a:lnTo>
                <a:lnTo>
                  <a:pt x="611" y="6"/>
                </a:lnTo>
                <a:lnTo>
                  <a:pt x="611" y="6"/>
                </a:lnTo>
                <a:lnTo>
                  <a:pt x="611" y="6"/>
                </a:lnTo>
                <a:lnTo>
                  <a:pt x="611" y="6"/>
                </a:lnTo>
                <a:lnTo>
                  <a:pt x="611" y="6"/>
                </a:lnTo>
                <a:lnTo>
                  <a:pt x="611" y="5"/>
                </a:lnTo>
                <a:lnTo>
                  <a:pt x="612" y="5"/>
                </a:lnTo>
                <a:lnTo>
                  <a:pt x="612" y="5"/>
                </a:lnTo>
                <a:lnTo>
                  <a:pt x="612" y="5"/>
                </a:lnTo>
                <a:lnTo>
                  <a:pt x="612" y="5"/>
                </a:lnTo>
                <a:lnTo>
                  <a:pt x="612" y="5"/>
                </a:lnTo>
                <a:lnTo>
                  <a:pt x="612" y="5"/>
                </a:lnTo>
                <a:lnTo>
                  <a:pt x="613" y="5"/>
                </a:lnTo>
                <a:lnTo>
                  <a:pt x="613" y="5"/>
                </a:lnTo>
                <a:lnTo>
                  <a:pt x="613" y="4"/>
                </a:lnTo>
                <a:lnTo>
                  <a:pt x="613" y="4"/>
                </a:lnTo>
                <a:lnTo>
                  <a:pt x="613" y="4"/>
                </a:lnTo>
                <a:lnTo>
                  <a:pt x="613" y="4"/>
                </a:lnTo>
                <a:lnTo>
                  <a:pt x="614" y="4"/>
                </a:lnTo>
                <a:lnTo>
                  <a:pt x="614" y="4"/>
                </a:lnTo>
                <a:lnTo>
                  <a:pt x="614" y="4"/>
                </a:lnTo>
                <a:lnTo>
                  <a:pt x="614" y="4"/>
                </a:lnTo>
                <a:lnTo>
                  <a:pt x="614" y="4"/>
                </a:lnTo>
                <a:lnTo>
                  <a:pt x="616" y="4"/>
                </a:lnTo>
                <a:lnTo>
                  <a:pt x="616" y="4"/>
                </a:lnTo>
                <a:lnTo>
                  <a:pt x="616" y="3"/>
                </a:lnTo>
                <a:lnTo>
                  <a:pt x="616" y="3"/>
                </a:lnTo>
                <a:lnTo>
                  <a:pt x="616" y="3"/>
                </a:lnTo>
                <a:lnTo>
                  <a:pt x="616" y="3"/>
                </a:lnTo>
                <a:lnTo>
                  <a:pt x="617" y="3"/>
                </a:lnTo>
                <a:lnTo>
                  <a:pt x="617" y="3"/>
                </a:lnTo>
                <a:lnTo>
                  <a:pt x="617" y="3"/>
                </a:lnTo>
                <a:lnTo>
                  <a:pt x="617" y="3"/>
                </a:lnTo>
                <a:lnTo>
                  <a:pt x="617" y="3"/>
                </a:lnTo>
                <a:lnTo>
                  <a:pt x="618" y="3"/>
                </a:lnTo>
                <a:lnTo>
                  <a:pt x="618" y="3"/>
                </a:lnTo>
                <a:lnTo>
                  <a:pt x="618" y="2"/>
                </a:lnTo>
                <a:lnTo>
                  <a:pt x="618" y="2"/>
                </a:lnTo>
                <a:lnTo>
                  <a:pt x="618" y="2"/>
                </a:lnTo>
                <a:lnTo>
                  <a:pt x="619" y="2"/>
                </a:lnTo>
                <a:lnTo>
                  <a:pt x="619" y="2"/>
                </a:lnTo>
                <a:lnTo>
                  <a:pt x="619" y="2"/>
                </a:lnTo>
                <a:lnTo>
                  <a:pt x="619" y="2"/>
                </a:lnTo>
                <a:lnTo>
                  <a:pt x="619" y="2"/>
                </a:lnTo>
                <a:lnTo>
                  <a:pt x="619" y="2"/>
                </a:lnTo>
                <a:lnTo>
                  <a:pt x="620" y="2"/>
                </a:lnTo>
                <a:lnTo>
                  <a:pt x="620" y="2"/>
                </a:lnTo>
                <a:lnTo>
                  <a:pt x="620" y="2"/>
                </a:lnTo>
                <a:lnTo>
                  <a:pt x="620" y="2"/>
                </a:lnTo>
                <a:lnTo>
                  <a:pt x="620" y="2"/>
                </a:lnTo>
                <a:lnTo>
                  <a:pt x="621" y="2"/>
                </a:lnTo>
                <a:lnTo>
                  <a:pt x="621" y="1"/>
                </a:lnTo>
                <a:lnTo>
                  <a:pt x="621" y="1"/>
                </a:lnTo>
                <a:lnTo>
                  <a:pt x="621" y="1"/>
                </a:lnTo>
                <a:lnTo>
                  <a:pt x="621" y="1"/>
                </a:lnTo>
                <a:lnTo>
                  <a:pt x="622" y="1"/>
                </a:lnTo>
                <a:lnTo>
                  <a:pt x="622" y="1"/>
                </a:lnTo>
                <a:lnTo>
                  <a:pt x="622" y="1"/>
                </a:lnTo>
                <a:lnTo>
                  <a:pt x="622" y="1"/>
                </a:lnTo>
                <a:lnTo>
                  <a:pt x="622" y="1"/>
                </a:lnTo>
                <a:lnTo>
                  <a:pt x="623" y="1"/>
                </a:lnTo>
                <a:lnTo>
                  <a:pt x="623" y="1"/>
                </a:lnTo>
                <a:lnTo>
                  <a:pt x="623" y="1"/>
                </a:lnTo>
                <a:lnTo>
                  <a:pt x="623" y="1"/>
                </a:lnTo>
                <a:lnTo>
                  <a:pt x="623" y="1"/>
                </a:lnTo>
                <a:lnTo>
                  <a:pt x="625" y="1"/>
                </a:lnTo>
                <a:lnTo>
                  <a:pt x="625" y="1"/>
                </a:lnTo>
                <a:lnTo>
                  <a:pt x="625" y="1"/>
                </a:lnTo>
                <a:lnTo>
                  <a:pt x="625" y="1"/>
                </a:lnTo>
                <a:lnTo>
                  <a:pt x="625" y="1"/>
                </a:lnTo>
                <a:lnTo>
                  <a:pt x="626" y="1"/>
                </a:lnTo>
                <a:lnTo>
                  <a:pt x="626" y="1"/>
                </a:lnTo>
                <a:lnTo>
                  <a:pt x="626" y="0"/>
                </a:lnTo>
                <a:lnTo>
                  <a:pt x="626" y="0"/>
                </a:lnTo>
                <a:lnTo>
                  <a:pt x="626" y="0"/>
                </a:lnTo>
                <a:lnTo>
                  <a:pt x="627" y="0"/>
                </a:lnTo>
                <a:lnTo>
                  <a:pt x="627" y="0"/>
                </a:lnTo>
                <a:lnTo>
                  <a:pt x="627" y="0"/>
                </a:lnTo>
                <a:lnTo>
                  <a:pt x="627" y="0"/>
                </a:lnTo>
                <a:lnTo>
                  <a:pt x="628" y="0"/>
                </a:lnTo>
                <a:lnTo>
                  <a:pt x="628" y="0"/>
                </a:lnTo>
                <a:lnTo>
                  <a:pt x="628" y="0"/>
                </a:lnTo>
                <a:lnTo>
                  <a:pt x="628" y="0"/>
                </a:lnTo>
                <a:lnTo>
                  <a:pt x="628" y="0"/>
                </a:lnTo>
                <a:lnTo>
                  <a:pt x="629" y="0"/>
                </a:lnTo>
                <a:lnTo>
                  <a:pt x="629" y="0"/>
                </a:lnTo>
                <a:lnTo>
                  <a:pt x="629" y="0"/>
                </a:lnTo>
                <a:lnTo>
                  <a:pt x="629" y="0"/>
                </a:lnTo>
                <a:lnTo>
                  <a:pt x="629" y="0"/>
                </a:lnTo>
                <a:lnTo>
                  <a:pt x="630" y="0"/>
                </a:lnTo>
                <a:lnTo>
                  <a:pt x="630" y="0"/>
                </a:lnTo>
                <a:lnTo>
                  <a:pt x="630" y="0"/>
                </a:lnTo>
                <a:lnTo>
                  <a:pt x="630" y="0"/>
                </a:lnTo>
                <a:lnTo>
                  <a:pt x="630" y="0"/>
                </a:lnTo>
                <a:lnTo>
                  <a:pt x="631" y="0"/>
                </a:lnTo>
                <a:lnTo>
                  <a:pt x="631" y="0"/>
                </a:lnTo>
                <a:lnTo>
                  <a:pt x="631" y="0"/>
                </a:lnTo>
                <a:lnTo>
                  <a:pt x="631" y="0"/>
                </a:lnTo>
                <a:lnTo>
                  <a:pt x="632" y="0"/>
                </a:lnTo>
                <a:lnTo>
                  <a:pt x="632" y="0"/>
                </a:lnTo>
                <a:lnTo>
                  <a:pt x="632" y="0"/>
                </a:lnTo>
                <a:lnTo>
                  <a:pt x="632" y="0"/>
                </a:lnTo>
                <a:lnTo>
                  <a:pt x="632" y="0"/>
                </a:lnTo>
                <a:lnTo>
                  <a:pt x="634" y="0"/>
                </a:lnTo>
                <a:lnTo>
                  <a:pt x="634" y="0"/>
                </a:lnTo>
                <a:lnTo>
                  <a:pt x="634" y="0"/>
                </a:lnTo>
                <a:lnTo>
                  <a:pt x="634" y="0"/>
                </a:lnTo>
                <a:lnTo>
                  <a:pt x="634" y="0"/>
                </a:lnTo>
                <a:lnTo>
                  <a:pt x="635" y="0"/>
                </a:lnTo>
                <a:lnTo>
                  <a:pt x="635" y="0"/>
                </a:lnTo>
                <a:lnTo>
                  <a:pt x="635" y="0"/>
                </a:lnTo>
                <a:lnTo>
                  <a:pt x="635" y="0"/>
                </a:lnTo>
                <a:lnTo>
                  <a:pt x="636" y="0"/>
                </a:lnTo>
                <a:lnTo>
                  <a:pt x="636" y="0"/>
                </a:lnTo>
                <a:lnTo>
                  <a:pt x="636" y="0"/>
                </a:lnTo>
                <a:lnTo>
                  <a:pt x="636" y="0"/>
                </a:lnTo>
                <a:lnTo>
                  <a:pt x="636" y="0"/>
                </a:lnTo>
                <a:lnTo>
                  <a:pt x="637" y="0"/>
                </a:lnTo>
                <a:lnTo>
                  <a:pt x="637" y="0"/>
                </a:lnTo>
                <a:lnTo>
                  <a:pt x="637" y="0"/>
                </a:lnTo>
                <a:lnTo>
                  <a:pt x="637" y="0"/>
                </a:lnTo>
                <a:lnTo>
                  <a:pt x="637" y="0"/>
                </a:lnTo>
                <a:lnTo>
                  <a:pt x="638" y="0"/>
                </a:lnTo>
                <a:lnTo>
                  <a:pt x="638" y="0"/>
                </a:lnTo>
                <a:lnTo>
                  <a:pt x="638" y="0"/>
                </a:lnTo>
                <a:lnTo>
                  <a:pt x="638" y="1"/>
                </a:lnTo>
                <a:lnTo>
                  <a:pt x="638" y="1"/>
                </a:lnTo>
                <a:lnTo>
                  <a:pt x="639" y="1"/>
                </a:lnTo>
                <a:lnTo>
                  <a:pt x="639" y="1"/>
                </a:lnTo>
                <a:lnTo>
                  <a:pt x="639" y="1"/>
                </a:lnTo>
                <a:lnTo>
                  <a:pt x="639" y="1"/>
                </a:lnTo>
                <a:lnTo>
                  <a:pt x="639" y="1"/>
                </a:lnTo>
                <a:lnTo>
                  <a:pt x="640" y="1"/>
                </a:lnTo>
                <a:lnTo>
                  <a:pt x="640" y="1"/>
                </a:lnTo>
                <a:lnTo>
                  <a:pt x="640" y="1"/>
                </a:lnTo>
                <a:lnTo>
                  <a:pt x="640" y="1"/>
                </a:lnTo>
                <a:lnTo>
                  <a:pt x="640" y="1"/>
                </a:lnTo>
                <a:lnTo>
                  <a:pt x="641" y="1"/>
                </a:lnTo>
                <a:lnTo>
                  <a:pt x="641" y="1"/>
                </a:lnTo>
                <a:lnTo>
                  <a:pt x="641" y="1"/>
                </a:lnTo>
                <a:lnTo>
                  <a:pt x="641" y="1"/>
                </a:lnTo>
                <a:lnTo>
                  <a:pt x="641" y="1"/>
                </a:lnTo>
                <a:lnTo>
                  <a:pt x="643" y="1"/>
                </a:lnTo>
                <a:lnTo>
                  <a:pt x="643" y="1"/>
                </a:lnTo>
                <a:lnTo>
                  <a:pt x="643" y="1"/>
                </a:lnTo>
                <a:lnTo>
                  <a:pt x="643" y="1"/>
                </a:lnTo>
                <a:lnTo>
                  <a:pt x="643" y="2"/>
                </a:lnTo>
                <a:lnTo>
                  <a:pt x="644" y="2"/>
                </a:lnTo>
                <a:lnTo>
                  <a:pt x="644" y="2"/>
                </a:lnTo>
                <a:lnTo>
                  <a:pt x="644" y="2"/>
                </a:lnTo>
                <a:lnTo>
                  <a:pt x="644" y="2"/>
                </a:lnTo>
                <a:lnTo>
                  <a:pt x="644" y="2"/>
                </a:lnTo>
                <a:lnTo>
                  <a:pt x="645" y="2"/>
                </a:lnTo>
                <a:lnTo>
                  <a:pt x="645" y="2"/>
                </a:lnTo>
                <a:lnTo>
                  <a:pt x="645" y="2"/>
                </a:lnTo>
                <a:lnTo>
                  <a:pt x="645" y="2"/>
                </a:lnTo>
                <a:lnTo>
                  <a:pt x="645" y="2"/>
                </a:lnTo>
                <a:lnTo>
                  <a:pt x="646" y="2"/>
                </a:lnTo>
                <a:lnTo>
                  <a:pt x="646" y="2"/>
                </a:lnTo>
                <a:lnTo>
                  <a:pt x="646" y="2"/>
                </a:lnTo>
                <a:lnTo>
                  <a:pt x="646" y="2"/>
                </a:lnTo>
                <a:lnTo>
                  <a:pt x="646" y="3"/>
                </a:lnTo>
                <a:lnTo>
                  <a:pt x="647" y="3"/>
                </a:lnTo>
                <a:lnTo>
                  <a:pt x="647" y="3"/>
                </a:lnTo>
                <a:lnTo>
                  <a:pt x="647" y="3"/>
                </a:lnTo>
                <a:lnTo>
                  <a:pt x="647" y="3"/>
                </a:lnTo>
                <a:lnTo>
                  <a:pt x="647" y="3"/>
                </a:lnTo>
                <a:lnTo>
                  <a:pt x="647" y="3"/>
                </a:lnTo>
                <a:lnTo>
                  <a:pt x="648" y="3"/>
                </a:lnTo>
                <a:lnTo>
                  <a:pt x="648" y="3"/>
                </a:lnTo>
                <a:lnTo>
                  <a:pt x="648" y="3"/>
                </a:lnTo>
                <a:lnTo>
                  <a:pt x="648" y="3"/>
                </a:lnTo>
                <a:lnTo>
                  <a:pt x="648" y="4"/>
                </a:lnTo>
                <a:lnTo>
                  <a:pt x="649" y="4"/>
                </a:lnTo>
                <a:lnTo>
                  <a:pt x="649" y="4"/>
                </a:lnTo>
                <a:lnTo>
                  <a:pt x="649" y="4"/>
                </a:lnTo>
                <a:lnTo>
                  <a:pt x="649" y="4"/>
                </a:lnTo>
                <a:lnTo>
                  <a:pt x="649" y="4"/>
                </a:lnTo>
                <a:lnTo>
                  <a:pt x="649" y="4"/>
                </a:lnTo>
                <a:lnTo>
                  <a:pt x="650" y="4"/>
                </a:lnTo>
                <a:lnTo>
                  <a:pt x="650" y="4"/>
                </a:lnTo>
                <a:lnTo>
                  <a:pt x="650" y="4"/>
                </a:lnTo>
                <a:lnTo>
                  <a:pt x="650" y="4"/>
                </a:lnTo>
                <a:lnTo>
                  <a:pt x="650" y="5"/>
                </a:lnTo>
                <a:lnTo>
                  <a:pt x="652" y="5"/>
                </a:lnTo>
                <a:lnTo>
                  <a:pt x="652" y="5"/>
                </a:lnTo>
                <a:lnTo>
                  <a:pt x="652" y="5"/>
                </a:lnTo>
                <a:lnTo>
                  <a:pt x="652" y="5"/>
                </a:lnTo>
                <a:lnTo>
                  <a:pt x="652" y="5"/>
                </a:lnTo>
                <a:lnTo>
                  <a:pt x="652" y="5"/>
                </a:lnTo>
                <a:lnTo>
                  <a:pt x="653" y="5"/>
                </a:lnTo>
                <a:lnTo>
                  <a:pt x="653" y="5"/>
                </a:lnTo>
                <a:lnTo>
                  <a:pt x="653" y="6"/>
                </a:lnTo>
                <a:lnTo>
                  <a:pt x="653" y="6"/>
                </a:lnTo>
                <a:lnTo>
                  <a:pt x="653" y="6"/>
                </a:lnTo>
                <a:lnTo>
                  <a:pt x="653" y="6"/>
                </a:lnTo>
                <a:lnTo>
                  <a:pt x="654" y="6"/>
                </a:lnTo>
                <a:lnTo>
                  <a:pt x="654" y="6"/>
                </a:lnTo>
                <a:lnTo>
                  <a:pt x="654" y="6"/>
                </a:lnTo>
                <a:lnTo>
                  <a:pt x="654" y="6"/>
                </a:lnTo>
                <a:lnTo>
                  <a:pt x="654" y="6"/>
                </a:lnTo>
                <a:lnTo>
                  <a:pt x="654" y="8"/>
                </a:lnTo>
                <a:lnTo>
                  <a:pt x="655" y="8"/>
                </a:lnTo>
                <a:lnTo>
                  <a:pt x="655" y="8"/>
                </a:lnTo>
                <a:lnTo>
                  <a:pt x="655" y="8"/>
                </a:lnTo>
                <a:lnTo>
                  <a:pt x="655" y="8"/>
                </a:lnTo>
                <a:lnTo>
                  <a:pt x="655" y="8"/>
                </a:lnTo>
                <a:lnTo>
                  <a:pt x="655" y="8"/>
                </a:lnTo>
                <a:lnTo>
                  <a:pt x="655" y="8"/>
                </a:lnTo>
                <a:lnTo>
                  <a:pt x="656" y="9"/>
                </a:lnTo>
                <a:lnTo>
                  <a:pt x="656" y="9"/>
                </a:lnTo>
                <a:lnTo>
                  <a:pt x="656" y="9"/>
                </a:lnTo>
                <a:lnTo>
                  <a:pt x="656" y="9"/>
                </a:lnTo>
                <a:lnTo>
                  <a:pt x="656" y="9"/>
                </a:lnTo>
                <a:lnTo>
                  <a:pt x="656" y="9"/>
                </a:lnTo>
                <a:lnTo>
                  <a:pt x="657" y="9"/>
                </a:lnTo>
                <a:lnTo>
                  <a:pt x="657" y="9"/>
                </a:lnTo>
                <a:lnTo>
                  <a:pt x="657" y="10"/>
                </a:lnTo>
                <a:lnTo>
                  <a:pt x="657" y="10"/>
                </a:lnTo>
                <a:lnTo>
                  <a:pt x="657" y="10"/>
                </a:lnTo>
                <a:lnTo>
                  <a:pt x="657" y="10"/>
                </a:lnTo>
                <a:lnTo>
                  <a:pt x="657" y="10"/>
                </a:lnTo>
                <a:lnTo>
                  <a:pt x="658" y="10"/>
                </a:lnTo>
                <a:lnTo>
                  <a:pt x="658" y="10"/>
                </a:lnTo>
                <a:lnTo>
                  <a:pt x="658" y="11"/>
                </a:lnTo>
                <a:lnTo>
                  <a:pt x="658" y="11"/>
                </a:lnTo>
                <a:lnTo>
                  <a:pt x="658" y="11"/>
                </a:lnTo>
                <a:lnTo>
                  <a:pt x="658" y="11"/>
                </a:lnTo>
                <a:lnTo>
                  <a:pt x="658" y="11"/>
                </a:lnTo>
                <a:lnTo>
                  <a:pt x="659" y="11"/>
                </a:lnTo>
                <a:lnTo>
                  <a:pt x="659" y="11"/>
                </a:lnTo>
                <a:lnTo>
                  <a:pt x="659" y="12"/>
                </a:lnTo>
                <a:lnTo>
                  <a:pt x="659" y="12"/>
                </a:lnTo>
                <a:lnTo>
                  <a:pt x="659" y="12"/>
                </a:lnTo>
                <a:lnTo>
                  <a:pt x="659" y="12"/>
                </a:lnTo>
                <a:lnTo>
                  <a:pt x="659" y="12"/>
                </a:lnTo>
                <a:lnTo>
                  <a:pt x="661" y="12"/>
                </a:lnTo>
                <a:lnTo>
                  <a:pt x="661" y="12"/>
                </a:lnTo>
                <a:lnTo>
                  <a:pt x="661" y="13"/>
                </a:lnTo>
                <a:lnTo>
                  <a:pt x="661" y="13"/>
                </a:lnTo>
                <a:lnTo>
                  <a:pt x="661" y="13"/>
                </a:lnTo>
                <a:lnTo>
                  <a:pt x="661" y="13"/>
                </a:lnTo>
                <a:lnTo>
                  <a:pt x="661" y="13"/>
                </a:lnTo>
                <a:lnTo>
                  <a:pt x="661" y="13"/>
                </a:lnTo>
                <a:lnTo>
                  <a:pt x="662" y="14"/>
                </a:lnTo>
                <a:lnTo>
                  <a:pt x="662" y="14"/>
                </a:lnTo>
                <a:lnTo>
                  <a:pt x="662" y="14"/>
                </a:lnTo>
                <a:lnTo>
                  <a:pt x="662" y="14"/>
                </a:lnTo>
                <a:lnTo>
                  <a:pt x="662" y="14"/>
                </a:lnTo>
                <a:lnTo>
                  <a:pt x="662" y="14"/>
                </a:lnTo>
                <a:lnTo>
                  <a:pt x="662" y="14"/>
                </a:lnTo>
                <a:lnTo>
                  <a:pt x="662" y="15"/>
                </a:lnTo>
                <a:lnTo>
                  <a:pt x="663" y="15"/>
                </a:lnTo>
                <a:lnTo>
                  <a:pt x="663" y="15"/>
                </a:lnTo>
                <a:lnTo>
                  <a:pt x="663" y="15"/>
                </a:lnTo>
                <a:lnTo>
                  <a:pt x="663" y="15"/>
                </a:lnTo>
                <a:lnTo>
                  <a:pt x="663" y="15"/>
                </a:lnTo>
                <a:lnTo>
                  <a:pt x="663" y="17"/>
                </a:lnTo>
                <a:lnTo>
                  <a:pt x="663" y="17"/>
                </a:lnTo>
                <a:lnTo>
                  <a:pt x="663" y="17"/>
                </a:lnTo>
                <a:lnTo>
                  <a:pt x="663" y="17"/>
                </a:lnTo>
                <a:lnTo>
                  <a:pt x="664" y="17"/>
                </a:lnTo>
                <a:lnTo>
                  <a:pt x="664" y="17"/>
                </a:lnTo>
                <a:lnTo>
                  <a:pt x="664" y="18"/>
                </a:lnTo>
                <a:lnTo>
                  <a:pt x="664" y="18"/>
                </a:lnTo>
                <a:lnTo>
                  <a:pt x="664" y="18"/>
                </a:lnTo>
                <a:lnTo>
                  <a:pt x="664" y="18"/>
                </a:lnTo>
                <a:lnTo>
                  <a:pt x="664" y="18"/>
                </a:lnTo>
                <a:lnTo>
                  <a:pt x="664" y="18"/>
                </a:lnTo>
                <a:lnTo>
                  <a:pt x="664" y="19"/>
                </a:lnTo>
                <a:lnTo>
                  <a:pt x="665" y="19"/>
                </a:lnTo>
                <a:lnTo>
                  <a:pt x="665" y="19"/>
                </a:lnTo>
                <a:lnTo>
                  <a:pt x="665" y="19"/>
                </a:lnTo>
                <a:lnTo>
                  <a:pt x="665" y="19"/>
                </a:lnTo>
                <a:lnTo>
                  <a:pt x="665" y="20"/>
                </a:lnTo>
                <a:lnTo>
                  <a:pt x="665" y="20"/>
                </a:lnTo>
                <a:lnTo>
                  <a:pt x="665" y="20"/>
                </a:lnTo>
                <a:lnTo>
                  <a:pt x="665" y="20"/>
                </a:lnTo>
                <a:lnTo>
                  <a:pt x="665" y="20"/>
                </a:lnTo>
                <a:lnTo>
                  <a:pt x="665" y="20"/>
                </a:lnTo>
                <a:lnTo>
                  <a:pt x="665" y="21"/>
                </a:lnTo>
                <a:lnTo>
                  <a:pt x="666" y="21"/>
                </a:lnTo>
                <a:lnTo>
                  <a:pt x="666" y="21"/>
                </a:lnTo>
                <a:lnTo>
                  <a:pt x="666" y="21"/>
                </a:lnTo>
                <a:lnTo>
                  <a:pt x="666" y="21"/>
                </a:lnTo>
                <a:lnTo>
                  <a:pt x="666" y="22"/>
                </a:lnTo>
                <a:lnTo>
                  <a:pt x="666" y="22"/>
                </a:lnTo>
                <a:lnTo>
                  <a:pt x="666" y="22"/>
                </a:lnTo>
                <a:lnTo>
                  <a:pt x="666" y="22"/>
                </a:lnTo>
                <a:lnTo>
                  <a:pt x="666" y="22"/>
                </a:lnTo>
                <a:lnTo>
                  <a:pt x="666" y="22"/>
                </a:lnTo>
                <a:lnTo>
                  <a:pt x="666" y="23"/>
                </a:lnTo>
                <a:lnTo>
                  <a:pt x="666" y="23"/>
                </a:lnTo>
                <a:lnTo>
                  <a:pt x="667" y="23"/>
                </a:lnTo>
                <a:lnTo>
                  <a:pt x="667" y="23"/>
                </a:lnTo>
                <a:lnTo>
                  <a:pt x="667" y="23"/>
                </a:lnTo>
                <a:lnTo>
                  <a:pt x="667" y="24"/>
                </a:lnTo>
                <a:lnTo>
                  <a:pt x="667" y="24"/>
                </a:lnTo>
                <a:lnTo>
                  <a:pt x="667" y="24"/>
                </a:lnTo>
                <a:lnTo>
                  <a:pt x="667" y="24"/>
                </a:lnTo>
                <a:lnTo>
                  <a:pt x="667" y="24"/>
                </a:lnTo>
                <a:lnTo>
                  <a:pt x="667" y="26"/>
                </a:lnTo>
                <a:lnTo>
                  <a:pt x="667" y="26"/>
                </a:lnTo>
                <a:lnTo>
                  <a:pt x="667" y="26"/>
                </a:lnTo>
                <a:lnTo>
                  <a:pt x="667" y="26"/>
                </a:lnTo>
                <a:lnTo>
                  <a:pt x="667" y="26"/>
                </a:lnTo>
                <a:lnTo>
                  <a:pt x="667" y="27"/>
                </a:lnTo>
                <a:lnTo>
                  <a:pt x="668" y="27"/>
                </a:lnTo>
                <a:lnTo>
                  <a:pt x="668" y="27"/>
                </a:lnTo>
                <a:lnTo>
                  <a:pt x="668" y="27"/>
                </a:lnTo>
                <a:lnTo>
                  <a:pt x="668" y="27"/>
                </a:lnTo>
                <a:lnTo>
                  <a:pt x="668" y="28"/>
                </a:lnTo>
                <a:lnTo>
                  <a:pt x="668" y="28"/>
                </a:lnTo>
                <a:lnTo>
                  <a:pt x="668" y="28"/>
                </a:lnTo>
                <a:lnTo>
                  <a:pt x="668" y="28"/>
                </a:lnTo>
                <a:lnTo>
                  <a:pt x="668" y="28"/>
                </a:lnTo>
                <a:lnTo>
                  <a:pt x="668" y="28"/>
                </a:lnTo>
                <a:lnTo>
                  <a:pt x="668" y="29"/>
                </a:lnTo>
                <a:lnTo>
                  <a:pt x="668" y="29"/>
                </a:lnTo>
                <a:lnTo>
                  <a:pt x="668" y="29"/>
                </a:lnTo>
                <a:lnTo>
                  <a:pt x="668" y="29"/>
                </a:lnTo>
                <a:lnTo>
                  <a:pt x="668" y="30"/>
                </a:lnTo>
                <a:lnTo>
                  <a:pt x="668" y="30"/>
                </a:lnTo>
                <a:lnTo>
                  <a:pt x="668" y="30"/>
                </a:lnTo>
                <a:lnTo>
                  <a:pt x="668" y="30"/>
                </a:lnTo>
                <a:lnTo>
                  <a:pt x="668" y="30"/>
                </a:lnTo>
                <a:lnTo>
                  <a:pt x="668" y="31"/>
                </a:lnTo>
                <a:lnTo>
                  <a:pt x="668" y="31"/>
                </a:lnTo>
                <a:lnTo>
                  <a:pt x="670" y="31"/>
                </a:lnTo>
                <a:lnTo>
                  <a:pt x="670" y="31"/>
                </a:lnTo>
                <a:lnTo>
                  <a:pt x="670" y="31"/>
                </a:lnTo>
                <a:lnTo>
                  <a:pt x="670" y="32"/>
                </a:lnTo>
                <a:lnTo>
                  <a:pt x="670" y="32"/>
                </a:lnTo>
                <a:lnTo>
                  <a:pt x="670" y="32"/>
                </a:lnTo>
                <a:lnTo>
                  <a:pt x="670" y="32"/>
                </a:lnTo>
                <a:lnTo>
                  <a:pt x="670" y="32"/>
                </a:lnTo>
                <a:lnTo>
                  <a:pt x="670" y="34"/>
                </a:lnTo>
                <a:lnTo>
                  <a:pt x="670" y="34"/>
                </a:lnTo>
                <a:lnTo>
                  <a:pt x="670" y="34"/>
                </a:lnTo>
                <a:lnTo>
                  <a:pt x="670" y="34"/>
                </a:lnTo>
                <a:lnTo>
                  <a:pt x="670" y="34"/>
                </a:lnTo>
                <a:lnTo>
                  <a:pt x="670" y="35"/>
                </a:lnTo>
                <a:lnTo>
                  <a:pt x="670" y="35"/>
                </a:lnTo>
                <a:lnTo>
                  <a:pt x="670" y="35"/>
                </a:lnTo>
                <a:lnTo>
                  <a:pt x="670" y="35"/>
                </a:lnTo>
                <a:lnTo>
                  <a:pt x="670" y="36"/>
                </a:lnTo>
                <a:lnTo>
                  <a:pt x="670" y="36"/>
                </a:lnTo>
                <a:lnTo>
                  <a:pt x="670" y="36"/>
                </a:lnTo>
                <a:lnTo>
                  <a:pt x="670" y="36"/>
                </a:lnTo>
                <a:lnTo>
                  <a:pt x="670" y="36"/>
                </a:lnTo>
                <a:lnTo>
                  <a:pt x="670" y="37"/>
                </a:lnTo>
                <a:lnTo>
                  <a:pt x="670" y="37"/>
                </a:lnTo>
                <a:lnTo>
                  <a:pt x="670" y="37"/>
                </a:lnTo>
                <a:lnTo>
                  <a:pt x="670" y="37"/>
                </a:lnTo>
                <a:lnTo>
                  <a:pt x="670" y="37"/>
                </a:lnTo>
                <a:lnTo>
                  <a:pt x="670" y="38"/>
                </a:lnTo>
                <a:lnTo>
                  <a:pt x="670" y="38"/>
                </a:lnTo>
                <a:lnTo>
                  <a:pt x="670" y="38"/>
                </a:lnTo>
                <a:lnTo>
                  <a:pt x="670" y="38"/>
                </a:lnTo>
                <a:lnTo>
                  <a:pt x="670" y="39"/>
                </a:lnTo>
                <a:lnTo>
                  <a:pt x="670" y="39"/>
                </a:lnTo>
                <a:lnTo>
                  <a:pt x="670" y="39"/>
                </a:lnTo>
                <a:lnTo>
                  <a:pt x="670" y="39"/>
                </a:lnTo>
                <a:lnTo>
                  <a:pt x="670" y="39"/>
                </a:lnTo>
                <a:lnTo>
                  <a:pt x="670" y="40"/>
                </a:lnTo>
                <a:lnTo>
                  <a:pt x="670" y="40"/>
                </a:lnTo>
                <a:lnTo>
                  <a:pt x="670" y="40"/>
                </a:lnTo>
                <a:lnTo>
                  <a:pt x="670" y="40"/>
                </a:lnTo>
                <a:lnTo>
                  <a:pt x="670" y="40"/>
                </a:lnTo>
                <a:lnTo>
                  <a:pt x="670" y="41"/>
                </a:lnTo>
                <a:lnTo>
                  <a:pt x="670" y="41"/>
                </a:lnTo>
                <a:lnTo>
                  <a:pt x="670" y="41"/>
                </a:lnTo>
                <a:lnTo>
                  <a:pt x="670" y="41"/>
                </a:lnTo>
                <a:lnTo>
                  <a:pt x="670" y="41"/>
                </a:lnTo>
                <a:lnTo>
                  <a:pt x="670" y="43"/>
                </a:lnTo>
                <a:lnTo>
                  <a:pt x="670" y="43"/>
                </a:lnTo>
                <a:lnTo>
                  <a:pt x="670" y="43"/>
                </a:lnTo>
                <a:lnTo>
                  <a:pt x="670" y="43"/>
                </a:lnTo>
                <a:lnTo>
                  <a:pt x="670" y="44"/>
                </a:lnTo>
                <a:lnTo>
                  <a:pt x="670" y="44"/>
                </a:lnTo>
                <a:lnTo>
                  <a:pt x="670" y="44"/>
                </a:lnTo>
                <a:lnTo>
                  <a:pt x="668" y="44"/>
                </a:lnTo>
                <a:lnTo>
                  <a:pt x="668" y="44"/>
                </a:lnTo>
                <a:lnTo>
                  <a:pt x="668" y="45"/>
                </a:lnTo>
                <a:lnTo>
                  <a:pt x="668" y="45"/>
                </a:lnTo>
                <a:lnTo>
                  <a:pt x="668" y="45"/>
                </a:lnTo>
                <a:lnTo>
                  <a:pt x="668" y="45"/>
                </a:lnTo>
                <a:lnTo>
                  <a:pt x="668" y="45"/>
                </a:lnTo>
                <a:lnTo>
                  <a:pt x="668" y="46"/>
                </a:lnTo>
                <a:lnTo>
                  <a:pt x="668" y="46"/>
                </a:lnTo>
                <a:lnTo>
                  <a:pt x="668" y="46"/>
                </a:lnTo>
                <a:lnTo>
                  <a:pt x="668" y="46"/>
                </a:lnTo>
                <a:lnTo>
                  <a:pt x="668" y="46"/>
                </a:lnTo>
                <a:lnTo>
                  <a:pt x="668" y="47"/>
                </a:lnTo>
                <a:lnTo>
                  <a:pt x="668" y="47"/>
                </a:lnTo>
                <a:lnTo>
                  <a:pt x="668" y="47"/>
                </a:lnTo>
                <a:lnTo>
                  <a:pt x="668" y="47"/>
                </a:lnTo>
                <a:lnTo>
                  <a:pt x="668" y="47"/>
                </a:lnTo>
                <a:lnTo>
                  <a:pt x="668" y="48"/>
                </a:lnTo>
                <a:lnTo>
                  <a:pt x="668" y="48"/>
                </a:lnTo>
                <a:lnTo>
                  <a:pt x="668" y="48"/>
                </a:lnTo>
                <a:lnTo>
                  <a:pt x="668" y="48"/>
                </a:lnTo>
                <a:lnTo>
                  <a:pt x="667" y="48"/>
                </a:lnTo>
                <a:lnTo>
                  <a:pt x="667" y="49"/>
                </a:lnTo>
                <a:lnTo>
                  <a:pt x="667" y="49"/>
                </a:lnTo>
                <a:lnTo>
                  <a:pt x="667" y="49"/>
                </a:lnTo>
                <a:lnTo>
                  <a:pt x="667" y="49"/>
                </a:lnTo>
                <a:lnTo>
                  <a:pt x="667" y="49"/>
                </a:lnTo>
                <a:lnTo>
                  <a:pt x="667" y="50"/>
                </a:lnTo>
                <a:lnTo>
                  <a:pt x="667" y="50"/>
                </a:lnTo>
                <a:lnTo>
                  <a:pt x="667" y="50"/>
                </a:lnTo>
                <a:lnTo>
                  <a:pt x="667" y="50"/>
                </a:lnTo>
                <a:lnTo>
                  <a:pt x="667" y="50"/>
                </a:lnTo>
                <a:lnTo>
                  <a:pt x="667" y="50"/>
                </a:lnTo>
                <a:lnTo>
                  <a:pt x="667" y="52"/>
                </a:lnTo>
                <a:lnTo>
                  <a:pt x="667" y="52"/>
                </a:lnTo>
                <a:lnTo>
                  <a:pt x="666" y="52"/>
                </a:lnTo>
                <a:lnTo>
                  <a:pt x="666" y="52"/>
                </a:lnTo>
                <a:lnTo>
                  <a:pt x="666" y="52"/>
                </a:lnTo>
                <a:lnTo>
                  <a:pt x="666" y="53"/>
                </a:lnTo>
                <a:lnTo>
                  <a:pt x="666" y="53"/>
                </a:lnTo>
                <a:lnTo>
                  <a:pt x="666" y="53"/>
                </a:lnTo>
                <a:lnTo>
                  <a:pt x="666" y="53"/>
                </a:lnTo>
                <a:lnTo>
                  <a:pt x="666" y="53"/>
                </a:lnTo>
                <a:lnTo>
                  <a:pt x="666" y="54"/>
                </a:lnTo>
                <a:lnTo>
                  <a:pt x="666" y="54"/>
                </a:lnTo>
                <a:lnTo>
                  <a:pt x="666" y="54"/>
                </a:lnTo>
                <a:lnTo>
                  <a:pt x="666" y="54"/>
                </a:lnTo>
                <a:lnTo>
                  <a:pt x="665" y="54"/>
                </a:lnTo>
                <a:lnTo>
                  <a:pt x="665" y="54"/>
                </a:lnTo>
                <a:lnTo>
                  <a:pt x="665" y="55"/>
                </a:lnTo>
                <a:lnTo>
                  <a:pt x="665" y="55"/>
                </a:lnTo>
                <a:lnTo>
                  <a:pt x="665" y="55"/>
                </a:lnTo>
                <a:lnTo>
                  <a:pt x="665" y="55"/>
                </a:lnTo>
                <a:lnTo>
                  <a:pt x="665" y="55"/>
                </a:lnTo>
                <a:lnTo>
                  <a:pt x="665" y="56"/>
                </a:lnTo>
                <a:lnTo>
                  <a:pt x="665" y="56"/>
                </a:lnTo>
                <a:lnTo>
                  <a:pt x="665" y="56"/>
                </a:lnTo>
                <a:lnTo>
                  <a:pt x="665" y="56"/>
                </a:lnTo>
                <a:lnTo>
                  <a:pt x="664" y="56"/>
                </a:lnTo>
                <a:lnTo>
                  <a:pt x="664" y="56"/>
                </a:lnTo>
                <a:lnTo>
                  <a:pt x="664" y="57"/>
                </a:lnTo>
                <a:lnTo>
                  <a:pt x="664" y="57"/>
                </a:lnTo>
                <a:lnTo>
                  <a:pt x="664" y="57"/>
                </a:lnTo>
                <a:lnTo>
                  <a:pt x="664" y="57"/>
                </a:lnTo>
                <a:lnTo>
                  <a:pt x="664" y="57"/>
                </a:lnTo>
                <a:lnTo>
                  <a:pt x="664" y="57"/>
                </a:lnTo>
                <a:lnTo>
                  <a:pt x="664" y="58"/>
                </a:lnTo>
                <a:lnTo>
                  <a:pt x="663" y="58"/>
                </a:lnTo>
                <a:lnTo>
                  <a:pt x="663" y="58"/>
                </a:lnTo>
                <a:lnTo>
                  <a:pt x="663" y="58"/>
                </a:lnTo>
                <a:lnTo>
                  <a:pt x="663" y="58"/>
                </a:lnTo>
                <a:lnTo>
                  <a:pt x="663" y="58"/>
                </a:lnTo>
                <a:lnTo>
                  <a:pt x="663" y="59"/>
                </a:lnTo>
                <a:lnTo>
                  <a:pt x="663" y="59"/>
                </a:lnTo>
                <a:lnTo>
                  <a:pt x="663" y="59"/>
                </a:lnTo>
                <a:lnTo>
                  <a:pt x="663" y="59"/>
                </a:lnTo>
                <a:lnTo>
                  <a:pt x="662" y="59"/>
                </a:lnTo>
                <a:lnTo>
                  <a:pt x="662" y="59"/>
                </a:lnTo>
                <a:lnTo>
                  <a:pt x="662" y="61"/>
                </a:lnTo>
                <a:lnTo>
                  <a:pt x="662" y="61"/>
                </a:lnTo>
                <a:lnTo>
                  <a:pt x="662" y="61"/>
                </a:lnTo>
                <a:lnTo>
                  <a:pt x="662" y="61"/>
                </a:lnTo>
                <a:lnTo>
                  <a:pt x="662" y="61"/>
                </a:lnTo>
                <a:lnTo>
                  <a:pt x="662" y="61"/>
                </a:lnTo>
                <a:lnTo>
                  <a:pt x="661" y="61"/>
                </a:lnTo>
                <a:lnTo>
                  <a:pt x="661" y="62"/>
                </a:lnTo>
                <a:lnTo>
                  <a:pt x="661" y="62"/>
                </a:lnTo>
                <a:lnTo>
                  <a:pt x="661" y="62"/>
                </a:lnTo>
                <a:lnTo>
                  <a:pt x="661" y="62"/>
                </a:lnTo>
                <a:lnTo>
                  <a:pt x="661" y="62"/>
                </a:lnTo>
                <a:lnTo>
                  <a:pt x="661" y="62"/>
                </a:lnTo>
                <a:lnTo>
                  <a:pt x="661" y="63"/>
                </a:lnTo>
                <a:lnTo>
                  <a:pt x="659" y="63"/>
                </a:lnTo>
                <a:lnTo>
                  <a:pt x="659" y="63"/>
                </a:lnTo>
                <a:lnTo>
                  <a:pt x="659" y="63"/>
                </a:lnTo>
                <a:lnTo>
                  <a:pt x="659" y="63"/>
                </a:lnTo>
                <a:lnTo>
                  <a:pt x="659" y="63"/>
                </a:lnTo>
                <a:lnTo>
                  <a:pt x="659" y="63"/>
                </a:lnTo>
                <a:lnTo>
                  <a:pt x="659" y="64"/>
                </a:lnTo>
                <a:lnTo>
                  <a:pt x="658" y="64"/>
                </a:lnTo>
                <a:lnTo>
                  <a:pt x="658" y="64"/>
                </a:lnTo>
                <a:lnTo>
                  <a:pt x="658" y="64"/>
                </a:lnTo>
                <a:lnTo>
                  <a:pt x="658" y="64"/>
                </a:lnTo>
                <a:lnTo>
                  <a:pt x="658" y="64"/>
                </a:lnTo>
                <a:lnTo>
                  <a:pt x="658" y="64"/>
                </a:lnTo>
                <a:lnTo>
                  <a:pt x="658" y="65"/>
                </a:lnTo>
                <a:lnTo>
                  <a:pt x="657" y="65"/>
                </a:lnTo>
                <a:lnTo>
                  <a:pt x="657" y="65"/>
                </a:lnTo>
                <a:lnTo>
                  <a:pt x="657" y="65"/>
                </a:lnTo>
                <a:lnTo>
                  <a:pt x="657" y="65"/>
                </a:lnTo>
                <a:lnTo>
                  <a:pt x="657" y="65"/>
                </a:lnTo>
                <a:lnTo>
                  <a:pt x="657" y="65"/>
                </a:lnTo>
                <a:lnTo>
                  <a:pt x="657" y="66"/>
                </a:lnTo>
                <a:lnTo>
                  <a:pt x="656" y="66"/>
                </a:lnTo>
                <a:lnTo>
                  <a:pt x="656" y="66"/>
                </a:lnTo>
                <a:lnTo>
                  <a:pt x="656" y="66"/>
                </a:lnTo>
                <a:lnTo>
                  <a:pt x="656" y="66"/>
                </a:lnTo>
                <a:lnTo>
                  <a:pt x="656" y="66"/>
                </a:lnTo>
                <a:lnTo>
                  <a:pt x="656" y="66"/>
                </a:lnTo>
                <a:lnTo>
                  <a:pt x="655" y="66"/>
                </a:lnTo>
                <a:lnTo>
                  <a:pt x="655" y="67"/>
                </a:lnTo>
                <a:lnTo>
                  <a:pt x="655" y="67"/>
                </a:lnTo>
                <a:lnTo>
                  <a:pt x="655" y="67"/>
                </a:lnTo>
                <a:lnTo>
                  <a:pt x="655" y="67"/>
                </a:lnTo>
                <a:lnTo>
                  <a:pt x="655" y="67"/>
                </a:lnTo>
                <a:lnTo>
                  <a:pt x="655" y="67"/>
                </a:lnTo>
                <a:lnTo>
                  <a:pt x="654" y="67"/>
                </a:lnTo>
                <a:lnTo>
                  <a:pt x="654" y="67"/>
                </a:lnTo>
                <a:lnTo>
                  <a:pt x="654" y="68"/>
                </a:lnTo>
                <a:lnTo>
                  <a:pt x="654" y="68"/>
                </a:lnTo>
                <a:lnTo>
                  <a:pt x="654" y="68"/>
                </a:lnTo>
                <a:lnTo>
                  <a:pt x="654" y="68"/>
                </a:lnTo>
                <a:lnTo>
                  <a:pt x="653" y="68"/>
                </a:lnTo>
                <a:lnTo>
                  <a:pt x="653" y="68"/>
                </a:lnTo>
                <a:lnTo>
                  <a:pt x="653" y="68"/>
                </a:lnTo>
                <a:lnTo>
                  <a:pt x="653" y="68"/>
                </a:lnTo>
                <a:lnTo>
                  <a:pt x="653" y="68"/>
                </a:lnTo>
                <a:lnTo>
                  <a:pt x="653" y="70"/>
                </a:lnTo>
                <a:lnTo>
                  <a:pt x="652" y="70"/>
                </a:lnTo>
                <a:lnTo>
                  <a:pt x="652" y="70"/>
                </a:lnTo>
                <a:lnTo>
                  <a:pt x="652" y="70"/>
                </a:lnTo>
                <a:lnTo>
                  <a:pt x="652" y="70"/>
                </a:lnTo>
                <a:lnTo>
                  <a:pt x="652" y="70"/>
                </a:lnTo>
                <a:lnTo>
                  <a:pt x="652" y="70"/>
                </a:lnTo>
                <a:lnTo>
                  <a:pt x="650" y="70"/>
                </a:lnTo>
                <a:lnTo>
                  <a:pt x="650" y="70"/>
                </a:lnTo>
                <a:lnTo>
                  <a:pt x="650" y="70"/>
                </a:lnTo>
                <a:lnTo>
                  <a:pt x="650" y="71"/>
                </a:lnTo>
                <a:lnTo>
                  <a:pt x="650" y="71"/>
                </a:lnTo>
                <a:lnTo>
                  <a:pt x="649" y="71"/>
                </a:lnTo>
                <a:lnTo>
                  <a:pt x="649" y="71"/>
                </a:lnTo>
                <a:lnTo>
                  <a:pt x="649" y="71"/>
                </a:lnTo>
                <a:lnTo>
                  <a:pt x="649" y="71"/>
                </a:lnTo>
                <a:lnTo>
                  <a:pt x="649" y="71"/>
                </a:lnTo>
                <a:lnTo>
                  <a:pt x="649" y="71"/>
                </a:lnTo>
                <a:lnTo>
                  <a:pt x="648" y="71"/>
                </a:lnTo>
                <a:lnTo>
                  <a:pt x="648" y="71"/>
                </a:lnTo>
                <a:lnTo>
                  <a:pt x="648" y="72"/>
                </a:lnTo>
                <a:lnTo>
                  <a:pt x="648" y="72"/>
                </a:lnTo>
                <a:lnTo>
                  <a:pt x="648" y="72"/>
                </a:lnTo>
                <a:lnTo>
                  <a:pt x="647" y="72"/>
                </a:lnTo>
                <a:lnTo>
                  <a:pt x="647" y="72"/>
                </a:lnTo>
                <a:lnTo>
                  <a:pt x="647" y="72"/>
                </a:lnTo>
                <a:lnTo>
                  <a:pt x="647" y="72"/>
                </a:lnTo>
                <a:lnTo>
                  <a:pt x="647" y="72"/>
                </a:lnTo>
                <a:lnTo>
                  <a:pt x="647" y="72"/>
                </a:lnTo>
                <a:lnTo>
                  <a:pt x="646" y="72"/>
                </a:lnTo>
                <a:lnTo>
                  <a:pt x="646" y="72"/>
                </a:lnTo>
                <a:lnTo>
                  <a:pt x="646" y="72"/>
                </a:lnTo>
                <a:lnTo>
                  <a:pt x="646" y="72"/>
                </a:lnTo>
                <a:lnTo>
                  <a:pt x="646" y="73"/>
                </a:lnTo>
                <a:lnTo>
                  <a:pt x="645" y="73"/>
                </a:lnTo>
                <a:lnTo>
                  <a:pt x="645" y="73"/>
                </a:lnTo>
                <a:lnTo>
                  <a:pt x="645" y="73"/>
                </a:lnTo>
                <a:lnTo>
                  <a:pt x="645" y="73"/>
                </a:lnTo>
                <a:lnTo>
                  <a:pt x="645" y="73"/>
                </a:lnTo>
                <a:lnTo>
                  <a:pt x="644" y="73"/>
                </a:lnTo>
                <a:lnTo>
                  <a:pt x="644" y="73"/>
                </a:lnTo>
                <a:lnTo>
                  <a:pt x="644" y="73"/>
                </a:lnTo>
                <a:lnTo>
                  <a:pt x="644" y="73"/>
                </a:lnTo>
                <a:lnTo>
                  <a:pt x="644" y="73"/>
                </a:lnTo>
                <a:lnTo>
                  <a:pt x="643" y="73"/>
                </a:lnTo>
                <a:lnTo>
                  <a:pt x="643" y="73"/>
                </a:lnTo>
                <a:lnTo>
                  <a:pt x="643" y="73"/>
                </a:lnTo>
                <a:lnTo>
                  <a:pt x="643" y="73"/>
                </a:lnTo>
                <a:lnTo>
                  <a:pt x="643" y="74"/>
                </a:lnTo>
                <a:lnTo>
                  <a:pt x="641" y="74"/>
                </a:lnTo>
                <a:lnTo>
                  <a:pt x="641" y="74"/>
                </a:lnTo>
                <a:lnTo>
                  <a:pt x="641" y="74"/>
                </a:lnTo>
                <a:lnTo>
                  <a:pt x="641" y="74"/>
                </a:lnTo>
                <a:lnTo>
                  <a:pt x="641" y="74"/>
                </a:lnTo>
                <a:lnTo>
                  <a:pt x="640" y="74"/>
                </a:lnTo>
                <a:lnTo>
                  <a:pt x="640" y="74"/>
                </a:lnTo>
                <a:lnTo>
                  <a:pt x="640" y="74"/>
                </a:lnTo>
                <a:lnTo>
                  <a:pt x="640" y="74"/>
                </a:lnTo>
                <a:lnTo>
                  <a:pt x="640" y="74"/>
                </a:lnTo>
                <a:lnTo>
                  <a:pt x="639" y="74"/>
                </a:lnTo>
                <a:lnTo>
                  <a:pt x="639" y="74"/>
                </a:lnTo>
                <a:lnTo>
                  <a:pt x="639" y="74"/>
                </a:lnTo>
                <a:lnTo>
                  <a:pt x="639" y="74"/>
                </a:lnTo>
                <a:lnTo>
                  <a:pt x="639" y="74"/>
                </a:lnTo>
                <a:lnTo>
                  <a:pt x="638" y="74"/>
                </a:lnTo>
                <a:lnTo>
                  <a:pt x="638" y="74"/>
                </a:lnTo>
                <a:lnTo>
                  <a:pt x="638" y="74"/>
                </a:lnTo>
                <a:lnTo>
                  <a:pt x="638" y="74"/>
                </a:lnTo>
                <a:lnTo>
                  <a:pt x="638" y="74"/>
                </a:lnTo>
                <a:lnTo>
                  <a:pt x="637" y="74"/>
                </a:lnTo>
                <a:lnTo>
                  <a:pt x="637" y="75"/>
                </a:lnTo>
                <a:lnTo>
                  <a:pt x="637" y="75"/>
                </a:lnTo>
                <a:lnTo>
                  <a:pt x="637" y="75"/>
                </a:lnTo>
                <a:lnTo>
                  <a:pt x="637" y="75"/>
                </a:lnTo>
                <a:lnTo>
                  <a:pt x="636" y="75"/>
                </a:lnTo>
                <a:lnTo>
                  <a:pt x="636" y="75"/>
                </a:lnTo>
                <a:lnTo>
                  <a:pt x="636" y="75"/>
                </a:lnTo>
                <a:lnTo>
                  <a:pt x="636" y="75"/>
                </a:lnTo>
                <a:lnTo>
                  <a:pt x="636" y="75"/>
                </a:lnTo>
                <a:lnTo>
                  <a:pt x="635" y="75"/>
                </a:lnTo>
                <a:lnTo>
                  <a:pt x="635" y="75"/>
                </a:lnTo>
                <a:lnTo>
                  <a:pt x="635" y="75"/>
                </a:lnTo>
                <a:lnTo>
                  <a:pt x="635" y="75"/>
                </a:lnTo>
                <a:lnTo>
                  <a:pt x="634" y="75"/>
                </a:lnTo>
                <a:lnTo>
                  <a:pt x="634" y="75"/>
                </a:lnTo>
                <a:lnTo>
                  <a:pt x="634" y="75"/>
                </a:lnTo>
                <a:lnTo>
                  <a:pt x="634" y="75"/>
                </a:lnTo>
                <a:lnTo>
                  <a:pt x="634" y="75"/>
                </a:lnTo>
                <a:lnTo>
                  <a:pt x="632" y="75"/>
                </a:lnTo>
                <a:lnTo>
                  <a:pt x="632" y="75"/>
                </a:lnTo>
                <a:lnTo>
                  <a:pt x="632" y="75"/>
                </a:lnTo>
                <a:lnTo>
                  <a:pt x="632" y="75"/>
                </a:lnTo>
                <a:lnTo>
                  <a:pt x="632" y="75"/>
                </a:lnTo>
                <a:lnTo>
                  <a:pt x="632" y="75"/>
                </a:lnTo>
                <a:close/>
                <a:moveTo>
                  <a:pt x="628" y="77"/>
                </a:moveTo>
                <a:lnTo>
                  <a:pt x="636" y="77"/>
                </a:lnTo>
                <a:lnTo>
                  <a:pt x="636" y="93"/>
                </a:lnTo>
                <a:lnTo>
                  <a:pt x="628" y="93"/>
                </a:lnTo>
                <a:lnTo>
                  <a:pt x="628" y="77"/>
                </a:lnTo>
                <a:lnTo>
                  <a:pt x="628" y="77"/>
                </a:lnTo>
                <a:close/>
                <a:moveTo>
                  <a:pt x="628" y="125"/>
                </a:moveTo>
                <a:lnTo>
                  <a:pt x="636" y="125"/>
                </a:lnTo>
                <a:lnTo>
                  <a:pt x="636" y="140"/>
                </a:lnTo>
                <a:lnTo>
                  <a:pt x="628" y="140"/>
                </a:lnTo>
                <a:lnTo>
                  <a:pt x="628" y="125"/>
                </a:lnTo>
                <a:lnTo>
                  <a:pt x="628" y="125"/>
                </a:lnTo>
                <a:close/>
                <a:moveTo>
                  <a:pt x="628" y="172"/>
                </a:moveTo>
                <a:lnTo>
                  <a:pt x="636" y="172"/>
                </a:lnTo>
                <a:lnTo>
                  <a:pt x="636" y="188"/>
                </a:lnTo>
                <a:lnTo>
                  <a:pt x="628" y="188"/>
                </a:lnTo>
                <a:lnTo>
                  <a:pt x="628" y="172"/>
                </a:lnTo>
                <a:lnTo>
                  <a:pt x="628" y="172"/>
                </a:lnTo>
                <a:close/>
                <a:moveTo>
                  <a:pt x="628" y="219"/>
                </a:moveTo>
                <a:lnTo>
                  <a:pt x="636" y="219"/>
                </a:lnTo>
                <a:lnTo>
                  <a:pt x="636" y="235"/>
                </a:lnTo>
                <a:lnTo>
                  <a:pt x="628" y="235"/>
                </a:lnTo>
                <a:lnTo>
                  <a:pt x="628" y="219"/>
                </a:lnTo>
                <a:lnTo>
                  <a:pt x="628" y="219"/>
                </a:lnTo>
                <a:close/>
                <a:moveTo>
                  <a:pt x="628" y="266"/>
                </a:moveTo>
                <a:lnTo>
                  <a:pt x="636" y="266"/>
                </a:lnTo>
                <a:lnTo>
                  <a:pt x="636" y="281"/>
                </a:lnTo>
                <a:lnTo>
                  <a:pt x="628" y="281"/>
                </a:lnTo>
                <a:lnTo>
                  <a:pt x="628" y="266"/>
                </a:lnTo>
                <a:lnTo>
                  <a:pt x="628" y="266"/>
                </a:lnTo>
                <a:close/>
                <a:moveTo>
                  <a:pt x="628" y="305"/>
                </a:moveTo>
                <a:lnTo>
                  <a:pt x="628" y="313"/>
                </a:lnTo>
                <a:lnTo>
                  <a:pt x="612" y="313"/>
                </a:lnTo>
                <a:lnTo>
                  <a:pt x="612" y="305"/>
                </a:lnTo>
                <a:lnTo>
                  <a:pt x="628" y="305"/>
                </a:lnTo>
                <a:lnTo>
                  <a:pt x="628" y="305"/>
                </a:lnTo>
                <a:close/>
                <a:moveTo>
                  <a:pt x="581" y="305"/>
                </a:moveTo>
                <a:lnTo>
                  <a:pt x="581" y="313"/>
                </a:lnTo>
                <a:lnTo>
                  <a:pt x="565" y="313"/>
                </a:lnTo>
                <a:lnTo>
                  <a:pt x="565" y="305"/>
                </a:lnTo>
                <a:lnTo>
                  <a:pt x="581" y="305"/>
                </a:lnTo>
                <a:lnTo>
                  <a:pt x="581" y="305"/>
                </a:lnTo>
                <a:close/>
                <a:moveTo>
                  <a:pt x="533" y="305"/>
                </a:moveTo>
                <a:lnTo>
                  <a:pt x="533" y="313"/>
                </a:lnTo>
                <a:lnTo>
                  <a:pt x="518" y="313"/>
                </a:lnTo>
                <a:lnTo>
                  <a:pt x="518" y="305"/>
                </a:lnTo>
                <a:lnTo>
                  <a:pt x="533" y="305"/>
                </a:lnTo>
                <a:lnTo>
                  <a:pt x="533" y="305"/>
                </a:lnTo>
                <a:close/>
                <a:moveTo>
                  <a:pt x="486" y="305"/>
                </a:moveTo>
                <a:lnTo>
                  <a:pt x="486" y="313"/>
                </a:lnTo>
                <a:lnTo>
                  <a:pt x="470" y="313"/>
                </a:lnTo>
                <a:lnTo>
                  <a:pt x="470" y="305"/>
                </a:lnTo>
                <a:lnTo>
                  <a:pt x="486" y="305"/>
                </a:lnTo>
                <a:lnTo>
                  <a:pt x="486" y="305"/>
                </a:lnTo>
                <a:close/>
                <a:moveTo>
                  <a:pt x="440" y="305"/>
                </a:moveTo>
                <a:lnTo>
                  <a:pt x="440" y="313"/>
                </a:lnTo>
                <a:lnTo>
                  <a:pt x="424" y="313"/>
                </a:lnTo>
                <a:lnTo>
                  <a:pt x="424" y="305"/>
                </a:lnTo>
                <a:lnTo>
                  <a:pt x="440" y="305"/>
                </a:lnTo>
                <a:lnTo>
                  <a:pt x="440" y="305"/>
                </a:lnTo>
                <a:close/>
                <a:moveTo>
                  <a:pt x="393" y="305"/>
                </a:moveTo>
                <a:lnTo>
                  <a:pt x="393" y="313"/>
                </a:lnTo>
                <a:lnTo>
                  <a:pt x="377" y="313"/>
                </a:lnTo>
                <a:lnTo>
                  <a:pt x="377" y="305"/>
                </a:lnTo>
                <a:lnTo>
                  <a:pt x="393" y="305"/>
                </a:lnTo>
                <a:lnTo>
                  <a:pt x="393" y="305"/>
                </a:lnTo>
                <a:close/>
                <a:moveTo>
                  <a:pt x="345" y="305"/>
                </a:moveTo>
                <a:lnTo>
                  <a:pt x="345" y="313"/>
                </a:lnTo>
                <a:lnTo>
                  <a:pt x="330" y="313"/>
                </a:lnTo>
                <a:lnTo>
                  <a:pt x="330" y="305"/>
                </a:lnTo>
                <a:lnTo>
                  <a:pt x="345" y="305"/>
                </a:lnTo>
                <a:lnTo>
                  <a:pt x="345" y="305"/>
                </a:lnTo>
                <a:close/>
                <a:moveTo>
                  <a:pt x="298" y="305"/>
                </a:moveTo>
                <a:lnTo>
                  <a:pt x="298" y="313"/>
                </a:lnTo>
                <a:lnTo>
                  <a:pt x="282" y="313"/>
                </a:lnTo>
                <a:lnTo>
                  <a:pt x="282" y="305"/>
                </a:lnTo>
                <a:lnTo>
                  <a:pt x="298" y="305"/>
                </a:lnTo>
                <a:lnTo>
                  <a:pt x="298" y="305"/>
                </a:lnTo>
                <a:close/>
                <a:moveTo>
                  <a:pt x="251" y="305"/>
                </a:moveTo>
                <a:lnTo>
                  <a:pt x="251" y="313"/>
                </a:lnTo>
                <a:lnTo>
                  <a:pt x="235" y="313"/>
                </a:lnTo>
                <a:lnTo>
                  <a:pt x="235" y="305"/>
                </a:lnTo>
                <a:lnTo>
                  <a:pt x="251" y="305"/>
                </a:lnTo>
                <a:lnTo>
                  <a:pt x="251" y="305"/>
                </a:lnTo>
                <a:close/>
                <a:moveTo>
                  <a:pt x="203" y="305"/>
                </a:moveTo>
                <a:lnTo>
                  <a:pt x="203" y="313"/>
                </a:lnTo>
                <a:lnTo>
                  <a:pt x="188" y="313"/>
                </a:lnTo>
                <a:lnTo>
                  <a:pt x="188" y="305"/>
                </a:lnTo>
                <a:lnTo>
                  <a:pt x="203" y="305"/>
                </a:lnTo>
                <a:lnTo>
                  <a:pt x="203" y="305"/>
                </a:lnTo>
                <a:close/>
                <a:moveTo>
                  <a:pt x="156" y="305"/>
                </a:moveTo>
                <a:lnTo>
                  <a:pt x="156" y="313"/>
                </a:lnTo>
                <a:lnTo>
                  <a:pt x="140" y="313"/>
                </a:lnTo>
                <a:lnTo>
                  <a:pt x="140" y="305"/>
                </a:lnTo>
                <a:lnTo>
                  <a:pt x="156" y="305"/>
                </a:lnTo>
                <a:lnTo>
                  <a:pt x="156" y="305"/>
                </a:lnTo>
                <a:close/>
                <a:moveTo>
                  <a:pt x="110" y="305"/>
                </a:moveTo>
                <a:lnTo>
                  <a:pt x="110" y="313"/>
                </a:lnTo>
                <a:lnTo>
                  <a:pt x="94" y="313"/>
                </a:lnTo>
                <a:lnTo>
                  <a:pt x="94" y="305"/>
                </a:lnTo>
                <a:lnTo>
                  <a:pt x="110" y="305"/>
                </a:lnTo>
                <a:lnTo>
                  <a:pt x="110" y="305"/>
                </a:lnTo>
                <a:close/>
                <a:moveTo>
                  <a:pt x="63" y="305"/>
                </a:moveTo>
                <a:lnTo>
                  <a:pt x="63" y="313"/>
                </a:lnTo>
                <a:lnTo>
                  <a:pt x="47" y="313"/>
                </a:lnTo>
                <a:lnTo>
                  <a:pt x="47" y="305"/>
                </a:lnTo>
                <a:lnTo>
                  <a:pt x="63" y="305"/>
                </a:lnTo>
                <a:close/>
              </a:path>
            </a:pathLst>
          </a:custGeom>
          <a:solidFill>
            <a:srgbClr val="8497B0"/>
          </a:solidFill>
          <a:ln>
            <a:solidFill>
              <a:srgbClr val="FFC000"/>
            </a:solidFill>
          </a:ln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1013"/>
          </a:p>
        </p:txBody>
      </p:sp>
      <p:sp>
        <p:nvSpPr>
          <p:cNvPr id="181" name="Freeform 83">
            <a:extLst>
              <a:ext uri="{FF2B5EF4-FFF2-40B4-BE49-F238E27FC236}">
                <a16:creationId xmlns:a16="http://schemas.microsoft.com/office/drawing/2014/main" id="{82917684-B89D-4871-BB92-41F2F35C6D35}"/>
              </a:ext>
            </a:extLst>
          </p:cNvPr>
          <p:cNvSpPr>
            <a:spLocks noEditPoints="1"/>
          </p:cNvSpPr>
          <p:nvPr/>
        </p:nvSpPr>
        <p:spPr bwMode="auto">
          <a:xfrm rot="5400000">
            <a:off x="3253309" y="6056713"/>
            <a:ext cx="421098" cy="74996"/>
          </a:xfrm>
          <a:custGeom>
            <a:avLst/>
            <a:gdLst>
              <a:gd name="T0" fmla="*/ 43 w 518"/>
              <a:gd name="T1" fmla="*/ 66 h 74"/>
              <a:gd name="T2" fmla="*/ 49 w 518"/>
              <a:gd name="T3" fmla="*/ 65 h 74"/>
              <a:gd name="T4" fmla="*/ 54 w 518"/>
              <a:gd name="T5" fmla="*/ 62 h 74"/>
              <a:gd name="T6" fmla="*/ 59 w 518"/>
              <a:gd name="T7" fmla="*/ 58 h 74"/>
              <a:gd name="T8" fmla="*/ 63 w 518"/>
              <a:gd name="T9" fmla="*/ 54 h 74"/>
              <a:gd name="T10" fmla="*/ 66 w 518"/>
              <a:gd name="T11" fmla="*/ 48 h 74"/>
              <a:gd name="T12" fmla="*/ 68 w 518"/>
              <a:gd name="T13" fmla="*/ 43 h 74"/>
              <a:gd name="T14" fmla="*/ 68 w 518"/>
              <a:gd name="T15" fmla="*/ 37 h 74"/>
              <a:gd name="T16" fmla="*/ 68 w 518"/>
              <a:gd name="T17" fmla="*/ 30 h 74"/>
              <a:gd name="T18" fmla="*/ 66 w 518"/>
              <a:gd name="T19" fmla="*/ 25 h 74"/>
              <a:gd name="T20" fmla="*/ 62 w 518"/>
              <a:gd name="T21" fmla="*/ 20 h 74"/>
              <a:gd name="T22" fmla="*/ 59 w 518"/>
              <a:gd name="T23" fmla="*/ 16 h 74"/>
              <a:gd name="T24" fmla="*/ 54 w 518"/>
              <a:gd name="T25" fmla="*/ 12 h 74"/>
              <a:gd name="T26" fmla="*/ 49 w 518"/>
              <a:gd name="T27" fmla="*/ 9 h 74"/>
              <a:gd name="T28" fmla="*/ 43 w 518"/>
              <a:gd name="T29" fmla="*/ 8 h 74"/>
              <a:gd name="T30" fmla="*/ 36 w 518"/>
              <a:gd name="T31" fmla="*/ 8 h 74"/>
              <a:gd name="T32" fmla="*/ 31 w 518"/>
              <a:gd name="T33" fmla="*/ 9 h 74"/>
              <a:gd name="T34" fmla="*/ 25 w 518"/>
              <a:gd name="T35" fmla="*/ 11 h 74"/>
              <a:gd name="T36" fmla="*/ 21 w 518"/>
              <a:gd name="T37" fmla="*/ 13 h 74"/>
              <a:gd name="T38" fmla="*/ 16 w 518"/>
              <a:gd name="T39" fmla="*/ 18 h 74"/>
              <a:gd name="T40" fmla="*/ 13 w 518"/>
              <a:gd name="T41" fmla="*/ 22 h 74"/>
              <a:gd name="T42" fmla="*/ 10 w 518"/>
              <a:gd name="T43" fmla="*/ 28 h 74"/>
              <a:gd name="T44" fmla="*/ 9 w 518"/>
              <a:gd name="T45" fmla="*/ 34 h 74"/>
              <a:gd name="T46" fmla="*/ 9 w 518"/>
              <a:gd name="T47" fmla="*/ 40 h 74"/>
              <a:gd name="T48" fmla="*/ 10 w 518"/>
              <a:gd name="T49" fmla="*/ 46 h 74"/>
              <a:gd name="T50" fmla="*/ 13 w 518"/>
              <a:gd name="T51" fmla="*/ 52 h 74"/>
              <a:gd name="T52" fmla="*/ 16 w 518"/>
              <a:gd name="T53" fmla="*/ 56 h 74"/>
              <a:gd name="T54" fmla="*/ 21 w 518"/>
              <a:gd name="T55" fmla="*/ 61 h 74"/>
              <a:gd name="T56" fmla="*/ 25 w 518"/>
              <a:gd name="T57" fmla="*/ 64 h 74"/>
              <a:gd name="T58" fmla="*/ 31 w 518"/>
              <a:gd name="T59" fmla="*/ 66 h 74"/>
              <a:gd name="T60" fmla="*/ 37 w 518"/>
              <a:gd name="T61" fmla="*/ 66 h 74"/>
              <a:gd name="T62" fmla="*/ 76 w 518"/>
              <a:gd name="T63" fmla="*/ 43 h 74"/>
              <a:gd name="T64" fmla="*/ 73 w 518"/>
              <a:gd name="T65" fmla="*/ 50 h 74"/>
              <a:gd name="T66" fmla="*/ 70 w 518"/>
              <a:gd name="T67" fmla="*/ 57 h 74"/>
              <a:gd name="T68" fmla="*/ 66 w 518"/>
              <a:gd name="T69" fmla="*/ 63 h 74"/>
              <a:gd name="T70" fmla="*/ 60 w 518"/>
              <a:gd name="T71" fmla="*/ 67 h 74"/>
              <a:gd name="T72" fmla="*/ 54 w 518"/>
              <a:gd name="T73" fmla="*/ 72 h 74"/>
              <a:gd name="T74" fmla="*/ 46 w 518"/>
              <a:gd name="T75" fmla="*/ 74 h 74"/>
              <a:gd name="T76" fmla="*/ 39 w 518"/>
              <a:gd name="T77" fmla="*/ 74 h 74"/>
              <a:gd name="T78" fmla="*/ 31 w 518"/>
              <a:gd name="T79" fmla="*/ 74 h 74"/>
              <a:gd name="T80" fmla="*/ 24 w 518"/>
              <a:gd name="T81" fmla="*/ 72 h 74"/>
              <a:gd name="T82" fmla="*/ 17 w 518"/>
              <a:gd name="T83" fmla="*/ 68 h 74"/>
              <a:gd name="T84" fmla="*/ 12 w 518"/>
              <a:gd name="T85" fmla="*/ 63 h 74"/>
              <a:gd name="T86" fmla="*/ 7 w 518"/>
              <a:gd name="T87" fmla="*/ 57 h 74"/>
              <a:gd name="T88" fmla="*/ 4 w 518"/>
              <a:gd name="T89" fmla="*/ 50 h 74"/>
              <a:gd name="T90" fmla="*/ 1 w 518"/>
              <a:gd name="T91" fmla="*/ 44 h 74"/>
              <a:gd name="T92" fmla="*/ 0 w 518"/>
              <a:gd name="T93" fmla="*/ 36 h 74"/>
              <a:gd name="T94" fmla="*/ 1 w 518"/>
              <a:gd name="T95" fmla="*/ 28 h 74"/>
              <a:gd name="T96" fmla="*/ 5 w 518"/>
              <a:gd name="T97" fmla="*/ 21 h 74"/>
              <a:gd name="T98" fmla="*/ 8 w 518"/>
              <a:gd name="T99" fmla="*/ 14 h 74"/>
              <a:gd name="T100" fmla="*/ 14 w 518"/>
              <a:gd name="T101" fmla="*/ 9 h 74"/>
              <a:gd name="T102" fmla="*/ 19 w 518"/>
              <a:gd name="T103" fmla="*/ 4 h 74"/>
              <a:gd name="T104" fmla="*/ 26 w 518"/>
              <a:gd name="T105" fmla="*/ 1 h 74"/>
              <a:gd name="T106" fmla="*/ 34 w 518"/>
              <a:gd name="T107" fmla="*/ 0 h 74"/>
              <a:gd name="T108" fmla="*/ 42 w 518"/>
              <a:gd name="T109" fmla="*/ 0 h 74"/>
              <a:gd name="T110" fmla="*/ 50 w 518"/>
              <a:gd name="T111" fmla="*/ 1 h 74"/>
              <a:gd name="T112" fmla="*/ 57 w 518"/>
              <a:gd name="T113" fmla="*/ 4 h 74"/>
              <a:gd name="T114" fmla="*/ 62 w 518"/>
              <a:gd name="T115" fmla="*/ 8 h 74"/>
              <a:gd name="T116" fmla="*/ 68 w 518"/>
              <a:gd name="T117" fmla="*/ 13 h 74"/>
              <a:gd name="T118" fmla="*/ 72 w 518"/>
              <a:gd name="T119" fmla="*/ 20 h 74"/>
              <a:gd name="T120" fmla="*/ 75 w 518"/>
              <a:gd name="T121" fmla="*/ 27 h 74"/>
              <a:gd name="T122" fmla="*/ 76 w 518"/>
              <a:gd name="T123" fmla="*/ 35 h 74"/>
              <a:gd name="T124" fmla="*/ 236 w 518"/>
              <a:gd name="T125" fmla="*/ 34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8" h="74">
                <a:moveTo>
                  <a:pt x="502" y="41"/>
                </a:moveTo>
                <a:lnTo>
                  <a:pt x="502" y="34"/>
                </a:lnTo>
                <a:lnTo>
                  <a:pt x="518" y="34"/>
                </a:lnTo>
                <a:lnTo>
                  <a:pt x="518" y="41"/>
                </a:lnTo>
                <a:lnTo>
                  <a:pt x="502" y="41"/>
                </a:lnTo>
                <a:lnTo>
                  <a:pt x="502" y="41"/>
                </a:lnTo>
                <a:close/>
                <a:moveTo>
                  <a:pt x="39" y="66"/>
                </a:moveTo>
                <a:lnTo>
                  <a:pt x="39" y="66"/>
                </a:lnTo>
                <a:lnTo>
                  <a:pt x="39" y="66"/>
                </a:lnTo>
                <a:lnTo>
                  <a:pt x="39" y="66"/>
                </a:lnTo>
                <a:lnTo>
                  <a:pt x="40" y="66"/>
                </a:lnTo>
                <a:lnTo>
                  <a:pt x="40" y="66"/>
                </a:lnTo>
                <a:lnTo>
                  <a:pt x="40" y="66"/>
                </a:lnTo>
                <a:lnTo>
                  <a:pt x="40" y="66"/>
                </a:lnTo>
                <a:lnTo>
                  <a:pt x="40" y="66"/>
                </a:lnTo>
                <a:lnTo>
                  <a:pt x="40" y="66"/>
                </a:lnTo>
                <a:lnTo>
                  <a:pt x="41" y="66"/>
                </a:lnTo>
                <a:lnTo>
                  <a:pt x="41" y="66"/>
                </a:lnTo>
                <a:lnTo>
                  <a:pt x="41" y="66"/>
                </a:lnTo>
                <a:lnTo>
                  <a:pt x="41" y="66"/>
                </a:lnTo>
                <a:lnTo>
                  <a:pt x="41" y="66"/>
                </a:lnTo>
                <a:lnTo>
                  <a:pt x="41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3" y="66"/>
                </a:lnTo>
                <a:lnTo>
                  <a:pt x="43" y="66"/>
                </a:lnTo>
                <a:lnTo>
                  <a:pt x="43" y="66"/>
                </a:lnTo>
                <a:lnTo>
                  <a:pt x="43" y="66"/>
                </a:lnTo>
                <a:lnTo>
                  <a:pt x="43" y="66"/>
                </a:lnTo>
                <a:lnTo>
                  <a:pt x="43" y="66"/>
                </a:lnTo>
                <a:lnTo>
                  <a:pt x="44" y="66"/>
                </a:lnTo>
                <a:lnTo>
                  <a:pt x="44" y="66"/>
                </a:lnTo>
                <a:lnTo>
                  <a:pt x="44" y="66"/>
                </a:lnTo>
                <a:lnTo>
                  <a:pt x="44" y="66"/>
                </a:lnTo>
                <a:lnTo>
                  <a:pt x="44" y="66"/>
                </a:lnTo>
                <a:lnTo>
                  <a:pt x="44" y="66"/>
                </a:lnTo>
                <a:lnTo>
                  <a:pt x="45" y="66"/>
                </a:lnTo>
                <a:lnTo>
                  <a:pt x="45" y="66"/>
                </a:lnTo>
                <a:lnTo>
                  <a:pt x="45" y="66"/>
                </a:lnTo>
                <a:lnTo>
                  <a:pt x="45" y="66"/>
                </a:lnTo>
                <a:lnTo>
                  <a:pt x="45" y="66"/>
                </a:lnTo>
                <a:lnTo>
                  <a:pt x="45" y="66"/>
                </a:lnTo>
                <a:lnTo>
                  <a:pt x="45" y="66"/>
                </a:lnTo>
                <a:lnTo>
                  <a:pt x="46" y="66"/>
                </a:lnTo>
                <a:lnTo>
                  <a:pt x="46" y="66"/>
                </a:lnTo>
                <a:lnTo>
                  <a:pt x="46" y="65"/>
                </a:lnTo>
                <a:lnTo>
                  <a:pt x="46" y="65"/>
                </a:lnTo>
                <a:lnTo>
                  <a:pt x="46" y="65"/>
                </a:lnTo>
                <a:lnTo>
                  <a:pt x="46" y="65"/>
                </a:lnTo>
                <a:lnTo>
                  <a:pt x="48" y="65"/>
                </a:lnTo>
                <a:lnTo>
                  <a:pt x="48" y="65"/>
                </a:lnTo>
                <a:lnTo>
                  <a:pt x="48" y="65"/>
                </a:lnTo>
                <a:lnTo>
                  <a:pt x="48" y="65"/>
                </a:lnTo>
                <a:lnTo>
                  <a:pt x="48" y="65"/>
                </a:lnTo>
                <a:lnTo>
                  <a:pt x="48" y="65"/>
                </a:lnTo>
                <a:lnTo>
                  <a:pt x="48" y="65"/>
                </a:lnTo>
                <a:lnTo>
                  <a:pt x="49" y="65"/>
                </a:lnTo>
                <a:lnTo>
                  <a:pt x="49" y="65"/>
                </a:lnTo>
                <a:lnTo>
                  <a:pt x="49" y="65"/>
                </a:lnTo>
                <a:lnTo>
                  <a:pt x="49" y="65"/>
                </a:lnTo>
                <a:lnTo>
                  <a:pt x="49" y="65"/>
                </a:lnTo>
                <a:lnTo>
                  <a:pt x="49" y="65"/>
                </a:lnTo>
                <a:lnTo>
                  <a:pt x="50" y="65"/>
                </a:lnTo>
                <a:lnTo>
                  <a:pt x="50" y="65"/>
                </a:lnTo>
                <a:lnTo>
                  <a:pt x="50" y="64"/>
                </a:lnTo>
                <a:lnTo>
                  <a:pt x="50" y="64"/>
                </a:lnTo>
                <a:lnTo>
                  <a:pt x="50" y="64"/>
                </a:lnTo>
                <a:lnTo>
                  <a:pt x="50" y="64"/>
                </a:lnTo>
                <a:lnTo>
                  <a:pt x="50" y="64"/>
                </a:lnTo>
                <a:lnTo>
                  <a:pt x="51" y="64"/>
                </a:lnTo>
                <a:lnTo>
                  <a:pt x="51" y="64"/>
                </a:lnTo>
                <a:lnTo>
                  <a:pt x="51" y="64"/>
                </a:lnTo>
                <a:lnTo>
                  <a:pt x="51" y="64"/>
                </a:lnTo>
                <a:lnTo>
                  <a:pt x="51" y="64"/>
                </a:lnTo>
                <a:lnTo>
                  <a:pt x="51" y="64"/>
                </a:lnTo>
                <a:lnTo>
                  <a:pt x="51" y="64"/>
                </a:lnTo>
                <a:lnTo>
                  <a:pt x="52" y="64"/>
                </a:lnTo>
                <a:lnTo>
                  <a:pt x="52" y="64"/>
                </a:lnTo>
                <a:lnTo>
                  <a:pt x="52" y="64"/>
                </a:lnTo>
                <a:lnTo>
                  <a:pt x="52" y="63"/>
                </a:lnTo>
                <a:lnTo>
                  <a:pt x="52" y="63"/>
                </a:lnTo>
                <a:lnTo>
                  <a:pt x="52" y="63"/>
                </a:lnTo>
                <a:lnTo>
                  <a:pt x="52" y="63"/>
                </a:lnTo>
                <a:lnTo>
                  <a:pt x="53" y="63"/>
                </a:lnTo>
                <a:lnTo>
                  <a:pt x="53" y="63"/>
                </a:lnTo>
                <a:lnTo>
                  <a:pt x="53" y="63"/>
                </a:lnTo>
                <a:lnTo>
                  <a:pt x="53" y="63"/>
                </a:lnTo>
                <a:lnTo>
                  <a:pt x="53" y="63"/>
                </a:lnTo>
                <a:lnTo>
                  <a:pt x="53" y="63"/>
                </a:lnTo>
                <a:lnTo>
                  <a:pt x="53" y="63"/>
                </a:lnTo>
                <a:lnTo>
                  <a:pt x="54" y="63"/>
                </a:lnTo>
                <a:lnTo>
                  <a:pt x="54" y="63"/>
                </a:lnTo>
                <a:lnTo>
                  <a:pt x="54" y="62"/>
                </a:lnTo>
                <a:lnTo>
                  <a:pt x="54" y="62"/>
                </a:lnTo>
                <a:lnTo>
                  <a:pt x="54" y="62"/>
                </a:lnTo>
                <a:lnTo>
                  <a:pt x="54" y="62"/>
                </a:lnTo>
                <a:lnTo>
                  <a:pt x="54" y="62"/>
                </a:lnTo>
                <a:lnTo>
                  <a:pt x="54" y="62"/>
                </a:lnTo>
                <a:lnTo>
                  <a:pt x="55" y="62"/>
                </a:lnTo>
                <a:lnTo>
                  <a:pt x="55" y="62"/>
                </a:lnTo>
                <a:lnTo>
                  <a:pt x="55" y="62"/>
                </a:lnTo>
                <a:lnTo>
                  <a:pt x="55" y="62"/>
                </a:lnTo>
                <a:lnTo>
                  <a:pt x="55" y="62"/>
                </a:lnTo>
                <a:lnTo>
                  <a:pt x="55" y="61"/>
                </a:lnTo>
                <a:lnTo>
                  <a:pt x="55" y="61"/>
                </a:lnTo>
                <a:lnTo>
                  <a:pt x="55" y="61"/>
                </a:lnTo>
                <a:lnTo>
                  <a:pt x="57" y="61"/>
                </a:lnTo>
                <a:lnTo>
                  <a:pt x="57" y="61"/>
                </a:lnTo>
                <a:lnTo>
                  <a:pt x="57" y="61"/>
                </a:lnTo>
                <a:lnTo>
                  <a:pt x="57" y="61"/>
                </a:lnTo>
                <a:lnTo>
                  <a:pt x="57" y="61"/>
                </a:lnTo>
                <a:lnTo>
                  <a:pt x="57" y="61"/>
                </a:lnTo>
                <a:lnTo>
                  <a:pt x="57" y="61"/>
                </a:lnTo>
                <a:lnTo>
                  <a:pt x="57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9" y="59"/>
                </a:lnTo>
                <a:lnTo>
                  <a:pt x="59" y="58"/>
                </a:lnTo>
                <a:lnTo>
                  <a:pt x="59" y="58"/>
                </a:lnTo>
                <a:lnTo>
                  <a:pt x="59" y="58"/>
                </a:lnTo>
                <a:lnTo>
                  <a:pt x="59" y="58"/>
                </a:lnTo>
                <a:lnTo>
                  <a:pt x="59" y="58"/>
                </a:lnTo>
                <a:lnTo>
                  <a:pt x="59" y="58"/>
                </a:lnTo>
                <a:lnTo>
                  <a:pt x="59" y="58"/>
                </a:lnTo>
                <a:lnTo>
                  <a:pt x="60" y="58"/>
                </a:lnTo>
                <a:lnTo>
                  <a:pt x="60" y="58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1" y="57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4"/>
                </a:lnTo>
                <a:lnTo>
                  <a:pt x="62" y="54"/>
                </a:lnTo>
                <a:lnTo>
                  <a:pt x="62" y="54"/>
                </a:lnTo>
                <a:lnTo>
                  <a:pt x="63" y="54"/>
                </a:lnTo>
                <a:lnTo>
                  <a:pt x="63" y="54"/>
                </a:lnTo>
                <a:lnTo>
                  <a:pt x="63" y="54"/>
                </a:lnTo>
                <a:lnTo>
                  <a:pt x="63" y="54"/>
                </a:lnTo>
                <a:lnTo>
                  <a:pt x="63" y="54"/>
                </a:lnTo>
                <a:lnTo>
                  <a:pt x="63" y="53"/>
                </a:lnTo>
                <a:lnTo>
                  <a:pt x="63" y="53"/>
                </a:lnTo>
                <a:lnTo>
                  <a:pt x="63" y="53"/>
                </a:lnTo>
                <a:lnTo>
                  <a:pt x="63" y="53"/>
                </a:lnTo>
                <a:lnTo>
                  <a:pt x="63" y="53"/>
                </a:lnTo>
                <a:lnTo>
                  <a:pt x="63" y="53"/>
                </a:lnTo>
                <a:lnTo>
                  <a:pt x="63" y="53"/>
                </a:lnTo>
                <a:lnTo>
                  <a:pt x="64" y="52"/>
                </a:lnTo>
                <a:lnTo>
                  <a:pt x="64" y="52"/>
                </a:lnTo>
                <a:lnTo>
                  <a:pt x="64" y="52"/>
                </a:lnTo>
                <a:lnTo>
                  <a:pt x="64" y="52"/>
                </a:lnTo>
                <a:lnTo>
                  <a:pt x="64" y="52"/>
                </a:lnTo>
                <a:lnTo>
                  <a:pt x="64" y="52"/>
                </a:lnTo>
                <a:lnTo>
                  <a:pt x="64" y="52"/>
                </a:lnTo>
                <a:lnTo>
                  <a:pt x="64" y="50"/>
                </a:lnTo>
                <a:lnTo>
                  <a:pt x="64" y="50"/>
                </a:lnTo>
                <a:lnTo>
                  <a:pt x="64" y="50"/>
                </a:lnTo>
                <a:lnTo>
                  <a:pt x="64" y="50"/>
                </a:lnTo>
                <a:lnTo>
                  <a:pt x="64" y="50"/>
                </a:lnTo>
                <a:lnTo>
                  <a:pt x="64" y="50"/>
                </a:lnTo>
                <a:lnTo>
                  <a:pt x="66" y="50"/>
                </a:lnTo>
                <a:lnTo>
                  <a:pt x="66" y="49"/>
                </a:lnTo>
                <a:lnTo>
                  <a:pt x="66" y="49"/>
                </a:lnTo>
                <a:lnTo>
                  <a:pt x="66" y="49"/>
                </a:lnTo>
                <a:lnTo>
                  <a:pt x="66" y="49"/>
                </a:lnTo>
                <a:lnTo>
                  <a:pt x="66" y="49"/>
                </a:lnTo>
                <a:lnTo>
                  <a:pt x="66" y="49"/>
                </a:lnTo>
                <a:lnTo>
                  <a:pt x="66" y="49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7" y="47"/>
                </a:lnTo>
                <a:lnTo>
                  <a:pt x="67" y="47"/>
                </a:lnTo>
                <a:lnTo>
                  <a:pt x="67" y="47"/>
                </a:lnTo>
                <a:lnTo>
                  <a:pt x="67" y="47"/>
                </a:lnTo>
                <a:lnTo>
                  <a:pt x="67" y="47"/>
                </a:lnTo>
                <a:lnTo>
                  <a:pt x="67" y="47"/>
                </a:lnTo>
                <a:lnTo>
                  <a:pt x="67" y="47"/>
                </a:lnTo>
                <a:lnTo>
                  <a:pt x="67" y="46"/>
                </a:lnTo>
                <a:lnTo>
                  <a:pt x="67" y="46"/>
                </a:lnTo>
                <a:lnTo>
                  <a:pt x="67" y="46"/>
                </a:lnTo>
                <a:lnTo>
                  <a:pt x="67" y="46"/>
                </a:lnTo>
                <a:lnTo>
                  <a:pt x="67" y="46"/>
                </a:lnTo>
                <a:lnTo>
                  <a:pt x="67" y="46"/>
                </a:lnTo>
                <a:lnTo>
                  <a:pt x="67" y="45"/>
                </a:lnTo>
                <a:lnTo>
                  <a:pt x="67" y="45"/>
                </a:lnTo>
                <a:lnTo>
                  <a:pt x="67" y="45"/>
                </a:lnTo>
                <a:lnTo>
                  <a:pt x="67" y="45"/>
                </a:lnTo>
                <a:lnTo>
                  <a:pt x="67" y="45"/>
                </a:lnTo>
                <a:lnTo>
                  <a:pt x="67" y="45"/>
                </a:lnTo>
                <a:lnTo>
                  <a:pt x="67" y="44"/>
                </a:lnTo>
                <a:lnTo>
                  <a:pt x="67" y="44"/>
                </a:lnTo>
                <a:lnTo>
                  <a:pt x="68" y="44"/>
                </a:lnTo>
                <a:lnTo>
                  <a:pt x="68" y="44"/>
                </a:lnTo>
                <a:lnTo>
                  <a:pt x="68" y="44"/>
                </a:lnTo>
                <a:lnTo>
                  <a:pt x="68" y="44"/>
                </a:lnTo>
                <a:lnTo>
                  <a:pt x="68" y="44"/>
                </a:lnTo>
                <a:lnTo>
                  <a:pt x="68" y="43"/>
                </a:lnTo>
                <a:lnTo>
                  <a:pt x="68" y="43"/>
                </a:lnTo>
                <a:lnTo>
                  <a:pt x="68" y="43"/>
                </a:lnTo>
                <a:lnTo>
                  <a:pt x="68" y="43"/>
                </a:lnTo>
                <a:lnTo>
                  <a:pt x="68" y="43"/>
                </a:lnTo>
                <a:lnTo>
                  <a:pt x="68" y="43"/>
                </a:lnTo>
                <a:lnTo>
                  <a:pt x="68" y="41"/>
                </a:lnTo>
                <a:lnTo>
                  <a:pt x="68" y="41"/>
                </a:lnTo>
                <a:lnTo>
                  <a:pt x="68" y="41"/>
                </a:lnTo>
                <a:lnTo>
                  <a:pt x="68" y="41"/>
                </a:lnTo>
                <a:lnTo>
                  <a:pt x="68" y="41"/>
                </a:lnTo>
                <a:lnTo>
                  <a:pt x="68" y="41"/>
                </a:lnTo>
                <a:lnTo>
                  <a:pt x="68" y="40"/>
                </a:lnTo>
                <a:lnTo>
                  <a:pt x="68" y="40"/>
                </a:lnTo>
                <a:lnTo>
                  <a:pt x="68" y="40"/>
                </a:lnTo>
                <a:lnTo>
                  <a:pt x="68" y="40"/>
                </a:lnTo>
                <a:lnTo>
                  <a:pt x="68" y="40"/>
                </a:lnTo>
                <a:lnTo>
                  <a:pt x="68" y="40"/>
                </a:lnTo>
                <a:lnTo>
                  <a:pt x="68" y="39"/>
                </a:lnTo>
                <a:lnTo>
                  <a:pt x="68" y="39"/>
                </a:lnTo>
                <a:lnTo>
                  <a:pt x="68" y="39"/>
                </a:lnTo>
                <a:lnTo>
                  <a:pt x="68" y="39"/>
                </a:lnTo>
                <a:lnTo>
                  <a:pt x="68" y="39"/>
                </a:lnTo>
                <a:lnTo>
                  <a:pt x="68" y="39"/>
                </a:lnTo>
                <a:lnTo>
                  <a:pt x="68" y="38"/>
                </a:lnTo>
                <a:lnTo>
                  <a:pt x="68" y="38"/>
                </a:lnTo>
                <a:lnTo>
                  <a:pt x="68" y="38"/>
                </a:lnTo>
                <a:lnTo>
                  <a:pt x="68" y="38"/>
                </a:lnTo>
                <a:lnTo>
                  <a:pt x="68" y="38"/>
                </a:lnTo>
                <a:lnTo>
                  <a:pt x="68" y="38"/>
                </a:lnTo>
                <a:lnTo>
                  <a:pt x="68" y="37"/>
                </a:lnTo>
                <a:lnTo>
                  <a:pt x="68" y="37"/>
                </a:lnTo>
                <a:lnTo>
                  <a:pt x="68" y="37"/>
                </a:lnTo>
                <a:lnTo>
                  <a:pt x="68" y="37"/>
                </a:lnTo>
                <a:lnTo>
                  <a:pt x="68" y="37"/>
                </a:lnTo>
                <a:lnTo>
                  <a:pt x="68" y="37"/>
                </a:lnTo>
                <a:lnTo>
                  <a:pt x="68" y="36"/>
                </a:lnTo>
                <a:lnTo>
                  <a:pt x="68" y="36"/>
                </a:lnTo>
                <a:lnTo>
                  <a:pt x="68" y="36"/>
                </a:lnTo>
                <a:lnTo>
                  <a:pt x="68" y="36"/>
                </a:lnTo>
                <a:lnTo>
                  <a:pt x="68" y="36"/>
                </a:lnTo>
                <a:lnTo>
                  <a:pt x="68" y="36"/>
                </a:lnTo>
                <a:lnTo>
                  <a:pt x="68" y="35"/>
                </a:lnTo>
                <a:lnTo>
                  <a:pt x="68" y="35"/>
                </a:lnTo>
                <a:lnTo>
                  <a:pt x="68" y="35"/>
                </a:lnTo>
                <a:lnTo>
                  <a:pt x="68" y="35"/>
                </a:lnTo>
                <a:lnTo>
                  <a:pt x="68" y="35"/>
                </a:lnTo>
                <a:lnTo>
                  <a:pt x="68" y="35"/>
                </a:lnTo>
                <a:lnTo>
                  <a:pt x="68" y="34"/>
                </a:lnTo>
                <a:lnTo>
                  <a:pt x="68" y="34"/>
                </a:lnTo>
                <a:lnTo>
                  <a:pt x="68" y="34"/>
                </a:lnTo>
                <a:lnTo>
                  <a:pt x="68" y="34"/>
                </a:lnTo>
                <a:lnTo>
                  <a:pt x="68" y="34"/>
                </a:lnTo>
                <a:lnTo>
                  <a:pt x="68" y="34"/>
                </a:lnTo>
                <a:lnTo>
                  <a:pt x="68" y="32"/>
                </a:lnTo>
                <a:lnTo>
                  <a:pt x="68" y="32"/>
                </a:lnTo>
                <a:lnTo>
                  <a:pt x="68" y="32"/>
                </a:lnTo>
                <a:lnTo>
                  <a:pt x="68" y="32"/>
                </a:lnTo>
                <a:lnTo>
                  <a:pt x="68" y="32"/>
                </a:lnTo>
                <a:lnTo>
                  <a:pt x="68" y="32"/>
                </a:lnTo>
                <a:lnTo>
                  <a:pt x="68" y="31"/>
                </a:lnTo>
                <a:lnTo>
                  <a:pt x="68" y="31"/>
                </a:lnTo>
                <a:lnTo>
                  <a:pt x="68" y="31"/>
                </a:lnTo>
                <a:lnTo>
                  <a:pt x="68" y="31"/>
                </a:lnTo>
                <a:lnTo>
                  <a:pt x="68" y="31"/>
                </a:lnTo>
                <a:lnTo>
                  <a:pt x="68" y="31"/>
                </a:lnTo>
                <a:lnTo>
                  <a:pt x="68" y="30"/>
                </a:lnTo>
                <a:lnTo>
                  <a:pt x="68" y="30"/>
                </a:lnTo>
                <a:lnTo>
                  <a:pt x="68" y="30"/>
                </a:lnTo>
                <a:lnTo>
                  <a:pt x="68" y="30"/>
                </a:lnTo>
                <a:lnTo>
                  <a:pt x="67" y="30"/>
                </a:lnTo>
                <a:lnTo>
                  <a:pt x="67" y="30"/>
                </a:lnTo>
                <a:lnTo>
                  <a:pt x="67" y="29"/>
                </a:lnTo>
                <a:lnTo>
                  <a:pt x="67" y="29"/>
                </a:lnTo>
                <a:lnTo>
                  <a:pt x="67" y="29"/>
                </a:lnTo>
                <a:lnTo>
                  <a:pt x="67" y="29"/>
                </a:lnTo>
                <a:lnTo>
                  <a:pt x="67" y="29"/>
                </a:lnTo>
                <a:lnTo>
                  <a:pt x="67" y="29"/>
                </a:lnTo>
                <a:lnTo>
                  <a:pt x="67" y="29"/>
                </a:lnTo>
                <a:lnTo>
                  <a:pt x="67" y="28"/>
                </a:lnTo>
                <a:lnTo>
                  <a:pt x="67" y="28"/>
                </a:lnTo>
                <a:lnTo>
                  <a:pt x="67" y="28"/>
                </a:lnTo>
                <a:lnTo>
                  <a:pt x="67" y="28"/>
                </a:lnTo>
                <a:lnTo>
                  <a:pt x="67" y="28"/>
                </a:lnTo>
                <a:lnTo>
                  <a:pt x="67" y="28"/>
                </a:lnTo>
                <a:lnTo>
                  <a:pt x="67" y="27"/>
                </a:lnTo>
                <a:lnTo>
                  <a:pt x="67" y="27"/>
                </a:lnTo>
                <a:lnTo>
                  <a:pt x="67" y="27"/>
                </a:lnTo>
                <a:lnTo>
                  <a:pt x="67" y="27"/>
                </a:lnTo>
                <a:lnTo>
                  <a:pt x="67" y="27"/>
                </a:lnTo>
                <a:lnTo>
                  <a:pt x="67" y="27"/>
                </a:lnTo>
                <a:lnTo>
                  <a:pt x="66" y="27"/>
                </a:lnTo>
                <a:lnTo>
                  <a:pt x="66" y="26"/>
                </a:lnTo>
                <a:lnTo>
                  <a:pt x="66" y="26"/>
                </a:lnTo>
                <a:lnTo>
                  <a:pt x="66" y="26"/>
                </a:lnTo>
                <a:lnTo>
                  <a:pt x="66" y="26"/>
                </a:lnTo>
                <a:lnTo>
                  <a:pt x="66" y="26"/>
                </a:lnTo>
                <a:lnTo>
                  <a:pt x="66" y="26"/>
                </a:lnTo>
                <a:lnTo>
                  <a:pt x="66" y="26"/>
                </a:lnTo>
                <a:lnTo>
                  <a:pt x="66" y="25"/>
                </a:lnTo>
                <a:lnTo>
                  <a:pt x="66" y="25"/>
                </a:lnTo>
                <a:lnTo>
                  <a:pt x="66" y="25"/>
                </a:lnTo>
                <a:lnTo>
                  <a:pt x="66" y="25"/>
                </a:lnTo>
                <a:lnTo>
                  <a:pt x="66" y="25"/>
                </a:lnTo>
                <a:lnTo>
                  <a:pt x="66" y="25"/>
                </a:lnTo>
                <a:lnTo>
                  <a:pt x="66" y="25"/>
                </a:lnTo>
                <a:lnTo>
                  <a:pt x="64" y="23"/>
                </a:lnTo>
                <a:lnTo>
                  <a:pt x="64" y="23"/>
                </a:lnTo>
                <a:lnTo>
                  <a:pt x="64" y="23"/>
                </a:lnTo>
                <a:lnTo>
                  <a:pt x="64" y="23"/>
                </a:lnTo>
                <a:lnTo>
                  <a:pt x="64" y="23"/>
                </a:lnTo>
                <a:lnTo>
                  <a:pt x="64" y="23"/>
                </a:lnTo>
                <a:lnTo>
                  <a:pt x="64" y="23"/>
                </a:lnTo>
                <a:lnTo>
                  <a:pt x="64" y="22"/>
                </a:lnTo>
                <a:lnTo>
                  <a:pt x="64" y="22"/>
                </a:lnTo>
                <a:lnTo>
                  <a:pt x="64" y="22"/>
                </a:lnTo>
                <a:lnTo>
                  <a:pt x="64" y="22"/>
                </a:lnTo>
                <a:lnTo>
                  <a:pt x="64" y="22"/>
                </a:lnTo>
                <a:lnTo>
                  <a:pt x="64" y="22"/>
                </a:lnTo>
                <a:lnTo>
                  <a:pt x="63" y="22"/>
                </a:lnTo>
                <a:lnTo>
                  <a:pt x="63" y="21"/>
                </a:lnTo>
                <a:lnTo>
                  <a:pt x="63" y="21"/>
                </a:lnTo>
                <a:lnTo>
                  <a:pt x="63" y="21"/>
                </a:lnTo>
                <a:lnTo>
                  <a:pt x="63" y="21"/>
                </a:lnTo>
                <a:lnTo>
                  <a:pt x="63" y="21"/>
                </a:lnTo>
                <a:lnTo>
                  <a:pt x="63" y="21"/>
                </a:lnTo>
                <a:lnTo>
                  <a:pt x="63" y="21"/>
                </a:lnTo>
                <a:lnTo>
                  <a:pt x="63" y="20"/>
                </a:lnTo>
                <a:lnTo>
                  <a:pt x="63" y="20"/>
                </a:lnTo>
                <a:lnTo>
                  <a:pt x="63" y="20"/>
                </a:lnTo>
                <a:lnTo>
                  <a:pt x="63" y="20"/>
                </a:lnTo>
                <a:lnTo>
                  <a:pt x="62" y="20"/>
                </a:lnTo>
                <a:lnTo>
                  <a:pt x="62" y="20"/>
                </a:lnTo>
                <a:lnTo>
                  <a:pt x="62" y="20"/>
                </a:lnTo>
                <a:lnTo>
                  <a:pt x="62" y="20"/>
                </a:lnTo>
                <a:lnTo>
                  <a:pt x="62" y="19"/>
                </a:lnTo>
                <a:lnTo>
                  <a:pt x="62" y="19"/>
                </a:lnTo>
                <a:lnTo>
                  <a:pt x="62" y="19"/>
                </a:lnTo>
                <a:lnTo>
                  <a:pt x="62" y="19"/>
                </a:lnTo>
                <a:lnTo>
                  <a:pt x="62" y="19"/>
                </a:lnTo>
                <a:lnTo>
                  <a:pt x="62" y="19"/>
                </a:lnTo>
                <a:lnTo>
                  <a:pt x="62" y="19"/>
                </a:lnTo>
                <a:lnTo>
                  <a:pt x="61" y="19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7" y="14"/>
                </a:lnTo>
                <a:lnTo>
                  <a:pt x="57" y="14"/>
                </a:lnTo>
                <a:lnTo>
                  <a:pt x="57" y="13"/>
                </a:lnTo>
                <a:lnTo>
                  <a:pt x="57" y="13"/>
                </a:lnTo>
                <a:lnTo>
                  <a:pt x="57" y="13"/>
                </a:lnTo>
                <a:lnTo>
                  <a:pt x="57" y="13"/>
                </a:lnTo>
                <a:lnTo>
                  <a:pt x="57" y="13"/>
                </a:lnTo>
                <a:lnTo>
                  <a:pt x="57" y="13"/>
                </a:lnTo>
                <a:lnTo>
                  <a:pt x="55" y="13"/>
                </a:lnTo>
                <a:lnTo>
                  <a:pt x="55" y="13"/>
                </a:lnTo>
                <a:lnTo>
                  <a:pt x="55" y="13"/>
                </a:lnTo>
                <a:lnTo>
                  <a:pt x="55" y="13"/>
                </a:lnTo>
                <a:lnTo>
                  <a:pt x="55" y="12"/>
                </a:lnTo>
                <a:lnTo>
                  <a:pt x="55" y="12"/>
                </a:lnTo>
                <a:lnTo>
                  <a:pt x="55" y="12"/>
                </a:lnTo>
                <a:lnTo>
                  <a:pt x="55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3" y="11"/>
                </a:lnTo>
                <a:lnTo>
                  <a:pt x="53" y="11"/>
                </a:lnTo>
                <a:lnTo>
                  <a:pt x="53" y="11"/>
                </a:lnTo>
                <a:lnTo>
                  <a:pt x="53" y="11"/>
                </a:lnTo>
                <a:lnTo>
                  <a:pt x="53" y="11"/>
                </a:lnTo>
                <a:lnTo>
                  <a:pt x="53" y="11"/>
                </a:lnTo>
                <a:lnTo>
                  <a:pt x="53" y="11"/>
                </a:lnTo>
                <a:lnTo>
                  <a:pt x="52" y="11"/>
                </a:lnTo>
                <a:lnTo>
                  <a:pt x="52" y="11"/>
                </a:lnTo>
                <a:lnTo>
                  <a:pt x="52" y="11"/>
                </a:lnTo>
                <a:lnTo>
                  <a:pt x="52" y="11"/>
                </a:lnTo>
                <a:lnTo>
                  <a:pt x="52" y="11"/>
                </a:lnTo>
                <a:lnTo>
                  <a:pt x="52" y="11"/>
                </a:lnTo>
                <a:lnTo>
                  <a:pt x="52" y="10"/>
                </a:lnTo>
                <a:lnTo>
                  <a:pt x="51" y="10"/>
                </a:lnTo>
                <a:lnTo>
                  <a:pt x="51" y="10"/>
                </a:lnTo>
                <a:lnTo>
                  <a:pt x="51" y="10"/>
                </a:lnTo>
                <a:lnTo>
                  <a:pt x="51" y="10"/>
                </a:lnTo>
                <a:lnTo>
                  <a:pt x="51" y="10"/>
                </a:lnTo>
                <a:lnTo>
                  <a:pt x="51" y="10"/>
                </a:lnTo>
                <a:lnTo>
                  <a:pt x="51" y="10"/>
                </a:lnTo>
                <a:lnTo>
                  <a:pt x="50" y="10"/>
                </a:lnTo>
                <a:lnTo>
                  <a:pt x="50" y="10"/>
                </a:lnTo>
                <a:lnTo>
                  <a:pt x="50" y="10"/>
                </a:lnTo>
                <a:lnTo>
                  <a:pt x="50" y="10"/>
                </a:lnTo>
                <a:lnTo>
                  <a:pt x="50" y="10"/>
                </a:lnTo>
                <a:lnTo>
                  <a:pt x="50" y="10"/>
                </a:lnTo>
                <a:lnTo>
                  <a:pt x="50" y="10"/>
                </a:lnTo>
                <a:lnTo>
                  <a:pt x="49" y="9"/>
                </a:lnTo>
                <a:lnTo>
                  <a:pt x="49" y="9"/>
                </a:lnTo>
                <a:lnTo>
                  <a:pt x="49" y="9"/>
                </a:lnTo>
                <a:lnTo>
                  <a:pt x="49" y="9"/>
                </a:lnTo>
                <a:lnTo>
                  <a:pt x="49" y="9"/>
                </a:lnTo>
                <a:lnTo>
                  <a:pt x="49" y="9"/>
                </a:lnTo>
                <a:lnTo>
                  <a:pt x="48" y="9"/>
                </a:lnTo>
                <a:lnTo>
                  <a:pt x="48" y="9"/>
                </a:lnTo>
                <a:lnTo>
                  <a:pt x="48" y="9"/>
                </a:lnTo>
                <a:lnTo>
                  <a:pt x="48" y="9"/>
                </a:lnTo>
                <a:lnTo>
                  <a:pt x="48" y="9"/>
                </a:lnTo>
                <a:lnTo>
                  <a:pt x="48" y="9"/>
                </a:lnTo>
                <a:lnTo>
                  <a:pt x="48" y="9"/>
                </a:lnTo>
                <a:lnTo>
                  <a:pt x="46" y="9"/>
                </a:lnTo>
                <a:lnTo>
                  <a:pt x="46" y="9"/>
                </a:lnTo>
                <a:lnTo>
                  <a:pt x="46" y="9"/>
                </a:lnTo>
                <a:lnTo>
                  <a:pt x="46" y="9"/>
                </a:lnTo>
                <a:lnTo>
                  <a:pt x="46" y="9"/>
                </a:lnTo>
                <a:lnTo>
                  <a:pt x="46" y="9"/>
                </a:lnTo>
                <a:lnTo>
                  <a:pt x="45" y="9"/>
                </a:lnTo>
                <a:lnTo>
                  <a:pt x="45" y="8"/>
                </a:lnTo>
                <a:lnTo>
                  <a:pt x="45" y="8"/>
                </a:lnTo>
                <a:lnTo>
                  <a:pt x="45" y="8"/>
                </a:lnTo>
                <a:lnTo>
                  <a:pt x="45" y="8"/>
                </a:lnTo>
                <a:lnTo>
                  <a:pt x="45" y="8"/>
                </a:lnTo>
                <a:lnTo>
                  <a:pt x="44" y="8"/>
                </a:lnTo>
                <a:lnTo>
                  <a:pt x="44" y="8"/>
                </a:lnTo>
                <a:lnTo>
                  <a:pt x="44" y="8"/>
                </a:lnTo>
                <a:lnTo>
                  <a:pt x="44" y="8"/>
                </a:lnTo>
                <a:lnTo>
                  <a:pt x="44" y="8"/>
                </a:lnTo>
                <a:lnTo>
                  <a:pt x="44" y="8"/>
                </a:lnTo>
                <a:lnTo>
                  <a:pt x="44" y="8"/>
                </a:lnTo>
                <a:lnTo>
                  <a:pt x="43" y="8"/>
                </a:lnTo>
                <a:lnTo>
                  <a:pt x="43" y="8"/>
                </a:lnTo>
                <a:lnTo>
                  <a:pt x="43" y="8"/>
                </a:lnTo>
                <a:lnTo>
                  <a:pt x="43" y="8"/>
                </a:lnTo>
                <a:lnTo>
                  <a:pt x="43" y="8"/>
                </a:lnTo>
                <a:lnTo>
                  <a:pt x="43" y="8"/>
                </a:lnTo>
                <a:lnTo>
                  <a:pt x="42" y="8"/>
                </a:lnTo>
                <a:lnTo>
                  <a:pt x="42" y="8"/>
                </a:lnTo>
                <a:lnTo>
                  <a:pt x="42" y="8"/>
                </a:lnTo>
                <a:lnTo>
                  <a:pt x="42" y="8"/>
                </a:lnTo>
                <a:lnTo>
                  <a:pt x="42" y="8"/>
                </a:lnTo>
                <a:lnTo>
                  <a:pt x="42" y="8"/>
                </a:lnTo>
                <a:lnTo>
                  <a:pt x="41" y="8"/>
                </a:lnTo>
                <a:lnTo>
                  <a:pt x="41" y="8"/>
                </a:lnTo>
                <a:lnTo>
                  <a:pt x="41" y="8"/>
                </a:lnTo>
                <a:lnTo>
                  <a:pt x="41" y="8"/>
                </a:lnTo>
                <a:lnTo>
                  <a:pt x="41" y="8"/>
                </a:lnTo>
                <a:lnTo>
                  <a:pt x="41" y="8"/>
                </a:lnTo>
                <a:lnTo>
                  <a:pt x="40" y="8"/>
                </a:lnTo>
                <a:lnTo>
                  <a:pt x="40" y="8"/>
                </a:lnTo>
                <a:lnTo>
                  <a:pt x="40" y="8"/>
                </a:lnTo>
                <a:lnTo>
                  <a:pt x="40" y="8"/>
                </a:lnTo>
                <a:lnTo>
                  <a:pt x="40" y="8"/>
                </a:lnTo>
                <a:lnTo>
                  <a:pt x="40" y="8"/>
                </a:lnTo>
                <a:lnTo>
                  <a:pt x="39" y="8"/>
                </a:lnTo>
                <a:lnTo>
                  <a:pt x="39" y="8"/>
                </a:lnTo>
                <a:lnTo>
                  <a:pt x="39" y="8"/>
                </a:lnTo>
                <a:lnTo>
                  <a:pt x="39" y="8"/>
                </a:lnTo>
                <a:lnTo>
                  <a:pt x="39" y="8"/>
                </a:lnTo>
                <a:lnTo>
                  <a:pt x="39" y="8"/>
                </a:lnTo>
                <a:lnTo>
                  <a:pt x="37" y="8"/>
                </a:lnTo>
                <a:lnTo>
                  <a:pt x="37" y="8"/>
                </a:lnTo>
                <a:lnTo>
                  <a:pt x="37" y="8"/>
                </a:lnTo>
                <a:lnTo>
                  <a:pt x="37" y="8"/>
                </a:lnTo>
                <a:lnTo>
                  <a:pt x="37" y="8"/>
                </a:lnTo>
                <a:lnTo>
                  <a:pt x="37" y="8"/>
                </a:lnTo>
                <a:lnTo>
                  <a:pt x="36" y="8"/>
                </a:lnTo>
                <a:lnTo>
                  <a:pt x="36" y="8"/>
                </a:lnTo>
                <a:lnTo>
                  <a:pt x="36" y="8"/>
                </a:lnTo>
                <a:lnTo>
                  <a:pt x="36" y="8"/>
                </a:lnTo>
                <a:lnTo>
                  <a:pt x="36" y="8"/>
                </a:lnTo>
                <a:lnTo>
                  <a:pt x="36" y="8"/>
                </a:lnTo>
                <a:lnTo>
                  <a:pt x="35" y="8"/>
                </a:lnTo>
                <a:lnTo>
                  <a:pt x="35" y="8"/>
                </a:lnTo>
                <a:lnTo>
                  <a:pt x="35" y="8"/>
                </a:lnTo>
                <a:lnTo>
                  <a:pt x="35" y="8"/>
                </a:lnTo>
                <a:lnTo>
                  <a:pt x="35" y="8"/>
                </a:lnTo>
                <a:lnTo>
                  <a:pt x="35" y="8"/>
                </a:lnTo>
                <a:lnTo>
                  <a:pt x="34" y="8"/>
                </a:lnTo>
                <a:lnTo>
                  <a:pt x="34" y="8"/>
                </a:lnTo>
                <a:lnTo>
                  <a:pt x="34" y="8"/>
                </a:lnTo>
                <a:lnTo>
                  <a:pt x="34" y="8"/>
                </a:lnTo>
                <a:lnTo>
                  <a:pt x="34" y="8"/>
                </a:lnTo>
                <a:lnTo>
                  <a:pt x="34" y="8"/>
                </a:lnTo>
                <a:lnTo>
                  <a:pt x="33" y="8"/>
                </a:lnTo>
                <a:lnTo>
                  <a:pt x="33" y="8"/>
                </a:lnTo>
                <a:lnTo>
                  <a:pt x="33" y="8"/>
                </a:lnTo>
                <a:lnTo>
                  <a:pt x="33" y="8"/>
                </a:lnTo>
                <a:lnTo>
                  <a:pt x="33" y="8"/>
                </a:lnTo>
                <a:lnTo>
                  <a:pt x="33" y="8"/>
                </a:lnTo>
                <a:lnTo>
                  <a:pt x="32" y="8"/>
                </a:lnTo>
                <a:lnTo>
                  <a:pt x="32" y="8"/>
                </a:lnTo>
                <a:lnTo>
                  <a:pt x="32" y="8"/>
                </a:lnTo>
                <a:lnTo>
                  <a:pt x="32" y="8"/>
                </a:lnTo>
                <a:lnTo>
                  <a:pt x="32" y="8"/>
                </a:lnTo>
                <a:lnTo>
                  <a:pt x="32" y="8"/>
                </a:lnTo>
                <a:lnTo>
                  <a:pt x="31" y="8"/>
                </a:lnTo>
                <a:lnTo>
                  <a:pt x="31" y="9"/>
                </a:lnTo>
                <a:lnTo>
                  <a:pt x="31" y="9"/>
                </a:lnTo>
                <a:lnTo>
                  <a:pt x="31" y="9"/>
                </a:lnTo>
                <a:lnTo>
                  <a:pt x="31" y="9"/>
                </a:lnTo>
                <a:lnTo>
                  <a:pt x="31" y="9"/>
                </a:lnTo>
                <a:lnTo>
                  <a:pt x="31" y="9"/>
                </a:lnTo>
                <a:lnTo>
                  <a:pt x="30" y="9"/>
                </a:lnTo>
                <a:lnTo>
                  <a:pt x="30" y="9"/>
                </a:lnTo>
                <a:lnTo>
                  <a:pt x="30" y="9"/>
                </a:lnTo>
                <a:lnTo>
                  <a:pt x="30" y="9"/>
                </a:lnTo>
                <a:lnTo>
                  <a:pt x="30" y="9"/>
                </a:lnTo>
                <a:lnTo>
                  <a:pt x="30" y="9"/>
                </a:lnTo>
                <a:lnTo>
                  <a:pt x="28" y="9"/>
                </a:lnTo>
                <a:lnTo>
                  <a:pt x="28" y="9"/>
                </a:lnTo>
                <a:lnTo>
                  <a:pt x="28" y="9"/>
                </a:lnTo>
                <a:lnTo>
                  <a:pt x="28" y="9"/>
                </a:lnTo>
                <a:lnTo>
                  <a:pt x="28" y="9"/>
                </a:lnTo>
                <a:lnTo>
                  <a:pt x="28" y="9"/>
                </a:lnTo>
                <a:lnTo>
                  <a:pt x="28" y="9"/>
                </a:lnTo>
                <a:lnTo>
                  <a:pt x="27" y="9"/>
                </a:lnTo>
                <a:lnTo>
                  <a:pt x="27" y="10"/>
                </a:lnTo>
                <a:lnTo>
                  <a:pt x="27" y="10"/>
                </a:lnTo>
                <a:lnTo>
                  <a:pt x="27" y="10"/>
                </a:lnTo>
                <a:lnTo>
                  <a:pt x="27" y="10"/>
                </a:lnTo>
                <a:lnTo>
                  <a:pt x="27" y="10"/>
                </a:lnTo>
                <a:lnTo>
                  <a:pt x="26" y="10"/>
                </a:lnTo>
                <a:lnTo>
                  <a:pt x="26" y="10"/>
                </a:lnTo>
                <a:lnTo>
                  <a:pt x="26" y="10"/>
                </a:lnTo>
                <a:lnTo>
                  <a:pt x="26" y="10"/>
                </a:lnTo>
                <a:lnTo>
                  <a:pt x="26" y="10"/>
                </a:lnTo>
                <a:lnTo>
                  <a:pt x="26" y="10"/>
                </a:lnTo>
                <a:lnTo>
                  <a:pt x="26" y="10"/>
                </a:lnTo>
                <a:lnTo>
                  <a:pt x="25" y="10"/>
                </a:lnTo>
                <a:lnTo>
                  <a:pt x="25" y="10"/>
                </a:lnTo>
                <a:lnTo>
                  <a:pt x="25" y="10"/>
                </a:lnTo>
                <a:lnTo>
                  <a:pt x="25" y="11"/>
                </a:lnTo>
                <a:lnTo>
                  <a:pt x="25" y="11"/>
                </a:lnTo>
                <a:lnTo>
                  <a:pt x="25" y="11"/>
                </a:lnTo>
                <a:lnTo>
                  <a:pt x="25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3" y="11"/>
                </a:lnTo>
                <a:lnTo>
                  <a:pt x="23" y="12"/>
                </a:lnTo>
                <a:lnTo>
                  <a:pt x="23" y="12"/>
                </a:lnTo>
                <a:lnTo>
                  <a:pt x="23" y="12"/>
                </a:lnTo>
                <a:lnTo>
                  <a:pt x="23" y="12"/>
                </a:lnTo>
                <a:lnTo>
                  <a:pt x="23" y="12"/>
                </a:lnTo>
                <a:lnTo>
                  <a:pt x="23" y="12"/>
                </a:lnTo>
                <a:lnTo>
                  <a:pt x="22" y="12"/>
                </a:lnTo>
                <a:lnTo>
                  <a:pt x="22" y="12"/>
                </a:lnTo>
                <a:lnTo>
                  <a:pt x="22" y="12"/>
                </a:lnTo>
                <a:lnTo>
                  <a:pt x="22" y="12"/>
                </a:lnTo>
                <a:lnTo>
                  <a:pt x="22" y="12"/>
                </a:lnTo>
                <a:lnTo>
                  <a:pt x="22" y="12"/>
                </a:lnTo>
                <a:lnTo>
                  <a:pt x="22" y="13"/>
                </a:lnTo>
                <a:lnTo>
                  <a:pt x="22" y="13"/>
                </a:lnTo>
                <a:lnTo>
                  <a:pt x="21" y="13"/>
                </a:lnTo>
                <a:lnTo>
                  <a:pt x="21" y="13"/>
                </a:lnTo>
                <a:lnTo>
                  <a:pt x="21" y="13"/>
                </a:lnTo>
                <a:lnTo>
                  <a:pt x="21" y="13"/>
                </a:lnTo>
                <a:lnTo>
                  <a:pt x="21" y="13"/>
                </a:lnTo>
                <a:lnTo>
                  <a:pt x="21" y="13"/>
                </a:lnTo>
                <a:lnTo>
                  <a:pt x="21" y="13"/>
                </a:lnTo>
                <a:lnTo>
                  <a:pt x="19" y="13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8" y="14"/>
                </a:lnTo>
                <a:lnTo>
                  <a:pt x="18" y="14"/>
                </a:lnTo>
                <a:lnTo>
                  <a:pt x="18" y="16"/>
                </a:lnTo>
                <a:lnTo>
                  <a:pt x="18" y="16"/>
                </a:lnTo>
                <a:lnTo>
                  <a:pt x="18" y="16"/>
                </a:lnTo>
                <a:lnTo>
                  <a:pt x="18" y="16"/>
                </a:lnTo>
                <a:lnTo>
                  <a:pt x="18" y="16"/>
                </a:lnTo>
                <a:lnTo>
                  <a:pt x="18" y="16"/>
                </a:lnTo>
                <a:lnTo>
                  <a:pt x="17" y="16"/>
                </a:lnTo>
                <a:lnTo>
                  <a:pt x="17" y="16"/>
                </a:lnTo>
                <a:lnTo>
                  <a:pt x="17" y="16"/>
                </a:lnTo>
                <a:lnTo>
                  <a:pt x="17" y="17"/>
                </a:lnTo>
                <a:lnTo>
                  <a:pt x="17" y="17"/>
                </a:lnTo>
                <a:lnTo>
                  <a:pt x="17" y="17"/>
                </a:lnTo>
                <a:lnTo>
                  <a:pt x="17" y="17"/>
                </a:lnTo>
                <a:lnTo>
                  <a:pt x="17" y="17"/>
                </a:lnTo>
                <a:lnTo>
                  <a:pt x="17" y="17"/>
                </a:lnTo>
                <a:lnTo>
                  <a:pt x="16" y="17"/>
                </a:lnTo>
                <a:lnTo>
                  <a:pt x="16" y="17"/>
                </a:lnTo>
                <a:lnTo>
                  <a:pt x="16" y="17"/>
                </a:lnTo>
                <a:lnTo>
                  <a:pt x="16" y="18"/>
                </a:lnTo>
                <a:lnTo>
                  <a:pt x="16" y="18"/>
                </a:lnTo>
                <a:lnTo>
                  <a:pt x="16" y="18"/>
                </a:lnTo>
                <a:lnTo>
                  <a:pt x="16" y="18"/>
                </a:lnTo>
                <a:lnTo>
                  <a:pt x="16" y="18"/>
                </a:lnTo>
                <a:lnTo>
                  <a:pt x="16" y="18"/>
                </a:lnTo>
                <a:lnTo>
                  <a:pt x="16" y="18"/>
                </a:lnTo>
                <a:lnTo>
                  <a:pt x="15" y="18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20"/>
                </a:lnTo>
                <a:lnTo>
                  <a:pt x="14" y="20"/>
                </a:lnTo>
                <a:lnTo>
                  <a:pt x="14" y="20"/>
                </a:lnTo>
                <a:lnTo>
                  <a:pt x="14" y="20"/>
                </a:lnTo>
                <a:lnTo>
                  <a:pt x="14" y="20"/>
                </a:lnTo>
                <a:lnTo>
                  <a:pt x="14" y="20"/>
                </a:lnTo>
                <a:lnTo>
                  <a:pt x="14" y="20"/>
                </a:lnTo>
                <a:lnTo>
                  <a:pt x="14" y="20"/>
                </a:lnTo>
                <a:lnTo>
                  <a:pt x="14" y="21"/>
                </a:lnTo>
                <a:lnTo>
                  <a:pt x="14" y="21"/>
                </a:lnTo>
                <a:lnTo>
                  <a:pt x="14" y="21"/>
                </a:lnTo>
                <a:lnTo>
                  <a:pt x="14" y="21"/>
                </a:lnTo>
                <a:lnTo>
                  <a:pt x="13" y="21"/>
                </a:lnTo>
                <a:lnTo>
                  <a:pt x="13" y="21"/>
                </a:lnTo>
                <a:lnTo>
                  <a:pt x="13" y="21"/>
                </a:lnTo>
                <a:lnTo>
                  <a:pt x="13" y="22"/>
                </a:lnTo>
                <a:lnTo>
                  <a:pt x="13" y="22"/>
                </a:lnTo>
                <a:lnTo>
                  <a:pt x="13" y="22"/>
                </a:lnTo>
                <a:lnTo>
                  <a:pt x="13" y="22"/>
                </a:lnTo>
                <a:lnTo>
                  <a:pt x="13" y="22"/>
                </a:lnTo>
                <a:lnTo>
                  <a:pt x="13" y="22"/>
                </a:lnTo>
                <a:lnTo>
                  <a:pt x="13" y="22"/>
                </a:lnTo>
                <a:lnTo>
                  <a:pt x="13" y="23"/>
                </a:lnTo>
                <a:lnTo>
                  <a:pt x="13" y="23"/>
                </a:lnTo>
                <a:lnTo>
                  <a:pt x="13" y="23"/>
                </a:lnTo>
                <a:lnTo>
                  <a:pt x="12" y="23"/>
                </a:lnTo>
                <a:lnTo>
                  <a:pt x="12" y="23"/>
                </a:lnTo>
                <a:lnTo>
                  <a:pt x="12" y="23"/>
                </a:lnTo>
                <a:lnTo>
                  <a:pt x="12" y="23"/>
                </a:lnTo>
                <a:lnTo>
                  <a:pt x="12" y="25"/>
                </a:lnTo>
                <a:lnTo>
                  <a:pt x="12" y="25"/>
                </a:lnTo>
                <a:lnTo>
                  <a:pt x="12" y="25"/>
                </a:lnTo>
                <a:lnTo>
                  <a:pt x="12" y="25"/>
                </a:lnTo>
                <a:lnTo>
                  <a:pt x="12" y="25"/>
                </a:lnTo>
                <a:lnTo>
                  <a:pt x="12" y="25"/>
                </a:lnTo>
                <a:lnTo>
                  <a:pt x="12" y="25"/>
                </a:lnTo>
                <a:lnTo>
                  <a:pt x="12" y="26"/>
                </a:lnTo>
                <a:lnTo>
                  <a:pt x="12" y="26"/>
                </a:lnTo>
                <a:lnTo>
                  <a:pt x="12" y="26"/>
                </a:lnTo>
                <a:lnTo>
                  <a:pt x="12" y="26"/>
                </a:lnTo>
                <a:lnTo>
                  <a:pt x="10" y="26"/>
                </a:lnTo>
                <a:lnTo>
                  <a:pt x="10" y="26"/>
                </a:lnTo>
                <a:lnTo>
                  <a:pt x="10" y="26"/>
                </a:lnTo>
                <a:lnTo>
                  <a:pt x="10" y="27"/>
                </a:lnTo>
                <a:lnTo>
                  <a:pt x="10" y="27"/>
                </a:lnTo>
                <a:lnTo>
                  <a:pt x="10" y="27"/>
                </a:lnTo>
                <a:lnTo>
                  <a:pt x="10" y="27"/>
                </a:lnTo>
                <a:lnTo>
                  <a:pt x="10" y="27"/>
                </a:lnTo>
                <a:lnTo>
                  <a:pt x="10" y="27"/>
                </a:lnTo>
                <a:lnTo>
                  <a:pt x="10" y="27"/>
                </a:lnTo>
                <a:lnTo>
                  <a:pt x="10" y="28"/>
                </a:lnTo>
                <a:lnTo>
                  <a:pt x="10" y="28"/>
                </a:lnTo>
                <a:lnTo>
                  <a:pt x="10" y="28"/>
                </a:lnTo>
                <a:lnTo>
                  <a:pt x="10" y="28"/>
                </a:lnTo>
                <a:lnTo>
                  <a:pt x="10" y="28"/>
                </a:lnTo>
                <a:lnTo>
                  <a:pt x="10" y="28"/>
                </a:lnTo>
                <a:lnTo>
                  <a:pt x="10" y="29"/>
                </a:lnTo>
                <a:lnTo>
                  <a:pt x="10" y="29"/>
                </a:lnTo>
                <a:lnTo>
                  <a:pt x="10" y="29"/>
                </a:lnTo>
                <a:lnTo>
                  <a:pt x="9" y="29"/>
                </a:lnTo>
                <a:lnTo>
                  <a:pt x="9" y="29"/>
                </a:lnTo>
                <a:lnTo>
                  <a:pt x="9" y="29"/>
                </a:lnTo>
                <a:lnTo>
                  <a:pt x="9" y="29"/>
                </a:lnTo>
                <a:lnTo>
                  <a:pt x="9" y="30"/>
                </a:lnTo>
                <a:lnTo>
                  <a:pt x="9" y="30"/>
                </a:lnTo>
                <a:lnTo>
                  <a:pt x="9" y="30"/>
                </a:lnTo>
                <a:lnTo>
                  <a:pt x="9" y="30"/>
                </a:lnTo>
                <a:lnTo>
                  <a:pt x="9" y="30"/>
                </a:lnTo>
                <a:lnTo>
                  <a:pt x="9" y="30"/>
                </a:lnTo>
                <a:lnTo>
                  <a:pt x="9" y="31"/>
                </a:lnTo>
                <a:lnTo>
                  <a:pt x="9" y="31"/>
                </a:lnTo>
                <a:lnTo>
                  <a:pt x="9" y="31"/>
                </a:lnTo>
                <a:lnTo>
                  <a:pt x="9" y="31"/>
                </a:lnTo>
                <a:lnTo>
                  <a:pt x="9" y="31"/>
                </a:lnTo>
                <a:lnTo>
                  <a:pt x="9" y="31"/>
                </a:lnTo>
                <a:lnTo>
                  <a:pt x="9" y="32"/>
                </a:lnTo>
                <a:lnTo>
                  <a:pt x="9" y="32"/>
                </a:lnTo>
                <a:lnTo>
                  <a:pt x="9" y="32"/>
                </a:lnTo>
                <a:lnTo>
                  <a:pt x="9" y="32"/>
                </a:lnTo>
                <a:lnTo>
                  <a:pt x="9" y="32"/>
                </a:lnTo>
                <a:lnTo>
                  <a:pt x="9" y="32"/>
                </a:lnTo>
                <a:lnTo>
                  <a:pt x="9" y="34"/>
                </a:lnTo>
                <a:lnTo>
                  <a:pt x="9" y="34"/>
                </a:lnTo>
                <a:lnTo>
                  <a:pt x="9" y="34"/>
                </a:lnTo>
                <a:lnTo>
                  <a:pt x="9" y="34"/>
                </a:lnTo>
                <a:lnTo>
                  <a:pt x="9" y="34"/>
                </a:lnTo>
                <a:lnTo>
                  <a:pt x="9" y="34"/>
                </a:lnTo>
                <a:lnTo>
                  <a:pt x="9" y="35"/>
                </a:lnTo>
                <a:lnTo>
                  <a:pt x="9" y="35"/>
                </a:lnTo>
                <a:lnTo>
                  <a:pt x="9" y="35"/>
                </a:lnTo>
                <a:lnTo>
                  <a:pt x="9" y="35"/>
                </a:lnTo>
                <a:lnTo>
                  <a:pt x="9" y="35"/>
                </a:lnTo>
                <a:lnTo>
                  <a:pt x="9" y="35"/>
                </a:lnTo>
                <a:lnTo>
                  <a:pt x="9" y="36"/>
                </a:lnTo>
                <a:lnTo>
                  <a:pt x="9" y="36"/>
                </a:lnTo>
                <a:lnTo>
                  <a:pt x="9" y="36"/>
                </a:lnTo>
                <a:lnTo>
                  <a:pt x="9" y="36"/>
                </a:lnTo>
                <a:lnTo>
                  <a:pt x="9" y="36"/>
                </a:lnTo>
                <a:lnTo>
                  <a:pt x="9" y="36"/>
                </a:lnTo>
                <a:lnTo>
                  <a:pt x="9" y="37"/>
                </a:lnTo>
                <a:lnTo>
                  <a:pt x="9" y="37"/>
                </a:lnTo>
                <a:lnTo>
                  <a:pt x="9" y="37"/>
                </a:lnTo>
                <a:lnTo>
                  <a:pt x="9" y="37"/>
                </a:lnTo>
                <a:lnTo>
                  <a:pt x="9" y="37"/>
                </a:lnTo>
                <a:lnTo>
                  <a:pt x="9" y="37"/>
                </a:lnTo>
                <a:lnTo>
                  <a:pt x="9" y="38"/>
                </a:lnTo>
                <a:lnTo>
                  <a:pt x="9" y="38"/>
                </a:lnTo>
                <a:lnTo>
                  <a:pt x="9" y="38"/>
                </a:lnTo>
                <a:lnTo>
                  <a:pt x="9" y="38"/>
                </a:lnTo>
                <a:lnTo>
                  <a:pt x="9" y="38"/>
                </a:lnTo>
                <a:lnTo>
                  <a:pt x="9" y="38"/>
                </a:lnTo>
                <a:lnTo>
                  <a:pt x="9" y="39"/>
                </a:lnTo>
                <a:lnTo>
                  <a:pt x="9" y="39"/>
                </a:lnTo>
                <a:lnTo>
                  <a:pt x="9" y="39"/>
                </a:lnTo>
                <a:lnTo>
                  <a:pt x="9" y="39"/>
                </a:lnTo>
                <a:lnTo>
                  <a:pt x="9" y="39"/>
                </a:lnTo>
                <a:lnTo>
                  <a:pt x="9" y="39"/>
                </a:lnTo>
                <a:lnTo>
                  <a:pt x="9" y="40"/>
                </a:lnTo>
                <a:lnTo>
                  <a:pt x="9" y="40"/>
                </a:lnTo>
                <a:lnTo>
                  <a:pt x="9" y="40"/>
                </a:lnTo>
                <a:lnTo>
                  <a:pt x="9" y="40"/>
                </a:lnTo>
                <a:lnTo>
                  <a:pt x="9" y="40"/>
                </a:lnTo>
                <a:lnTo>
                  <a:pt x="9" y="40"/>
                </a:lnTo>
                <a:lnTo>
                  <a:pt x="9" y="41"/>
                </a:lnTo>
                <a:lnTo>
                  <a:pt x="9" y="41"/>
                </a:lnTo>
                <a:lnTo>
                  <a:pt x="9" y="41"/>
                </a:lnTo>
                <a:lnTo>
                  <a:pt x="9" y="41"/>
                </a:lnTo>
                <a:lnTo>
                  <a:pt x="9" y="41"/>
                </a:lnTo>
                <a:lnTo>
                  <a:pt x="9" y="41"/>
                </a:lnTo>
                <a:lnTo>
                  <a:pt x="9" y="43"/>
                </a:lnTo>
                <a:lnTo>
                  <a:pt x="9" y="43"/>
                </a:lnTo>
                <a:lnTo>
                  <a:pt x="9" y="43"/>
                </a:lnTo>
                <a:lnTo>
                  <a:pt x="9" y="43"/>
                </a:lnTo>
                <a:lnTo>
                  <a:pt x="9" y="43"/>
                </a:lnTo>
                <a:lnTo>
                  <a:pt x="9" y="43"/>
                </a:lnTo>
                <a:lnTo>
                  <a:pt x="9" y="44"/>
                </a:lnTo>
                <a:lnTo>
                  <a:pt x="9" y="44"/>
                </a:lnTo>
                <a:lnTo>
                  <a:pt x="9" y="44"/>
                </a:lnTo>
                <a:lnTo>
                  <a:pt x="9" y="44"/>
                </a:lnTo>
                <a:lnTo>
                  <a:pt x="9" y="44"/>
                </a:lnTo>
                <a:lnTo>
                  <a:pt x="9" y="44"/>
                </a:lnTo>
                <a:lnTo>
                  <a:pt x="9" y="44"/>
                </a:lnTo>
                <a:lnTo>
                  <a:pt x="9" y="45"/>
                </a:lnTo>
                <a:lnTo>
                  <a:pt x="9" y="45"/>
                </a:lnTo>
                <a:lnTo>
                  <a:pt x="9" y="45"/>
                </a:lnTo>
                <a:lnTo>
                  <a:pt x="9" y="45"/>
                </a:lnTo>
                <a:lnTo>
                  <a:pt x="10" y="45"/>
                </a:lnTo>
                <a:lnTo>
                  <a:pt x="10" y="45"/>
                </a:lnTo>
                <a:lnTo>
                  <a:pt x="10" y="46"/>
                </a:lnTo>
                <a:lnTo>
                  <a:pt x="10" y="46"/>
                </a:lnTo>
                <a:lnTo>
                  <a:pt x="10" y="46"/>
                </a:lnTo>
                <a:lnTo>
                  <a:pt x="10" y="46"/>
                </a:lnTo>
                <a:lnTo>
                  <a:pt x="10" y="46"/>
                </a:lnTo>
                <a:lnTo>
                  <a:pt x="10" y="46"/>
                </a:lnTo>
                <a:lnTo>
                  <a:pt x="10" y="47"/>
                </a:lnTo>
                <a:lnTo>
                  <a:pt x="10" y="47"/>
                </a:lnTo>
                <a:lnTo>
                  <a:pt x="10" y="47"/>
                </a:lnTo>
                <a:lnTo>
                  <a:pt x="10" y="47"/>
                </a:lnTo>
                <a:lnTo>
                  <a:pt x="10" y="47"/>
                </a:lnTo>
                <a:lnTo>
                  <a:pt x="10" y="47"/>
                </a:lnTo>
                <a:lnTo>
                  <a:pt x="10" y="47"/>
                </a:lnTo>
                <a:lnTo>
                  <a:pt x="10" y="48"/>
                </a:lnTo>
                <a:lnTo>
                  <a:pt x="10" y="48"/>
                </a:lnTo>
                <a:lnTo>
                  <a:pt x="10" y="48"/>
                </a:lnTo>
                <a:lnTo>
                  <a:pt x="10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9"/>
                </a:lnTo>
                <a:lnTo>
                  <a:pt x="12" y="49"/>
                </a:lnTo>
                <a:lnTo>
                  <a:pt x="12" y="49"/>
                </a:lnTo>
                <a:lnTo>
                  <a:pt x="12" y="49"/>
                </a:lnTo>
                <a:lnTo>
                  <a:pt x="12" y="49"/>
                </a:lnTo>
                <a:lnTo>
                  <a:pt x="12" y="49"/>
                </a:lnTo>
                <a:lnTo>
                  <a:pt x="12" y="49"/>
                </a:lnTo>
                <a:lnTo>
                  <a:pt x="12" y="50"/>
                </a:lnTo>
                <a:lnTo>
                  <a:pt x="12" y="50"/>
                </a:lnTo>
                <a:lnTo>
                  <a:pt x="12" y="50"/>
                </a:lnTo>
                <a:lnTo>
                  <a:pt x="12" y="50"/>
                </a:lnTo>
                <a:lnTo>
                  <a:pt x="12" y="50"/>
                </a:lnTo>
                <a:lnTo>
                  <a:pt x="13" y="50"/>
                </a:lnTo>
                <a:lnTo>
                  <a:pt x="13" y="50"/>
                </a:lnTo>
                <a:lnTo>
                  <a:pt x="13" y="52"/>
                </a:lnTo>
                <a:lnTo>
                  <a:pt x="13" y="52"/>
                </a:lnTo>
                <a:lnTo>
                  <a:pt x="13" y="52"/>
                </a:lnTo>
                <a:lnTo>
                  <a:pt x="13" y="52"/>
                </a:lnTo>
                <a:lnTo>
                  <a:pt x="13" y="52"/>
                </a:lnTo>
                <a:lnTo>
                  <a:pt x="13" y="52"/>
                </a:lnTo>
                <a:lnTo>
                  <a:pt x="13" y="52"/>
                </a:lnTo>
                <a:lnTo>
                  <a:pt x="13" y="53"/>
                </a:lnTo>
                <a:lnTo>
                  <a:pt x="13" y="53"/>
                </a:lnTo>
                <a:lnTo>
                  <a:pt x="13" y="53"/>
                </a:lnTo>
                <a:lnTo>
                  <a:pt x="13" y="53"/>
                </a:lnTo>
                <a:lnTo>
                  <a:pt x="14" y="53"/>
                </a:lnTo>
                <a:lnTo>
                  <a:pt x="14" y="53"/>
                </a:lnTo>
                <a:lnTo>
                  <a:pt x="14" y="53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6"/>
                </a:lnTo>
                <a:lnTo>
                  <a:pt x="15" y="56"/>
                </a:lnTo>
                <a:lnTo>
                  <a:pt x="16" y="56"/>
                </a:lnTo>
                <a:lnTo>
                  <a:pt x="16" y="56"/>
                </a:lnTo>
                <a:lnTo>
                  <a:pt x="16" y="56"/>
                </a:lnTo>
                <a:lnTo>
                  <a:pt x="16" y="56"/>
                </a:lnTo>
                <a:lnTo>
                  <a:pt x="16" y="56"/>
                </a:lnTo>
                <a:lnTo>
                  <a:pt x="16" y="56"/>
                </a:lnTo>
                <a:lnTo>
                  <a:pt x="16" y="57"/>
                </a:lnTo>
                <a:lnTo>
                  <a:pt x="16" y="57"/>
                </a:lnTo>
                <a:lnTo>
                  <a:pt x="16" y="57"/>
                </a:lnTo>
                <a:lnTo>
                  <a:pt x="16" y="57"/>
                </a:lnTo>
                <a:lnTo>
                  <a:pt x="17" y="57"/>
                </a:lnTo>
                <a:lnTo>
                  <a:pt x="17" y="57"/>
                </a:lnTo>
                <a:lnTo>
                  <a:pt x="17" y="57"/>
                </a:lnTo>
                <a:lnTo>
                  <a:pt x="17" y="57"/>
                </a:lnTo>
                <a:lnTo>
                  <a:pt x="17" y="57"/>
                </a:lnTo>
                <a:lnTo>
                  <a:pt x="17" y="58"/>
                </a:lnTo>
                <a:lnTo>
                  <a:pt x="17" y="58"/>
                </a:lnTo>
                <a:lnTo>
                  <a:pt x="17" y="58"/>
                </a:lnTo>
                <a:lnTo>
                  <a:pt x="17" y="58"/>
                </a:lnTo>
                <a:lnTo>
                  <a:pt x="18" y="58"/>
                </a:lnTo>
                <a:lnTo>
                  <a:pt x="18" y="58"/>
                </a:lnTo>
                <a:lnTo>
                  <a:pt x="18" y="58"/>
                </a:lnTo>
                <a:lnTo>
                  <a:pt x="18" y="58"/>
                </a:lnTo>
                <a:lnTo>
                  <a:pt x="18" y="58"/>
                </a:lnTo>
                <a:lnTo>
                  <a:pt x="18" y="59"/>
                </a:lnTo>
                <a:lnTo>
                  <a:pt x="18" y="59"/>
                </a:lnTo>
                <a:lnTo>
                  <a:pt x="18" y="59"/>
                </a:lnTo>
                <a:lnTo>
                  <a:pt x="19" y="59"/>
                </a:lnTo>
                <a:lnTo>
                  <a:pt x="19" y="59"/>
                </a:lnTo>
                <a:lnTo>
                  <a:pt x="19" y="59"/>
                </a:lnTo>
                <a:lnTo>
                  <a:pt x="19" y="59"/>
                </a:lnTo>
                <a:lnTo>
                  <a:pt x="19" y="59"/>
                </a:lnTo>
                <a:lnTo>
                  <a:pt x="19" y="59"/>
                </a:lnTo>
                <a:lnTo>
                  <a:pt x="19" y="59"/>
                </a:lnTo>
                <a:lnTo>
                  <a:pt x="19" y="61"/>
                </a:lnTo>
                <a:lnTo>
                  <a:pt x="19" y="61"/>
                </a:lnTo>
                <a:lnTo>
                  <a:pt x="21" y="61"/>
                </a:lnTo>
                <a:lnTo>
                  <a:pt x="21" y="61"/>
                </a:lnTo>
                <a:lnTo>
                  <a:pt x="21" y="61"/>
                </a:lnTo>
                <a:lnTo>
                  <a:pt x="21" y="61"/>
                </a:lnTo>
                <a:lnTo>
                  <a:pt x="21" y="61"/>
                </a:lnTo>
                <a:lnTo>
                  <a:pt x="21" y="61"/>
                </a:lnTo>
                <a:lnTo>
                  <a:pt x="21" y="61"/>
                </a:lnTo>
                <a:lnTo>
                  <a:pt x="22" y="61"/>
                </a:lnTo>
                <a:lnTo>
                  <a:pt x="22" y="62"/>
                </a:lnTo>
                <a:lnTo>
                  <a:pt x="22" y="62"/>
                </a:lnTo>
                <a:lnTo>
                  <a:pt x="22" y="62"/>
                </a:lnTo>
                <a:lnTo>
                  <a:pt x="22" y="62"/>
                </a:lnTo>
                <a:lnTo>
                  <a:pt x="22" y="62"/>
                </a:lnTo>
                <a:lnTo>
                  <a:pt x="22" y="62"/>
                </a:lnTo>
                <a:lnTo>
                  <a:pt x="22" y="62"/>
                </a:lnTo>
                <a:lnTo>
                  <a:pt x="23" y="62"/>
                </a:lnTo>
                <a:lnTo>
                  <a:pt x="23" y="62"/>
                </a:lnTo>
                <a:lnTo>
                  <a:pt x="23" y="62"/>
                </a:lnTo>
                <a:lnTo>
                  <a:pt x="23" y="62"/>
                </a:lnTo>
                <a:lnTo>
                  <a:pt x="23" y="63"/>
                </a:lnTo>
                <a:lnTo>
                  <a:pt x="23" y="63"/>
                </a:lnTo>
                <a:lnTo>
                  <a:pt x="23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5" y="63"/>
                </a:lnTo>
                <a:lnTo>
                  <a:pt x="25" y="63"/>
                </a:lnTo>
                <a:lnTo>
                  <a:pt x="25" y="64"/>
                </a:lnTo>
                <a:lnTo>
                  <a:pt x="25" y="64"/>
                </a:lnTo>
                <a:lnTo>
                  <a:pt x="25" y="64"/>
                </a:lnTo>
                <a:lnTo>
                  <a:pt x="25" y="64"/>
                </a:lnTo>
                <a:lnTo>
                  <a:pt x="25" y="64"/>
                </a:lnTo>
                <a:lnTo>
                  <a:pt x="26" y="64"/>
                </a:lnTo>
                <a:lnTo>
                  <a:pt x="26" y="64"/>
                </a:lnTo>
                <a:lnTo>
                  <a:pt x="26" y="64"/>
                </a:lnTo>
                <a:lnTo>
                  <a:pt x="26" y="64"/>
                </a:lnTo>
                <a:lnTo>
                  <a:pt x="26" y="64"/>
                </a:lnTo>
                <a:lnTo>
                  <a:pt x="26" y="64"/>
                </a:lnTo>
                <a:lnTo>
                  <a:pt x="26" y="64"/>
                </a:lnTo>
                <a:lnTo>
                  <a:pt x="27" y="64"/>
                </a:lnTo>
                <a:lnTo>
                  <a:pt x="27" y="64"/>
                </a:lnTo>
                <a:lnTo>
                  <a:pt x="27" y="64"/>
                </a:lnTo>
                <a:lnTo>
                  <a:pt x="27" y="65"/>
                </a:lnTo>
                <a:lnTo>
                  <a:pt x="27" y="65"/>
                </a:lnTo>
                <a:lnTo>
                  <a:pt x="27" y="65"/>
                </a:lnTo>
                <a:lnTo>
                  <a:pt x="28" y="65"/>
                </a:lnTo>
                <a:lnTo>
                  <a:pt x="28" y="65"/>
                </a:lnTo>
                <a:lnTo>
                  <a:pt x="28" y="65"/>
                </a:lnTo>
                <a:lnTo>
                  <a:pt x="28" y="65"/>
                </a:lnTo>
                <a:lnTo>
                  <a:pt x="28" y="65"/>
                </a:lnTo>
                <a:lnTo>
                  <a:pt x="28" y="65"/>
                </a:lnTo>
                <a:lnTo>
                  <a:pt x="28" y="65"/>
                </a:lnTo>
                <a:lnTo>
                  <a:pt x="30" y="65"/>
                </a:lnTo>
                <a:lnTo>
                  <a:pt x="30" y="65"/>
                </a:lnTo>
                <a:lnTo>
                  <a:pt x="30" y="65"/>
                </a:lnTo>
                <a:lnTo>
                  <a:pt x="30" y="65"/>
                </a:lnTo>
                <a:lnTo>
                  <a:pt x="30" y="65"/>
                </a:lnTo>
                <a:lnTo>
                  <a:pt x="30" y="65"/>
                </a:lnTo>
                <a:lnTo>
                  <a:pt x="31" y="65"/>
                </a:lnTo>
                <a:lnTo>
                  <a:pt x="31" y="65"/>
                </a:lnTo>
                <a:lnTo>
                  <a:pt x="31" y="65"/>
                </a:lnTo>
                <a:lnTo>
                  <a:pt x="31" y="66"/>
                </a:lnTo>
                <a:lnTo>
                  <a:pt x="31" y="66"/>
                </a:lnTo>
                <a:lnTo>
                  <a:pt x="31" y="66"/>
                </a:lnTo>
                <a:lnTo>
                  <a:pt x="31" y="66"/>
                </a:lnTo>
                <a:lnTo>
                  <a:pt x="32" y="66"/>
                </a:lnTo>
                <a:lnTo>
                  <a:pt x="32" y="66"/>
                </a:lnTo>
                <a:lnTo>
                  <a:pt x="32" y="66"/>
                </a:lnTo>
                <a:lnTo>
                  <a:pt x="32" y="66"/>
                </a:lnTo>
                <a:lnTo>
                  <a:pt x="32" y="66"/>
                </a:lnTo>
                <a:lnTo>
                  <a:pt x="32" y="66"/>
                </a:lnTo>
                <a:lnTo>
                  <a:pt x="33" y="66"/>
                </a:lnTo>
                <a:lnTo>
                  <a:pt x="33" y="66"/>
                </a:lnTo>
                <a:lnTo>
                  <a:pt x="33" y="66"/>
                </a:lnTo>
                <a:lnTo>
                  <a:pt x="33" y="66"/>
                </a:lnTo>
                <a:lnTo>
                  <a:pt x="33" y="66"/>
                </a:lnTo>
                <a:lnTo>
                  <a:pt x="33" y="66"/>
                </a:lnTo>
                <a:lnTo>
                  <a:pt x="34" y="66"/>
                </a:lnTo>
                <a:lnTo>
                  <a:pt x="34" y="66"/>
                </a:lnTo>
                <a:lnTo>
                  <a:pt x="34" y="66"/>
                </a:lnTo>
                <a:lnTo>
                  <a:pt x="34" y="66"/>
                </a:lnTo>
                <a:lnTo>
                  <a:pt x="34" y="66"/>
                </a:lnTo>
                <a:lnTo>
                  <a:pt x="34" y="66"/>
                </a:lnTo>
                <a:lnTo>
                  <a:pt x="35" y="66"/>
                </a:lnTo>
                <a:lnTo>
                  <a:pt x="35" y="66"/>
                </a:lnTo>
                <a:lnTo>
                  <a:pt x="35" y="66"/>
                </a:lnTo>
                <a:lnTo>
                  <a:pt x="35" y="66"/>
                </a:lnTo>
                <a:lnTo>
                  <a:pt x="35" y="66"/>
                </a:lnTo>
                <a:lnTo>
                  <a:pt x="35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7" y="66"/>
                </a:lnTo>
                <a:lnTo>
                  <a:pt x="37" y="66"/>
                </a:lnTo>
                <a:lnTo>
                  <a:pt x="37" y="66"/>
                </a:lnTo>
                <a:lnTo>
                  <a:pt x="37" y="66"/>
                </a:lnTo>
                <a:lnTo>
                  <a:pt x="37" y="66"/>
                </a:lnTo>
                <a:lnTo>
                  <a:pt x="37" y="66"/>
                </a:lnTo>
                <a:lnTo>
                  <a:pt x="39" y="66"/>
                </a:lnTo>
                <a:lnTo>
                  <a:pt x="39" y="66"/>
                </a:lnTo>
                <a:lnTo>
                  <a:pt x="39" y="66"/>
                </a:lnTo>
                <a:lnTo>
                  <a:pt x="39" y="66"/>
                </a:lnTo>
                <a:close/>
                <a:moveTo>
                  <a:pt x="76" y="37"/>
                </a:moveTo>
                <a:lnTo>
                  <a:pt x="76" y="37"/>
                </a:lnTo>
                <a:lnTo>
                  <a:pt x="76" y="37"/>
                </a:lnTo>
                <a:lnTo>
                  <a:pt x="76" y="38"/>
                </a:lnTo>
                <a:lnTo>
                  <a:pt x="76" y="38"/>
                </a:lnTo>
                <a:lnTo>
                  <a:pt x="76" y="38"/>
                </a:lnTo>
                <a:lnTo>
                  <a:pt x="76" y="38"/>
                </a:lnTo>
                <a:lnTo>
                  <a:pt x="76" y="39"/>
                </a:lnTo>
                <a:lnTo>
                  <a:pt x="76" y="39"/>
                </a:lnTo>
                <a:lnTo>
                  <a:pt x="76" y="39"/>
                </a:lnTo>
                <a:lnTo>
                  <a:pt x="76" y="39"/>
                </a:lnTo>
                <a:lnTo>
                  <a:pt x="76" y="39"/>
                </a:lnTo>
                <a:lnTo>
                  <a:pt x="76" y="40"/>
                </a:lnTo>
                <a:lnTo>
                  <a:pt x="76" y="40"/>
                </a:lnTo>
                <a:lnTo>
                  <a:pt x="76" y="40"/>
                </a:lnTo>
                <a:lnTo>
                  <a:pt x="76" y="40"/>
                </a:lnTo>
                <a:lnTo>
                  <a:pt x="76" y="40"/>
                </a:lnTo>
                <a:lnTo>
                  <a:pt x="76" y="41"/>
                </a:lnTo>
                <a:lnTo>
                  <a:pt x="76" y="41"/>
                </a:lnTo>
                <a:lnTo>
                  <a:pt x="76" y="41"/>
                </a:lnTo>
                <a:lnTo>
                  <a:pt x="76" y="41"/>
                </a:lnTo>
                <a:lnTo>
                  <a:pt x="76" y="43"/>
                </a:lnTo>
                <a:lnTo>
                  <a:pt x="76" y="43"/>
                </a:lnTo>
                <a:lnTo>
                  <a:pt x="76" y="43"/>
                </a:lnTo>
                <a:lnTo>
                  <a:pt x="76" y="43"/>
                </a:lnTo>
                <a:lnTo>
                  <a:pt x="76" y="43"/>
                </a:lnTo>
                <a:lnTo>
                  <a:pt x="76" y="44"/>
                </a:lnTo>
                <a:lnTo>
                  <a:pt x="76" y="44"/>
                </a:lnTo>
                <a:lnTo>
                  <a:pt x="76" y="44"/>
                </a:lnTo>
                <a:lnTo>
                  <a:pt x="76" y="44"/>
                </a:lnTo>
                <a:lnTo>
                  <a:pt x="76" y="44"/>
                </a:lnTo>
                <a:lnTo>
                  <a:pt x="76" y="45"/>
                </a:lnTo>
                <a:lnTo>
                  <a:pt x="76" y="45"/>
                </a:lnTo>
                <a:lnTo>
                  <a:pt x="76" y="45"/>
                </a:lnTo>
                <a:lnTo>
                  <a:pt x="75" y="45"/>
                </a:lnTo>
                <a:lnTo>
                  <a:pt x="75" y="45"/>
                </a:lnTo>
                <a:lnTo>
                  <a:pt x="75" y="46"/>
                </a:lnTo>
                <a:lnTo>
                  <a:pt x="75" y="46"/>
                </a:lnTo>
                <a:lnTo>
                  <a:pt x="75" y="46"/>
                </a:lnTo>
                <a:lnTo>
                  <a:pt x="75" y="46"/>
                </a:lnTo>
                <a:lnTo>
                  <a:pt x="75" y="46"/>
                </a:lnTo>
                <a:lnTo>
                  <a:pt x="75" y="47"/>
                </a:lnTo>
                <a:lnTo>
                  <a:pt x="75" y="47"/>
                </a:lnTo>
                <a:lnTo>
                  <a:pt x="75" y="47"/>
                </a:lnTo>
                <a:lnTo>
                  <a:pt x="75" y="47"/>
                </a:lnTo>
                <a:lnTo>
                  <a:pt x="75" y="47"/>
                </a:lnTo>
                <a:lnTo>
                  <a:pt x="75" y="48"/>
                </a:lnTo>
                <a:lnTo>
                  <a:pt x="75" y="48"/>
                </a:lnTo>
                <a:lnTo>
                  <a:pt x="75" y="48"/>
                </a:lnTo>
                <a:lnTo>
                  <a:pt x="75" y="48"/>
                </a:lnTo>
                <a:lnTo>
                  <a:pt x="75" y="48"/>
                </a:lnTo>
                <a:lnTo>
                  <a:pt x="75" y="49"/>
                </a:lnTo>
                <a:lnTo>
                  <a:pt x="75" y="49"/>
                </a:lnTo>
                <a:lnTo>
                  <a:pt x="73" y="49"/>
                </a:lnTo>
                <a:lnTo>
                  <a:pt x="73" y="49"/>
                </a:lnTo>
                <a:lnTo>
                  <a:pt x="73" y="49"/>
                </a:lnTo>
                <a:lnTo>
                  <a:pt x="73" y="50"/>
                </a:lnTo>
                <a:lnTo>
                  <a:pt x="73" y="50"/>
                </a:lnTo>
                <a:lnTo>
                  <a:pt x="73" y="50"/>
                </a:lnTo>
                <a:lnTo>
                  <a:pt x="73" y="50"/>
                </a:lnTo>
                <a:lnTo>
                  <a:pt x="73" y="50"/>
                </a:lnTo>
                <a:lnTo>
                  <a:pt x="73" y="50"/>
                </a:lnTo>
                <a:lnTo>
                  <a:pt x="73" y="52"/>
                </a:lnTo>
                <a:lnTo>
                  <a:pt x="73" y="52"/>
                </a:lnTo>
                <a:lnTo>
                  <a:pt x="73" y="52"/>
                </a:lnTo>
                <a:lnTo>
                  <a:pt x="73" y="52"/>
                </a:lnTo>
                <a:lnTo>
                  <a:pt x="72" y="52"/>
                </a:lnTo>
                <a:lnTo>
                  <a:pt x="72" y="53"/>
                </a:lnTo>
                <a:lnTo>
                  <a:pt x="72" y="53"/>
                </a:lnTo>
                <a:lnTo>
                  <a:pt x="72" y="53"/>
                </a:lnTo>
                <a:lnTo>
                  <a:pt x="72" y="53"/>
                </a:lnTo>
                <a:lnTo>
                  <a:pt x="72" y="53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1" y="55"/>
                </a:lnTo>
                <a:lnTo>
                  <a:pt x="71" y="55"/>
                </a:lnTo>
                <a:lnTo>
                  <a:pt x="71" y="55"/>
                </a:lnTo>
                <a:lnTo>
                  <a:pt x="71" y="55"/>
                </a:lnTo>
                <a:lnTo>
                  <a:pt x="71" y="55"/>
                </a:lnTo>
                <a:lnTo>
                  <a:pt x="71" y="56"/>
                </a:lnTo>
                <a:lnTo>
                  <a:pt x="71" y="56"/>
                </a:lnTo>
                <a:lnTo>
                  <a:pt x="71" y="56"/>
                </a:lnTo>
                <a:lnTo>
                  <a:pt x="71" y="56"/>
                </a:lnTo>
                <a:lnTo>
                  <a:pt x="71" y="56"/>
                </a:lnTo>
                <a:lnTo>
                  <a:pt x="70" y="56"/>
                </a:lnTo>
                <a:lnTo>
                  <a:pt x="70" y="57"/>
                </a:lnTo>
                <a:lnTo>
                  <a:pt x="70" y="57"/>
                </a:lnTo>
                <a:lnTo>
                  <a:pt x="70" y="57"/>
                </a:lnTo>
                <a:lnTo>
                  <a:pt x="70" y="57"/>
                </a:lnTo>
                <a:lnTo>
                  <a:pt x="70" y="57"/>
                </a:lnTo>
                <a:lnTo>
                  <a:pt x="70" y="57"/>
                </a:lnTo>
                <a:lnTo>
                  <a:pt x="70" y="58"/>
                </a:lnTo>
                <a:lnTo>
                  <a:pt x="70" y="58"/>
                </a:lnTo>
                <a:lnTo>
                  <a:pt x="69" y="58"/>
                </a:lnTo>
                <a:lnTo>
                  <a:pt x="69" y="58"/>
                </a:lnTo>
                <a:lnTo>
                  <a:pt x="69" y="58"/>
                </a:lnTo>
                <a:lnTo>
                  <a:pt x="69" y="58"/>
                </a:lnTo>
                <a:lnTo>
                  <a:pt x="69" y="59"/>
                </a:lnTo>
                <a:lnTo>
                  <a:pt x="69" y="59"/>
                </a:lnTo>
                <a:lnTo>
                  <a:pt x="69" y="59"/>
                </a:lnTo>
                <a:lnTo>
                  <a:pt x="69" y="59"/>
                </a:lnTo>
                <a:lnTo>
                  <a:pt x="69" y="59"/>
                </a:lnTo>
                <a:lnTo>
                  <a:pt x="68" y="59"/>
                </a:lnTo>
                <a:lnTo>
                  <a:pt x="68" y="61"/>
                </a:lnTo>
                <a:lnTo>
                  <a:pt x="68" y="61"/>
                </a:lnTo>
                <a:lnTo>
                  <a:pt x="68" y="61"/>
                </a:lnTo>
                <a:lnTo>
                  <a:pt x="68" y="61"/>
                </a:lnTo>
                <a:lnTo>
                  <a:pt x="68" y="61"/>
                </a:lnTo>
                <a:lnTo>
                  <a:pt x="68" y="61"/>
                </a:lnTo>
                <a:lnTo>
                  <a:pt x="67" y="61"/>
                </a:lnTo>
                <a:lnTo>
                  <a:pt x="67" y="62"/>
                </a:lnTo>
                <a:lnTo>
                  <a:pt x="67" y="62"/>
                </a:lnTo>
                <a:lnTo>
                  <a:pt x="67" y="62"/>
                </a:lnTo>
                <a:lnTo>
                  <a:pt x="67" y="62"/>
                </a:lnTo>
                <a:lnTo>
                  <a:pt x="67" y="62"/>
                </a:lnTo>
                <a:lnTo>
                  <a:pt x="67" y="62"/>
                </a:lnTo>
                <a:lnTo>
                  <a:pt x="67" y="63"/>
                </a:lnTo>
                <a:lnTo>
                  <a:pt x="66" y="63"/>
                </a:lnTo>
                <a:lnTo>
                  <a:pt x="66" y="63"/>
                </a:lnTo>
                <a:lnTo>
                  <a:pt x="66" y="63"/>
                </a:lnTo>
                <a:lnTo>
                  <a:pt x="66" y="63"/>
                </a:lnTo>
                <a:lnTo>
                  <a:pt x="66" y="63"/>
                </a:lnTo>
                <a:lnTo>
                  <a:pt x="66" y="63"/>
                </a:lnTo>
                <a:lnTo>
                  <a:pt x="66" y="64"/>
                </a:lnTo>
                <a:lnTo>
                  <a:pt x="64" y="64"/>
                </a:lnTo>
                <a:lnTo>
                  <a:pt x="64" y="64"/>
                </a:lnTo>
                <a:lnTo>
                  <a:pt x="64" y="64"/>
                </a:lnTo>
                <a:lnTo>
                  <a:pt x="64" y="64"/>
                </a:lnTo>
                <a:lnTo>
                  <a:pt x="64" y="64"/>
                </a:lnTo>
                <a:lnTo>
                  <a:pt x="64" y="64"/>
                </a:lnTo>
                <a:lnTo>
                  <a:pt x="64" y="65"/>
                </a:lnTo>
                <a:lnTo>
                  <a:pt x="63" y="65"/>
                </a:lnTo>
                <a:lnTo>
                  <a:pt x="63" y="65"/>
                </a:lnTo>
                <a:lnTo>
                  <a:pt x="63" y="65"/>
                </a:lnTo>
                <a:lnTo>
                  <a:pt x="63" y="65"/>
                </a:lnTo>
                <a:lnTo>
                  <a:pt x="63" y="65"/>
                </a:lnTo>
                <a:lnTo>
                  <a:pt x="63" y="65"/>
                </a:lnTo>
                <a:lnTo>
                  <a:pt x="63" y="65"/>
                </a:lnTo>
                <a:lnTo>
                  <a:pt x="62" y="66"/>
                </a:lnTo>
                <a:lnTo>
                  <a:pt x="62" y="66"/>
                </a:lnTo>
                <a:lnTo>
                  <a:pt x="62" y="66"/>
                </a:lnTo>
                <a:lnTo>
                  <a:pt x="62" y="66"/>
                </a:lnTo>
                <a:lnTo>
                  <a:pt x="62" y="66"/>
                </a:lnTo>
                <a:lnTo>
                  <a:pt x="62" y="66"/>
                </a:lnTo>
                <a:lnTo>
                  <a:pt x="61" y="66"/>
                </a:lnTo>
                <a:lnTo>
                  <a:pt x="61" y="66"/>
                </a:lnTo>
                <a:lnTo>
                  <a:pt x="61" y="67"/>
                </a:lnTo>
                <a:lnTo>
                  <a:pt x="61" y="67"/>
                </a:lnTo>
                <a:lnTo>
                  <a:pt x="61" y="67"/>
                </a:lnTo>
                <a:lnTo>
                  <a:pt x="61" y="67"/>
                </a:lnTo>
                <a:lnTo>
                  <a:pt x="61" y="67"/>
                </a:lnTo>
                <a:lnTo>
                  <a:pt x="60" y="67"/>
                </a:lnTo>
                <a:lnTo>
                  <a:pt x="60" y="67"/>
                </a:lnTo>
                <a:lnTo>
                  <a:pt x="60" y="67"/>
                </a:lnTo>
                <a:lnTo>
                  <a:pt x="60" y="68"/>
                </a:lnTo>
                <a:lnTo>
                  <a:pt x="60" y="68"/>
                </a:lnTo>
                <a:lnTo>
                  <a:pt x="60" y="68"/>
                </a:lnTo>
                <a:lnTo>
                  <a:pt x="59" y="68"/>
                </a:lnTo>
                <a:lnTo>
                  <a:pt x="59" y="68"/>
                </a:lnTo>
                <a:lnTo>
                  <a:pt x="59" y="68"/>
                </a:lnTo>
                <a:lnTo>
                  <a:pt x="59" y="68"/>
                </a:lnTo>
                <a:lnTo>
                  <a:pt x="59" y="68"/>
                </a:lnTo>
                <a:lnTo>
                  <a:pt x="59" y="68"/>
                </a:lnTo>
                <a:lnTo>
                  <a:pt x="58" y="70"/>
                </a:lnTo>
                <a:lnTo>
                  <a:pt x="58" y="70"/>
                </a:lnTo>
                <a:lnTo>
                  <a:pt x="58" y="70"/>
                </a:lnTo>
                <a:lnTo>
                  <a:pt x="58" y="70"/>
                </a:lnTo>
                <a:lnTo>
                  <a:pt x="58" y="70"/>
                </a:lnTo>
                <a:lnTo>
                  <a:pt x="57" y="70"/>
                </a:lnTo>
                <a:lnTo>
                  <a:pt x="57" y="70"/>
                </a:lnTo>
                <a:lnTo>
                  <a:pt x="57" y="70"/>
                </a:lnTo>
                <a:lnTo>
                  <a:pt x="57" y="70"/>
                </a:lnTo>
                <a:lnTo>
                  <a:pt x="57" y="70"/>
                </a:lnTo>
                <a:lnTo>
                  <a:pt x="57" y="71"/>
                </a:lnTo>
                <a:lnTo>
                  <a:pt x="55" y="71"/>
                </a:lnTo>
                <a:lnTo>
                  <a:pt x="55" y="71"/>
                </a:lnTo>
                <a:lnTo>
                  <a:pt x="55" y="71"/>
                </a:lnTo>
                <a:lnTo>
                  <a:pt x="55" y="71"/>
                </a:lnTo>
                <a:lnTo>
                  <a:pt x="55" y="71"/>
                </a:lnTo>
                <a:lnTo>
                  <a:pt x="55" y="71"/>
                </a:lnTo>
                <a:lnTo>
                  <a:pt x="54" y="71"/>
                </a:lnTo>
                <a:lnTo>
                  <a:pt x="54" y="71"/>
                </a:lnTo>
                <a:lnTo>
                  <a:pt x="54" y="71"/>
                </a:lnTo>
                <a:lnTo>
                  <a:pt x="54" y="71"/>
                </a:lnTo>
                <a:lnTo>
                  <a:pt x="54" y="72"/>
                </a:lnTo>
                <a:lnTo>
                  <a:pt x="53" y="72"/>
                </a:lnTo>
                <a:lnTo>
                  <a:pt x="53" y="72"/>
                </a:lnTo>
                <a:lnTo>
                  <a:pt x="53" y="72"/>
                </a:lnTo>
                <a:lnTo>
                  <a:pt x="53" y="72"/>
                </a:lnTo>
                <a:lnTo>
                  <a:pt x="53" y="72"/>
                </a:lnTo>
                <a:lnTo>
                  <a:pt x="52" y="72"/>
                </a:lnTo>
                <a:lnTo>
                  <a:pt x="52" y="72"/>
                </a:lnTo>
                <a:lnTo>
                  <a:pt x="52" y="72"/>
                </a:lnTo>
                <a:lnTo>
                  <a:pt x="52" y="72"/>
                </a:lnTo>
                <a:lnTo>
                  <a:pt x="52" y="72"/>
                </a:lnTo>
                <a:lnTo>
                  <a:pt x="52" y="72"/>
                </a:lnTo>
                <a:lnTo>
                  <a:pt x="51" y="72"/>
                </a:lnTo>
                <a:lnTo>
                  <a:pt x="51" y="73"/>
                </a:lnTo>
                <a:lnTo>
                  <a:pt x="51" y="73"/>
                </a:lnTo>
                <a:lnTo>
                  <a:pt x="51" y="73"/>
                </a:lnTo>
                <a:lnTo>
                  <a:pt x="51" y="73"/>
                </a:lnTo>
                <a:lnTo>
                  <a:pt x="50" y="73"/>
                </a:lnTo>
                <a:lnTo>
                  <a:pt x="50" y="73"/>
                </a:lnTo>
                <a:lnTo>
                  <a:pt x="50" y="73"/>
                </a:lnTo>
                <a:lnTo>
                  <a:pt x="50" y="73"/>
                </a:lnTo>
                <a:lnTo>
                  <a:pt x="50" y="73"/>
                </a:lnTo>
                <a:lnTo>
                  <a:pt x="49" y="73"/>
                </a:lnTo>
                <a:lnTo>
                  <a:pt x="49" y="73"/>
                </a:lnTo>
                <a:lnTo>
                  <a:pt x="49" y="73"/>
                </a:lnTo>
                <a:lnTo>
                  <a:pt x="49" y="73"/>
                </a:lnTo>
                <a:lnTo>
                  <a:pt x="49" y="73"/>
                </a:lnTo>
                <a:lnTo>
                  <a:pt x="48" y="73"/>
                </a:lnTo>
                <a:lnTo>
                  <a:pt x="48" y="73"/>
                </a:lnTo>
                <a:lnTo>
                  <a:pt x="48" y="73"/>
                </a:lnTo>
                <a:lnTo>
                  <a:pt x="48" y="74"/>
                </a:lnTo>
                <a:lnTo>
                  <a:pt x="48" y="74"/>
                </a:lnTo>
                <a:lnTo>
                  <a:pt x="46" y="74"/>
                </a:lnTo>
                <a:lnTo>
                  <a:pt x="46" y="74"/>
                </a:lnTo>
                <a:lnTo>
                  <a:pt x="46" y="74"/>
                </a:lnTo>
                <a:lnTo>
                  <a:pt x="46" y="74"/>
                </a:lnTo>
                <a:lnTo>
                  <a:pt x="46" y="74"/>
                </a:lnTo>
                <a:lnTo>
                  <a:pt x="45" y="74"/>
                </a:lnTo>
                <a:lnTo>
                  <a:pt x="45" y="74"/>
                </a:lnTo>
                <a:lnTo>
                  <a:pt x="45" y="74"/>
                </a:lnTo>
                <a:lnTo>
                  <a:pt x="45" y="74"/>
                </a:lnTo>
                <a:lnTo>
                  <a:pt x="45" y="74"/>
                </a:lnTo>
                <a:lnTo>
                  <a:pt x="44" y="74"/>
                </a:lnTo>
                <a:lnTo>
                  <a:pt x="44" y="74"/>
                </a:lnTo>
                <a:lnTo>
                  <a:pt x="44" y="74"/>
                </a:lnTo>
                <a:lnTo>
                  <a:pt x="44" y="74"/>
                </a:lnTo>
                <a:lnTo>
                  <a:pt x="44" y="74"/>
                </a:lnTo>
                <a:lnTo>
                  <a:pt x="43" y="74"/>
                </a:lnTo>
                <a:lnTo>
                  <a:pt x="43" y="74"/>
                </a:lnTo>
                <a:lnTo>
                  <a:pt x="43" y="74"/>
                </a:lnTo>
                <a:lnTo>
                  <a:pt x="43" y="74"/>
                </a:lnTo>
                <a:lnTo>
                  <a:pt x="42" y="74"/>
                </a:lnTo>
                <a:lnTo>
                  <a:pt x="42" y="74"/>
                </a:lnTo>
                <a:lnTo>
                  <a:pt x="42" y="74"/>
                </a:lnTo>
                <a:lnTo>
                  <a:pt x="42" y="74"/>
                </a:lnTo>
                <a:lnTo>
                  <a:pt x="42" y="74"/>
                </a:lnTo>
                <a:lnTo>
                  <a:pt x="41" y="74"/>
                </a:lnTo>
                <a:lnTo>
                  <a:pt x="41" y="74"/>
                </a:lnTo>
                <a:lnTo>
                  <a:pt x="41" y="74"/>
                </a:lnTo>
                <a:lnTo>
                  <a:pt x="41" y="74"/>
                </a:lnTo>
                <a:lnTo>
                  <a:pt x="41" y="74"/>
                </a:lnTo>
                <a:lnTo>
                  <a:pt x="40" y="74"/>
                </a:lnTo>
                <a:lnTo>
                  <a:pt x="40" y="74"/>
                </a:lnTo>
                <a:lnTo>
                  <a:pt x="40" y="74"/>
                </a:lnTo>
                <a:lnTo>
                  <a:pt x="40" y="74"/>
                </a:lnTo>
                <a:lnTo>
                  <a:pt x="40" y="74"/>
                </a:lnTo>
                <a:lnTo>
                  <a:pt x="39" y="74"/>
                </a:lnTo>
                <a:lnTo>
                  <a:pt x="39" y="74"/>
                </a:lnTo>
                <a:lnTo>
                  <a:pt x="39" y="74"/>
                </a:lnTo>
                <a:lnTo>
                  <a:pt x="39" y="74"/>
                </a:lnTo>
                <a:lnTo>
                  <a:pt x="37" y="74"/>
                </a:lnTo>
                <a:lnTo>
                  <a:pt x="37" y="74"/>
                </a:lnTo>
                <a:lnTo>
                  <a:pt x="37" y="74"/>
                </a:lnTo>
                <a:lnTo>
                  <a:pt x="37" y="74"/>
                </a:lnTo>
                <a:lnTo>
                  <a:pt x="37" y="74"/>
                </a:lnTo>
                <a:lnTo>
                  <a:pt x="36" y="74"/>
                </a:lnTo>
                <a:lnTo>
                  <a:pt x="36" y="74"/>
                </a:lnTo>
                <a:lnTo>
                  <a:pt x="36" y="74"/>
                </a:lnTo>
                <a:lnTo>
                  <a:pt x="36" y="74"/>
                </a:lnTo>
                <a:lnTo>
                  <a:pt x="36" y="74"/>
                </a:lnTo>
                <a:lnTo>
                  <a:pt x="35" y="74"/>
                </a:lnTo>
                <a:lnTo>
                  <a:pt x="35" y="74"/>
                </a:lnTo>
                <a:lnTo>
                  <a:pt x="35" y="74"/>
                </a:lnTo>
                <a:lnTo>
                  <a:pt x="35" y="74"/>
                </a:lnTo>
                <a:lnTo>
                  <a:pt x="34" y="74"/>
                </a:lnTo>
                <a:lnTo>
                  <a:pt x="34" y="74"/>
                </a:lnTo>
                <a:lnTo>
                  <a:pt x="34" y="74"/>
                </a:lnTo>
                <a:lnTo>
                  <a:pt x="34" y="74"/>
                </a:lnTo>
                <a:lnTo>
                  <a:pt x="34" y="74"/>
                </a:lnTo>
                <a:lnTo>
                  <a:pt x="33" y="74"/>
                </a:lnTo>
                <a:lnTo>
                  <a:pt x="33" y="74"/>
                </a:lnTo>
                <a:lnTo>
                  <a:pt x="33" y="74"/>
                </a:lnTo>
                <a:lnTo>
                  <a:pt x="33" y="74"/>
                </a:lnTo>
                <a:lnTo>
                  <a:pt x="33" y="74"/>
                </a:lnTo>
                <a:lnTo>
                  <a:pt x="32" y="74"/>
                </a:lnTo>
                <a:lnTo>
                  <a:pt x="32" y="74"/>
                </a:lnTo>
                <a:lnTo>
                  <a:pt x="32" y="74"/>
                </a:lnTo>
                <a:lnTo>
                  <a:pt x="32" y="74"/>
                </a:lnTo>
                <a:lnTo>
                  <a:pt x="32" y="74"/>
                </a:lnTo>
                <a:lnTo>
                  <a:pt x="31" y="74"/>
                </a:lnTo>
                <a:lnTo>
                  <a:pt x="31" y="74"/>
                </a:lnTo>
                <a:lnTo>
                  <a:pt x="31" y="74"/>
                </a:lnTo>
                <a:lnTo>
                  <a:pt x="31" y="74"/>
                </a:lnTo>
                <a:lnTo>
                  <a:pt x="31" y="74"/>
                </a:lnTo>
                <a:lnTo>
                  <a:pt x="30" y="74"/>
                </a:lnTo>
                <a:lnTo>
                  <a:pt x="30" y="74"/>
                </a:lnTo>
                <a:lnTo>
                  <a:pt x="30" y="74"/>
                </a:lnTo>
                <a:lnTo>
                  <a:pt x="30" y="73"/>
                </a:lnTo>
                <a:lnTo>
                  <a:pt x="30" y="73"/>
                </a:lnTo>
                <a:lnTo>
                  <a:pt x="28" y="73"/>
                </a:lnTo>
                <a:lnTo>
                  <a:pt x="28" y="73"/>
                </a:lnTo>
                <a:lnTo>
                  <a:pt x="28" y="73"/>
                </a:lnTo>
                <a:lnTo>
                  <a:pt x="28" y="73"/>
                </a:lnTo>
                <a:lnTo>
                  <a:pt x="28" y="73"/>
                </a:lnTo>
                <a:lnTo>
                  <a:pt x="27" y="73"/>
                </a:lnTo>
                <a:lnTo>
                  <a:pt x="27" y="73"/>
                </a:lnTo>
                <a:lnTo>
                  <a:pt x="27" y="73"/>
                </a:lnTo>
                <a:lnTo>
                  <a:pt x="27" y="73"/>
                </a:lnTo>
                <a:lnTo>
                  <a:pt x="27" y="73"/>
                </a:lnTo>
                <a:lnTo>
                  <a:pt x="26" y="73"/>
                </a:lnTo>
                <a:lnTo>
                  <a:pt x="26" y="73"/>
                </a:lnTo>
                <a:lnTo>
                  <a:pt x="26" y="73"/>
                </a:lnTo>
                <a:lnTo>
                  <a:pt x="26" y="73"/>
                </a:lnTo>
                <a:lnTo>
                  <a:pt x="26" y="73"/>
                </a:lnTo>
                <a:lnTo>
                  <a:pt x="25" y="72"/>
                </a:lnTo>
                <a:lnTo>
                  <a:pt x="25" y="72"/>
                </a:lnTo>
                <a:lnTo>
                  <a:pt x="25" y="72"/>
                </a:lnTo>
                <a:lnTo>
                  <a:pt x="25" y="72"/>
                </a:lnTo>
                <a:lnTo>
                  <a:pt x="25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3" y="72"/>
                </a:lnTo>
                <a:lnTo>
                  <a:pt x="23" y="72"/>
                </a:lnTo>
                <a:lnTo>
                  <a:pt x="23" y="71"/>
                </a:lnTo>
                <a:lnTo>
                  <a:pt x="23" y="71"/>
                </a:lnTo>
                <a:lnTo>
                  <a:pt x="23" y="71"/>
                </a:lnTo>
                <a:lnTo>
                  <a:pt x="22" y="71"/>
                </a:lnTo>
                <a:lnTo>
                  <a:pt x="22" y="71"/>
                </a:lnTo>
                <a:lnTo>
                  <a:pt x="22" y="71"/>
                </a:lnTo>
                <a:lnTo>
                  <a:pt x="22" y="71"/>
                </a:lnTo>
                <a:lnTo>
                  <a:pt x="22" y="71"/>
                </a:lnTo>
                <a:lnTo>
                  <a:pt x="22" y="71"/>
                </a:lnTo>
                <a:lnTo>
                  <a:pt x="21" y="71"/>
                </a:lnTo>
                <a:lnTo>
                  <a:pt x="21" y="71"/>
                </a:lnTo>
                <a:lnTo>
                  <a:pt x="21" y="70"/>
                </a:lnTo>
                <a:lnTo>
                  <a:pt x="21" y="70"/>
                </a:lnTo>
                <a:lnTo>
                  <a:pt x="21" y="70"/>
                </a:lnTo>
                <a:lnTo>
                  <a:pt x="19" y="70"/>
                </a:lnTo>
                <a:lnTo>
                  <a:pt x="19" y="70"/>
                </a:lnTo>
                <a:lnTo>
                  <a:pt x="19" y="70"/>
                </a:lnTo>
                <a:lnTo>
                  <a:pt x="19" y="70"/>
                </a:lnTo>
                <a:lnTo>
                  <a:pt x="19" y="70"/>
                </a:lnTo>
                <a:lnTo>
                  <a:pt x="19" y="70"/>
                </a:lnTo>
                <a:lnTo>
                  <a:pt x="18" y="70"/>
                </a:lnTo>
                <a:lnTo>
                  <a:pt x="18" y="68"/>
                </a:lnTo>
                <a:lnTo>
                  <a:pt x="18" y="68"/>
                </a:lnTo>
                <a:lnTo>
                  <a:pt x="18" y="68"/>
                </a:lnTo>
                <a:lnTo>
                  <a:pt x="18" y="68"/>
                </a:lnTo>
                <a:lnTo>
                  <a:pt x="18" y="68"/>
                </a:lnTo>
                <a:lnTo>
                  <a:pt x="17" y="68"/>
                </a:lnTo>
                <a:lnTo>
                  <a:pt x="17" y="68"/>
                </a:lnTo>
                <a:lnTo>
                  <a:pt x="17" y="68"/>
                </a:lnTo>
                <a:lnTo>
                  <a:pt x="17" y="68"/>
                </a:lnTo>
                <a:lnTo>
                  <a:pt x="17" y="67"/>
                </a:lnTo>
                <a:lnTo>
                  <a:pt x="17" y="67"/>
                </a:lnTo>
                <a:lnTo>
                  <a:pt x="16" y="67"/>
                </a:lnTo>
                <a:lnTo>
                  <a:pt x="16" y="67"/>
                </a:lnTo>
                <a:lnTo>
                  <a:pt x="16" y="67"/>
                </a:lnTo>
                <a:lnTo>
                  <a:pt x="16" y="67"/>
                </a:lnTo>
                <a:lnTo>
                  <a:pt x="16" y="67"/>
                </a:lnTo>
                <a:lnTo>
                  <a:pt x="16" y="67"/>
                </a:lnTo>
                <a:lnTo>
                  <a:pt x="15" y="66"/>
                </a:lnTo>
                <a:lnTo>
                  <a:pt x="15" y="66"/>
                </a:lnTo>
                <a:lnTo>
                  <a:pt x="15" y="66"/>
                </a:lnTo>
                <a:lnTo>
                  <a:pt x="15" y="66"/>
                </a:lnTo>
                <a:lnTo>
                  <a:pt x="15" y="66"/>
                </a:lnTo>
                <a:lnTo>
                  <a:pt x="15" y="66"/>
                </a:lnTo>
                <a:lnTo>
                  <a:pt x="14" y="66"/>
                </a:lnTo>
                <a:lnTo>
                  <a:pt x="14" y="66"/>
                </a:lnTo>
                <a:lnTo>
                  <a:pt x="14" y="65"/>
                </a:lnTo>
                <a:lnTo>
                  <a:pt x="14" y="65"/>
                </a:lnTo>
                <a:lnTo>
                  <a:pt x="14" y="65"/>
                </a:lnTo>
                <a:lnTo>
                  <a:pt x="14" y="65"/>
                </a:lnTo>
                <a:lnTo>
                  <a:pt x="14" y="65"/>
                </a:lnTo>
                <a:lnTo>
                  <a:pt x="13" y="65"/>
                </a:lnTo>
                <a:lnTo>
                  <a:pt x="13" y="65"/>
                </a:lnTo>
                <a:lnTo>
                  <a:pt x="13" y="65"/>
                </a:lnTo>
                <a:lnTo>
                  <a:pt x="13" y="64"/>
                </a:lnTo>
                <a:lnTo>
                  <a:pt x="13" y="64"/>
                </a:lnTo>
                <a:lnTo>
                  <a:pt x="13" y="64"/>
                </a:lnTo>
                <a:lnTo>
                  <a:pt x="13" y="64"/>
                </a:lnTo>
                <a:lnTo>
                  <a:pt x="12" y="64"/>
                </a:lnTo>
                <a:lnTo>
                  <a:pt x="12" y="64"/>
                </a:lnTo>
                <a:lnTo>
                  <a:pt x="12" y="64"/>
                </a:lnTo>
                <a:lnTo>
                  <a:pt x="12" y="63"/>
                </a:lnTo>
                <a:lnTo>
                  <a:pt x="12" y="63"/>
                </a:lnTo>
                <a:lnTo>
                  <a:pt x="12" y="63"/>
                </a:lnTo>
                <a:lnTo>
                  <a:pt x="12" y="63"/>
                </a:lnTo>
                <a:lnTo>
                  <a:pt x="10" y="63"/>
                </a:lnTo>
                <a:lnTo>
                  <a:pt x="10" y="63"/>
                </a:lnTo>
                <a:lnTo>
                  <a:pt x="10" y="63"/>
                </a:lnTo>
                <a:lnTo>
                  <a:pt x="10" y="62"/>
                </a:lnTo>
                <a:lnTo>
                  <a:pt x="10" y="62"/>
                </a:lnTo>
                <a:lnTo>
                  <a:pt x="10" y="62"/>
                </a:lnTo>
                <a:lnTo>
                  <a:pt x="10" y="62"/>
                </a:lnTo>
                <a:lnTo>
                  <a:pt x="10" y="62"/>
                </a:lnTo>
                <a:lnTo>
                  <a:pt x="9" y="62"/>
                </a:lnTo>
                <a:lnTo>
                  <a:pt x="9" y="61"/>
                </a:lnTo>
                <a:lnTo>
                  <a:pt x="9" y="61"/>
                </a:lnTo>
                <a:lnTo>
                  <a:pt x="9" y="61"/>
                </a:lnTo>
                <a:lnTo>
                  <a:pt x="9" y="61"/>
                </a:lnTo>
                <a:lnTo>
                  <a:pt x="9" y="61"/>
                </a:lnTo>
                <a:lnTo>
                  <a:pt x="9" y="61"/>
                </a:lnTo>
                <a:lnTo>
                  <a:pt x="8" y="61"/>
                </a:lnTo>
                <a:lnTo>
                  <a:pt x="8" y="59"/>
                </a:lnTo>
                <a:lnTo>
                  <a:pt x="8" y="59"/>
                </a:lnTo>
                <a:lnTo>
                  <a:pt x="8" y="59"/>
                </a:lnTo>
                <a:lnTo>
                  <a:pt x="8" y="59"/>
                </a:lnTo>
                <a:lnTo>
                  <a:pt x="8" y="59"/>
                </a:lnTo>
                <a:lnTo>
                  <a:pt x="8" y="59"/>
                </a:lnTo>
                <a:lnTo>
                  <a:pt x="8" y="58"/>
                </a:lnTo>
                <a:lnTo>
                  <a:pt x="8" y="58"/>
                </a:lnTo>
                <a:lnTo>
                  <a:pt x="7" y="58"/>
                </a:lnTo>
                <a:lnTo>
                  <a:pt x="7" y="58"/>
                </a:lnTo>
                <a:lnTo>
                  <a:pt x="7" y="58"/>
                </a:lnTo>
                <a:lnTo>
                  <a:pt x="7" y="58"/>
                </a:lnTo>
                <a:lnTo>
                  <a:pt x="7" y="57"/>
                </a:lnTo>
                <a:lnTo>
                  <a:pt x="7" y="57"/>
                </a:lnTo>
                <a:lnTo>
                  <a:pt x="7" y="57"/>
                </a:lnTo>
                <a:lnTo>
                  <a:pt x="7" y="57"/>
                </a:lnTo>
                <a:lnTo>
                  <a:pt x="7" y="57"/>
                </a:lnTo>
                <a:lnTo>
                  <a:pt x="6" y="57"/>
                </a:lnTo>
                <a:lnTo>
                  <a:pt x="6" y="56"/>
                </a:lnTo>
                <a:lnTo>
                  <a:pt x="6" y="56"/>
                </a:lnTo>
                <a:lnTo>
                  <a:pt x="6" y="56"/>
                </a:lnTo>
                <a:lnTo>
                  <a:pt x="6" y="56"/>
                </a:lnTo>
                <a:lnTo>
                  <a:pt x="6" y="56"/>
                </a:lnTo>
                <a:lnTo>
                  <a:pt x="6" y="56"/>
                </a:lnTo>
                <a:lnTo>
                  <a:pt x="6" y="55"/>
                </a:lnTo>
                <a:lnTo>
                  <a:pt x="6" y="55"/>
                </a:lnTo>
                <a:lnTo>
                  <a:pt x="6" y="55"/>
                </a:lnTo>
                <a:lnTo>
                  <a:pt x="5" y="55"/>
                </a:lnTo>
                <a:lnTo>
                  <a:pt x="5" y="55"/>
                </a:lnTo>
                <a:lnTo>
                  <a:pt x="5" y="54"/>
                </a:lnTo>
                <a:lnTo>
                  <a:pt x="5" y="54"/>
                </a:lnTo>
                <a:lnTo>
                  <a:pt x="5" y="54"/>
                </a:lnTo>
                <a:lnTo>
                  <a:pt x="5" y="54"/>
                </a:lnTo>
                <a:lnTo>
                  <a:pt x="5" y="54"/>
                </a:lnTo>
                <a:lnTo>
                  <a:pt x="5" y="54"/>
                </a:lnTo>
                <a:lnTo>
                  <a:pt x="5" y="53"/>
                </a:lnTo>
                <a:lnTo>
                  <a:pt x="5" y="53"/>
                </a:lnTo>
                <a:lnTo>
                  <a:pt x="5" y="53"/>
                </a:lnTo>
                <a:lnTo>
                  <a:pt x="4" y="53"/>
                </a:lnTo>
                <a:lnTo>
                  <a:pt x="4" y="53"/>
                </a:lnTo>
                <a:lnTo>
                  <a:pt x="4" y="52"/>
                </a:lnTo>
                <a:lnTo>
                  <a:pt x="4" y="52"/>
                </a:lnTo>
                <a:lnTo>
                  <a:pt x="4" y="52"/>
                </a:lnTo>
                <a:lnTo>
                  <a:pt x="4" y="52"/>
                </a:lnTo>
                <a:lnTo>
                  <a:pt x="4" y="52"/>
                </a:lnTo>
                <a:lnTo>
                  <a:pt x="4" y="50"/>
                </a:lnTo>
                <a:lnTo>
                  <a:pt x="4" y="50"/>
                </a:lnTo>
                <a:lnTo>
                  <a:pt x="4" y="50"/>
                </a:lnTo>
                <a:lnTo>
                  <a:pt x="4" y="50"/>
                </a:lnTo>
                <a:lnTo>
                  <a:pt x="4" y="50"/>
                </a:lnTo>
                <a:lnTo>
                  <a:pt x="4" y="50"/>
                </a:lnTo>
                <a:lnTo>
                  <a:pt x="3" y="49"/>
                </a:lnTo>
                <a:lnTo>
                  <a:pt x="3" y="49"/>
                </a:lnTo>
                <a:lnTo>
                  <a:pt x="3" y="49"/>
                </a:lnTo>
                <a:lnTo>
                  <a:pt x="3" y="49"/>
                </a:lnTo>
                <a:lnTo>
                  <a:pt x="3" y="49"/>
                </a:lnTo>
                <a:lnTo>
                  <a:pt x="3" y="48"/>
                </a:lnTo>
                <a:lnTo>
                  <a:pt x="3" y="48"/>
                </a:lnTo>
                <a:lnTo>
                  <a:pt x="3" y="48"/>
                </a:lnTo>
                <a:lnTo>
                  <a:pt x="3" y="48"/>
                </a:lnTo>
                <a:lnTo>
                  <a:pt x="3" y="48"/>
                </a:lnTo>
                <a:lnTo>
                  <a:pt x="3" y="47"/>
                </a:lnTo>
                <a:lnTo>
                  <a:pt x="3" y="47"/>
                </a:lnTo>
                <a:lnTo>
                  <a:pt x="3" y="47"/>
                </a:lnTo>
                <a:lnTo>
                  <a:pt x="3" y="47"/>
                </a:lnTo>
                <a:lnTo>
                  <a:pt x="3" y="47"/>
                </a:lnTo>
                <a:lnTo>
                  <a:pt x="3" y="46"/>
                </a:lnTo>
                <a:lnTo>
                  <a:pt x="1" y="46"/>
                </a:lnTo>
                <a:lnTo>
                  <a:pt x="1" y="46"/>
                </a:lnTo>
                <a:lnTo>
                  <a:pt x="1" y="46"/>
                </a:lnTo>
                <a:lnTo>
                  <a:pt x="1" y="46"/>
                </a:lnTo>
                <a:lnTo>
                  <a:pt x="1" y="45"/>
                </a:lnTo>
                <a:lnTo>
                  <a:pt x="1" y="45"/>
                </a:lnTo>
                <a:lnTo>
                  <a:pt x="1" y="45"/>
                </a:lnTo>
                <a:lnTo>
                  <a:pt x="1" y="45"/>
                </a:lnTo>
                <a:lnTo>
                  <a:pt x="1" y="45"/>
                </a:lnTo>
                <a:lnTo>
                  <a:pt x="1" y="44"/>
                </a:lnTo>
                <a:lnTo>
                  <a:pt x="1" y="44"/>
                </a:lnTo>
                <a:lnTo>
                  <a:pt x="1" y="44"/>
                </a:lnTo>
                <a:lnTo>
                  <a:pt x="1" y="44"/>
                </a:lnTo>
                <a:lnTo>
                  <a:pt x="1" y="44"/>
                </a:lnTo>
                <a:lnTo>
                  <a:pt x="1" y="43"/>
                </a:lnTo>
                <a:lnTo>
                  <a:pt x="1" y="43"/>
                </a:lnTo>
                <a:lnTo>
                  <a:pt x="1" y="43"/>
                </a:lnTo>
                <a:lnTo>
                  <a:pt x="1" y="43"/>
                </a:lnTo>
                <a:lnTo>
                  <a:pt x="1" y="43"/>
                </a:lnTo>
                <a:lnTo>
                  <a:pt x="1" y="41"/>
                </a:lnTo>
                <a:lnTo>
                  <a:pt x="1" y="41"/>
                </a:lnTo>
                <a:lnTo>
                  <a:pt x="1" y="41"/>
                </a:lnTo>
                <a:lnTo>
                  <a:pt x="1" y="41"/>
                </a:lnTo>
                <a:lnTo>
                  <a:pt x="1" y="40"/>
                </a:lnTo>
                <a:lnTo>
                  <a:pt x="1" y="40"/>
                </a:lnTo>
                <a:lnTo>
                  <a:pt x="1" y="40"/>
                </a:lnTo>
                <a:lnTo>
                  <a:pt x="1" y="40"/>
                </a:lnTo>
                <a:lnTo>
                  <a:pt x="1" y="40"/>
                </a:lnTo>
                <a:lnTo>
                  <a:pt x="1" y="39"/>
                </a:lnTo>
                <a:lnTo>
                  <a:pt x="1" y="39"/>
                </a:lnTo>
                <a:lnTo>
                  <a:pt x="1" y="39"/>
                </a:lnTo>
                <a:lnTo>
                  <a:pt x="1" y="39"/>
                </a:lnTo>
                <a:lnTo>
                  <a:pt x="0" y="39"/>
                </a:lnTo>
                <a:lnTo>
                  <a:pt x="0" y="38"/>
                </a:lnTo>
                <a:lnTo>
                  <a:pt x="0" y="38"/>
                </a:lnTo>
                <a:lnTo>
                  <a:pt x="0" y="38"/>
                </a:lnTo>
                <a:lnTo>
                  <a:pt x="0" y="38"/>
                </a:lnTo>
                <a:lnTo>
                  <a:pt x="0" y="37"/>
                </a:lnTo>
                <a:lnTo>
                  <a:pt x="0" y="37"/>
                </a:lnTo>
                <a:lnTo>
                  <a:pt x="0" y="37"/>
                </a:lnTo>
                <a:lnTo>
                  <a:pt x="0" y="37"/>
                </a:lnTo>
                <a:lnTo>
                  <a:pt x="0" y="37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1" y="35"/>
                </a:lnTo>
                <a:lnTo>
                  <a:pt x="1" y="35"/>
                </a:lnTo>
                <a:lnTo>
                  <a:pt x="1" y="35"/>
                </a:lnTo>
                <a:lnTo>
                  <a:pt x="1" y="35"/>
                </a:lnTo>
                <a:lnTo>
                  <a:pt x="1" y="34"/>
                </a:lnTo>
                <a:lnTo>
                  <a:pt x="1" y="34"/>
                </a:lnTo>
                <a:lnTo>
                  <a:pt x="1" y="34"/>
                </a:lnTo>
                <a:lnTo>
                  <a:pt x="1" y="34"/>
                </a:lnTo>
                <a:lnTo>
                  <a:pt x="1" y="34"/>
                </a:lnTo>
                <a:lnTo>
                  <a:pt x="1" y="32"/>
                </a:lnTo>
                <a:lnTo>
                  <a:pt x="1" y="32"/>
                </a:lnTo>
                <a:lnTo>
                  <a:pt x="1" y="32"/>
                </a:lnTo>
                <a:lnTo>
                  <a:pt x="1" y="32"/>
                </a:lnTo>
                <a:lnTo>
                  <a:pt x="1" y="32"/>
                </a:lnTo>
                <a:lnTo>
                  <a:pt x="1" y="31"/>
                </a:lnTo>
                <a:lnTo>
                  <a:pt x="1" y="31"/>
                </a:lnTo>
                <a:lnTo>
                  <a:pt x="1" y="31"/>
                </a:lnTo>
                <a:lnTo>
                  <a:pt x="1" y="31"/>
                </a:lnTo>
                <a:lnTo>
                  <a:pt x="1" y="31"/>
                </a:lnTo>
                <a:lnTo>
                  <a:pt x="1" y="30"/>
                </a:lnTo>
                <a:lnTo>
                  <a:pt x="1" y="30"/>
                </a:lnTo>
                <a:lnTo>
                  <a:pt x="1" y="30"/>
                </a:lnTo>
                <a:lnTo>
                  <a:pt x="1" y="30"/>
                </a:lnTo>
                <a:lnTo>
                  <a:pt x="1" y="30"/>
                </a:lnTo>
                <a:lnTo>
                  <a:pt x="1" y="29"/>
                </a:lnTo>
                <a:lnTo>
                  <a:pt x="1" y="29"/>
                </a:lnTo>
                <a:lnTo>
                  <a:pt x="1" y="29"/>
                </a:lnTo>
                <a:lnTo>
                  <a:pt x="1" y="29"/>
                </a:lnTo>
                <a:lnTo>
                  <a:pt x="1" y="29"/>
                </a:lnTo>
                <a:lnTo>
                  <a:pt x="1" y="28"/>
                </a:lnTo>
                <a:lnTo>
                  <a:pt x="1" y="28"/>
                </a:lnTo>
                <a:lnTo>
                  <a:pt x="1" y="28"/>
                </a:lnTo>
                <a:lnTo>
                  <a:pt x="3" y="28"/>
                </a:lnTo>
                <a:lnTo>
                  <a:pt x="3" y="28"/>
                </a:lnTo>
                <a:lnTo>
                  <a:pt x="3" y="27"/>
                </a:lnTo>
                <a:lnTo>
                  <a:pt x="3" y="27"/>
                </a:lnTo>
                <a:lnTo>
                  <a:pt x="3" y="27"/>
                </a:lnTo>
                <a:lnTo>
                  <a:pt x="3" y="27"/>
                </a:lnTo>
                <a:lnTo>
                  <a:pt x="3" y="27"/>
                </a:lnTo>
                <a:lnTo>
                  <a:pt x="3" y="26"/>
                </a:lnTo>
                <a:lnTo>
                  <a:pt x="3" y="26"/>
                </a:lnTo>
                <a:lnTo>
                  <a:pt x="3" y="26"/>
                </a:lnTo>
                <a:lnTo>
                  <a:pt x="3" y="26"/>
                </a:lnTo>
                <a:lnTo>
                  <a:pt x="3" y="26"/>
                </a:lnTo>
                <a:lnTo>
                  <a:pt x="3" y="25"/>
                </a:lnTo>
                <a:lnTo>
                  <a:pt x="3" y="25"/>
                </a:lnTo>
                <a:lnTo>
                  <a:pt x="3" y="25"/>
                </a:lnTo>
                <a:lnTo>
                  <a:pt x="3" y="25"/>
                </a:lnTo>
                <a:lnTo>
                  <a:pt x="4" y="25"/>
                </a:lnTo>
                <a:lnTo>
                  <a:pt x="4" y="23"/>
                </a:lnTo>
                <a:lnTo>
                  <a:pt x="4" y="23"/>
                </a:lnTo>
                <a:lnTo>
                  <a:pt x="4" y="23"/>
                </a:lnTo>
                <a:lnTo>
                  <a:pt x="4" y="23"/>
                </a:lnTo>
                <a:lnTo>
                  <a:pt x="4" y="23"/>
                </a:lnTo>
                <a:lnTo>
                  <a:pt x="4" y="22"/>
                </a:lnTo>
                <a:lnTo>
                  <a:pt x="4" y="22"/>
                </a:lnTo>
                <a:lnTo>
                  <a:pt x="4" y="22"/>
                </a:lnTo>
                <a:lnTo>
                  <a:pt x="4" y="22"/>
                </a:lnTo>
                <a:lnTo>
                  <a:pt x="4" y="22"/>
                </a:lnTo>
                <a:lnTo>
                  <a:pt x="4" y="22"/>
                </a:lnTo>
                <a:lnTo>
                  <a:pt x="4" y="21"/>
                </a:lnTo>
                <a:lnTo>
                  <a:pt x="5" y="21"/>
                </a:lnTo>
                <a:lnTo>
                  <a:pt x="5" y="21"/>
                </a:lnTo>
                <a:lnTo>
                  <a:pt x="5" y="21"/>
                </a:lnTo>
                <a:lnTo>
                  <a:pt x="5" y="21"/>
                </a:lnTo>
                <a:lnTo>
                  <a:pt x="5" y="20"/>
                </a:lnTo>
                <a:lnTo>
                  <a:pt x="5" y="20"/>
                </a:lnTo>
                <a:lnTo>
                  <a:pt x="5" y="20"/>
                </a:lnTo>
                <a:lnTo>
                  <a:pt x="5" y="20"/>
                </a:lnTo>
                <a:lnTo>
                  <a:pt x="5" y="20"/>
                </a:lnTo>
                <a:lnTo>
                  <a:pt x="5" y="20"/>
                </a:lnTo>
                <a:lnTo>
                  <a:pt x="5" y="19"/>
                </a:lnTo>
                <a:lnTo>
                  <a:pt x="6" y="19"/>
                </a:lnTo>
                <a:lnTo>
                  <a:pt x="6" y="19"/>
                </a:lnTo>
                <a:lnTo>
                  <a:pt x="6" y="19"/>
                </a:lnTo>
                <a:lnTo>
                  <a:pt x="6" y="19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7" y="17"/>
                </a:lnTo>
                <a:lnTo>
                  <a:pt x="7" y="17"/>
                </a:lnTo>
                <a:lnTo>
                  <a:pt x="7" y="17"/>
                </a:lnTo>
                <a:lnTo>
                  <a:pt x="7" y="17"/>
                </a:lnTo>
                <a:lnTo>
                  <a:pt x="7" y="17"/>
                </a:lnTo>
                <a:lnTo>
                  <a:pt x="7" y="17"/>
                </a:lnTo>
                <a:lnTo>
                  <a:pt x="7" y="16"/>
                </a:lnTo>
                <a:lnTo>
                  <a:pt x="7" y="16"/>
                </a:lnTo>
                <a:lnTo>
                  <a:pt x="7" y="16"/>
                </a:lnTo>
                <a:lnTo>
                  <a:pt x="8" y="16"/>
                </a:lnTo>
                <a:lnTo>
                  <a:pt x="8" y="16"/>
                </a:lnTo>
                <a:lnTo>
                  <a:pt x="8" y="16"/>
                </a:lnTo>
                <a:lnTo>
                  <a:pt x="8" y="14"/>
                </a:lnTo>
                <a:lnTo>
                  <a:pt x="8" y="14"/>
                </a:lnTo>
                <a:lnTo>
                  <a:pt x="8" y="14"/>
                </a:lnTo>
                <a:lnTo>
                  <a:pt x="8" y="14"/>
                </a:lnTo>
                <a:lnTo>
                  <a:pt x="8" y="14"/>
                </a:lnTo>
                <a:lnTo>
                  <a:pt x="8" y="14"/>
                </a:lnTo>
                <a:lnTo>
                  <a:pt x="9" y="13"/>
                </a:lnTo>
                <a:lnTo>
                  <a:pt x="9" y="13"/>
                </a:lnTo>
                <a:lnTo>
                  <a:pt x="9" y="13"/>
                </a:lnTo>
                <a:lnTo>
                  <a:pt x="9" y="13"/>
                </a:lnTo>
                <a:lnTo>
                  <a:pt x="9" y="13"/>
                </a:lnTo>
                <a:lnTo>
                  <a:pt x="9" y="13"/>
                </a:lnTo>
                <a:lnTo>
                  <a:pt x="9" y="13"/>
                </a:lnTo>
                <a:lnTo>
                  <a:pt x="10" y="12"/>
                </a:lnTo>
                <a:lnTo>
                  <a:pt x="10" y="12"/>
                </a:lnTo>
                <a:lnTo>
                  <a:pt x="10" y="12"/>
                </a:lnTo>
                <a:lnTo>
                  <a:pt x="10" y="12"/>
                </a:lnTo>
                <a:lnTo>
                  <a:pt x="10" y="12"/>
                </a:lnTo>
                <a:lnTo>
                  <a:pt x="10" y="12"/>
                </a:lnTo>
                <a:lnTo>
                  <a:pt x="10" y="11"/>
                </a:lnTo>
                <a:lnTo>
                  <a:pt x="10" y="11"/>
                </a:lnTo>
                <a:lnTo>
                  <a:pt x="12" y="11"/>
                </a:lnTo>
                <a:lnTo>
                  <a:pt x="12" y="11"/>
                </a:lnTo>
                <a:lnTo>
                  <a:pt x="12" y="11"/>
                </a:lnTo>
                <a:lnTo>
                  <a:pt x="12" y="11"/>
                </a:lnTo>
                <a:lnTo>
                  <a:pt x="12" y="11"/>
                </a:lnTo>
                <a:lnTo>
                  <a:pt x="12" y="10"/>
                </a:lnTo>
                <a:lnTo>
                  <a:pt x="12" y="10"/>
                </a:lnTo>
                <a:lnTo>
                  <a:pt x="13" y="10"/>
                </a:lnTo>
                <a:lnTo>
                  <a:pt x="13" y="10"/>
                </a:lnTo>
                <a:lnTo>
                  <a:pt x="13" y="10"/>
                </a:lnTo>
                <a:lnTo>
                  <a:pt x="13" y="10"/>
                </a:lnTo>
                <a:lnTo>
                  <a:pt x="13" y="10"/>
                </a:lnTo>
                <a:lnTo>
                  <a:pt x="13" y="9"/>
                </a:lnTo>
                <a:lnTo>
                  <a:pt x="13" y="9"/>
                </a:lnTo>
                <a:lnTo>
                  <a:pt x="14" y="9"/>
                </a:lnTo>
                <a:lnTo>
                  <a:pt x="14" y="9"/>
                </a:lnTo>
                <a:lnTo>
                  <a:pt x="14" y="9"/>
                </a:lnTo>
                <a:lnTo>
                  <a:pt x="14" y="9"/>
                </a:lnTo>
                <a:lnTo>
                  <a:pt x="14" y="9"/>
                </a:lnTo>
                <a:lnTo>
                  <a:pt x="14" y="9"/>
                </a:lnTo>
                <a:lnTo>
                  <a:pt x="14" y="8"/>
                </a:lnTo>
                <a:lnTo>
                  <a:pt x="15" y="8"/>
                </a:lnTo>
                <a:lnTo>
                  <a:pt x="15" y="8"/>
                </a:lnTo>
                <a:lnTo>
                  <a:pt x="15" y="8"/>
                </a:lnTo>
                <a:lnTo>
                  <a:pt x="15" y="8"/>
                </a:lnTo>
                <a:lnTo>
                  <a:pt x="15" y="8"/>
                </a:lnTo>
                <a:lnTo>
                  <a:pt x="15" y="8"/>
                </a:lnTo>
                <a:lnTo>
                  <a:pt x="16" y="8"/>
                </a:lnTo>
                <a:lnTo>
                  <a:pt x="16" y="7"/>
                </a:lnTo>
                <a:lnTo>
                  <a:pt x="16" y="7"/>
                </a:lnTo>
                <a:lnTo>
                  <a:pt x="16" y="7"/>
                </a:lnTo>
                <a:lnTo>
                  <a:pt x="16" y="7"/>
                </a:lnTo>
                <a:lnTo>
                  <a:pt x="16" y="7"/>
                </a:lnTo>
                <a:lnTo>
                  <a:pt x="17" y="7"/>
                </a:lnTo>
                <a:lnTo>
                  <a:pt x="17" y="7"/>
                </a:lnTo>
                <a:lnTo>
                  <a:pt x="17" y="7"/>
                </a:lnTo>
                <a:lnTo>
                  <a:pt x="17" y="5"/>
                </a:lnTo>
                <a:lnTo>
                  <a:pt x="17" y="5"/>
                </a:lnTo>
                <a:lnTo>
                  <a:pt x="17" y="5"/>
                </a:lnTo>
                <a:lnTo>
                  <a:pt x="18" y="5"/>
                </a:lnTo>
                <a:lnTo>
                  <a:pt x="18" y="5"/>
                </a:lnTo>
                <a:lnTo>
                  <a:pt x="18" y="5"/>
                </a:lnTo>
                <a:lnTo>
                  <a:pt x="18" y="5"/>
                </a:lnTo>
                <a:lnTo>
                  <a:pt x="18" y="5"/>
                </a:lnTo>
                <a:lnTo>
                  <a:pt x="18" y="5"/>
                </a:lnTo>
                <a:lnTo>
                  <a:pt x="19" y="5"/>
                </a:lnTo>
                <a:lnTo>
                  <a:pt x="19" y="4"/>
                </a:lnTo>
                <a:lnTo>
                  <a:pt x="19" y="4"/>
                </a:lnTo>
                <a:lnTo>
                  <a:pt x="19" y="4"/>
                </a:lnTo>
                <a:lnTo>
                  <a:pt x="19" y="4"/>
                </a:lnTo>
                <a:lnTo>
                  <a:pt x="19" y="4"/>
                </a:lnTo>
                <a:lnTo>
                  <a:pt x="21" y="4"/>
                </a:lnTo>
                <a:lnTo>
                  <a:pt x="21" y="4"/>
                </a:lnTo>
                <a:lnTo>
                  <a:pt x="21" y="4"/>
                </a:lnTo>
                <a:lnTo>
                  <a:pt x="21" y="4"/>
                </a:lnTo>
                <a:lnTo>
                  <a:pt x="21" y="4"/>
                </a:lnTo>
                <a:lnTo>
                  <a:pt x="22" y="3"/>
                </a:lnTo>
                <a:lnTo>
                  <a:pt x="22" y="3"/>
                </a:lnTo>
                <a:lnTo>
                  <a:pt x="22" y="3"/>
                </a:lnTo>
                <a:lnTo>
                  <a:pt x="22" y="3"/>
                </a:lnTo>
                <a:lnTo>
                  <a:pt x="22" y="3"/>
                </a:lnTo>
                <a:lnTo>
                  <a:pt x="22" y="3"/>
                </a:lnTo>
                <a:lnTo>
                  <a:pt x="23" y="3"/>
                </a:lnTo>
                <a:lnTo>
                  <a:pt x="23" y="3"/>
                </a:lnTo>
                <a:lnTo>
                  <a:pt x="23" y="3"/>
                </a:lnTo>
                <a:lnTo>
                  <a:pt x="23" y="3"/>
                </a:lnTo>
                <a:lnTo>
                  <a:pt x="23" y="3"/>
                </a:lnTo>
                <a:lnTo>
                  <a:pt x="24" y="2"/>
                </a:lnTo>
                <a:lnTo>
                  <a:pt x="24" y="2"/>
                </a:lnTo>
                <a:lnTo>
                  <a:pt x="24" y="2"/>
                </a:lnTo>
                <a:lnTo>
                  <a:pt x="24" y="2"/>
                </a:lnTo>
                <a:lnTo>
                  <a:pt x="24" y="2"/>
                </a:lnTo>
                <a:lnTo>
                  <a:pt x="24" y="2"/>
                </a:lnTo>
                <a:lnTo>
                  <a:pt x="25" y="2"/>
                </a:lnTo>
                <a:lnTo>
                  <a:pt x="25" y="2"/>
                </a:lnTo>
                <a:lnTo>
                  <a:pt x="25" y="2"/>
                </a:lnTo>
                <a:lnTo>
                  <a:pt x="25" y="2"/>
                </a:lnTo>
                <a:lnTo>
                  <a:pt x="25" y="2"/>
                </a:lnTo>
                <a:lnTo>
                  <a:pt x="26" y="2"/>
                </a:lnTo>
                <a:lnTo>
                  <a:pt x="26" y="2"/>
                </a:lnTo>
                <a:lnTo>
                  <a:pt x="26" y="1"/>
                </a:lnTo>
                <a:lnTo>
                  <a:pt x="26" y="1"/>
                </a:lnTo>
                <a:lnTo>
                  <a:pt x="26" y="1"/>
                </a:lnTo>
                <a:lnTo>
                  <a:pt x="27" y="1"/>
                </a:lnTo>
                <a:lnTo>
                  <a:pt x="27" y="1"/>
                </a:lnTo>
                <a:lnTo>
                  <a:pt x="27" y="1"/>
                </a:lnTo>
                <a:lnTo>
                  <a:pt x="27" y="1"/>
                </a:lnTo>
                <a:lnTo>
                  <a:pt x="27" y="1"/>
                </a:lnTo>
                <a:lnTo>
                  <a:pt x="28" y="1"/>
                </a:lnTo>
                <a:lnTo>
                  <a:pt x="28" y="1"/>
                </a:lnTo>
                <a:lnTo>
                  <a:pt x="28" y="1"/>
                </a:lnTo>
                <a:lnTo>
                  <a:pt x="28" y="1"/>
                </a:lnTo>
                <a:lnTo>
                  <a:pt x="28" y="1"/>
                </a:lnTo>
                <a:lnTo>
                  <a:pt x="30" y="1"/>
                </a:lnTo>
                <a:lnTo>
                  <a:pt x="30" y="1"/>
                </a:lnTo>
                <a:lnTo>
                  <a:pt x="30" y="1"/>
                </a:lnTo>
                <a:lnTo>
                  <a:pt x="30" y="1"/>
                </a:lnTo>
                <a:lnTo>
                  <a:pt x="30" y="1"/>
                </a:lnTo>
                <a:lnTo>
                  <a:pt x="31" y="0"/>
                </a:lnTo>
                <a:lnTo>
                  <a:pt x="31" y="0"/>
                </a:lnTo>
                <a:lnTo>
                  <a:pt x="31" y="0"/>
                </a:lnTo>
                <a:lnTo>
                  <a:pt x="31" y="0"/>
                </a:lnTo>
                <a:lnTo>
                  <a:pt x="31" y="0"/>
                </a:lnTo>
                <a:lnTo>
                  <a:pt x="32" y="0"/>
                </a:lnTo>
                <a:lnTo>
                  <a:pt x="32" y="0"/>
                </a:lnTo>
                <a:lnTo>
                  <a:pt x="32" y="0"/>
                </a:lnTo>
                <a:lnTo>
                  <a:pt x="32" y="0"/>
                </a:lnTo>
                <a:lnTo>
                  <a:pt x="32" y="0"/>
                </a:lnTo>
                <a:lnTo>
                  <a:pt x="33" y="0"/>
                </a:lnTo>
                <a:lnTo>
                  <a:pt x="33" y="0"/>
                </a:lnTo>
                <a:lnTo>
                  <a:pt x="33" y="0"/>
                </a:lnTo>
                <a:lnTo>
                  <a:pt x="33" y="0"/>
                </a:lnTo>
                <a:lnTo>
                  <a:pt x="33" y="0"/>
                </a:lnTo>
                <a:lnTo>
                  <a:pt x="34" y="0"/>
                </a:lnTo>
                <a:lnTo>
                  <a:pt x="34" y="0"/>
                </a:lnTo>
                <a:lnTo>
                  <a:pt x="34" y="0"/>
                </a:lnTo>
                <a:lnTo>
                  <a:pt x="34" y="0"/>
                </a:lnTo>
                <a:lnTo>
                  <a:pt x="34" y="0"/>
                </a:lnTo>
                <a:lnTo>
                  <a:pt x="35" y="0"/>
                </a:lnTo>
                <a:lnTo>
                  <a:pt x="35" y="0"/>
                </a:lnTo>
                <a:lnTo>
                  <a:pt x="35" y="0"/>
                </a:lnTo>
                <a:lnTo>
                  <a:pt x="35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7" y="0"/>
                </a:lnTo>
                <a:lnTo>
                  <a:pt x="37" y="0"/>
                </a:lnTo>
                <a:lnTo>
                  <a:pt x="37" y="0"/>
                </a:lnTo>
                <a:lnTo>
                  <a:pt x="37" y="0"/>
                </a:lnTo>
                <a:lnTo>
                  <a:pt x="37" y="0"/>
                </a:lnTo>
                <a:lnTo>
                  <a:pt x="39" y="0"/>
                </a:lnTo>
                <a:lnTo>
                  <a:pt x="39" y="0"/>
                </a:lnTo>
                <a:lnTo>
                  <a:pt x="39" y="0"/>
                </a:lnTo>
                <a:lnTo>
                  <a:pt x="39" y="0"/>
                </a:lnTo>
                <a:lnTo>
                  <a:pt x="40" y="0"/>
                </a:lnTo>
                <a:lnTo>
                  <a:pt x="40" y="0"/>
                </a:lnTo>
                <a:lnTo>
                  <a:pt x="40" y="0"/>
                </a:lnTo>
                <a:lnTo>
                  <a:pt x="40" y="0"/>
                </a:lnTo>
                <a:lnTo>
                  <a:pt x="40" y="0"/>
                </a:lnTo>
                <a:lnTo>
                  <a:pt x="41" y="0"/>
                </a:lnTo>
                <a:lnTo>
                  <a:pt x="41" y="0"/>
                </a:lnTo>
                <a:lnTo>
                  <a:pt x="41" y="0"/>
                </a:lnTo>
                <a:lnTo>
                  <a:pt x="41" y="0"/>
                </a:lnTo>
                <a:lnTo>
                  <a:pt x="41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3" y="0"/>
                </a:lnTo>
                <a:lnTo>
                  <a:pt x="43" y="0"/>
                </a:lnTo>
                <a:lnTo>
                  <a:pt x="43" y="0"/>
                </a:lnTo>
                <a:lnTo>
                  <a:pt x="43" y="0"/>
                </a:lnTo>
                <a:lnTo>
                  <a:pt x="44" y="0"/>
                </a:lnTo>
                <a:lnTo>
                  <a:pt x="44" y="0"/>
                </a:lnTo>
                <a:lnTo>
                  <a:pt x="44" y="0"/>
                </a:lnTo>
                <a:lnTo>
                  <a:pt x="44" y="0"/>
                </a:lnTo>
                <a:lnTo>
                  <a:pt x="44" y="0"/>
                </a:lnTo>
                <a:lnTo>
                  <a:pt x="45" y="0"/>
                </a:lnTo>
                <a:lnTo>
                  <a:pt x="45" y="0"/>
                </a:lnTo>
                <a:lnTo>
                  <a:pt x="45" y="0"/>
                </a:lnTo>
                <a:lnTo>
                  <a:pt x="45" y="0"/>
                </a:lnTo>
                <a:lnTo>
                  <a:pt x="45" y="0"/>
                </a:lnTo>
                <a:lnTo>
                  <a:pt x="46" y="0"/>
                </a:lnTo>
                <a:lnTo>
                  <a:pt x="46" y="0"/>
                </a:lnTo>
                <a:lnTo>
                  <a:pt x="46" y="0"/>
                </a:lnTo>
                <a:lnTo>
                  <a:pt x="46" y="0"/>
                </a:lnTo>
                <a:lnTo>
                  <a:pt x="46" y="1"/>
                </a:lnTo>
                <a:lnTo>
                  <a:pt x="48" y="1"/>
                </a:lnTo>
                <a:lnTo>
                  <a:pt x="48" y="1"/>
                </a:lnTo>
                <a:lnTo>
                  <a:pt x="48" y="1"/>
                </a:lnTo>
                <a:lnTo>
                  <a:pt x="48" y="1"/>
                </a:lnTo>
                <a:lnTo>
                  <a:pt x="48" y="1"/>
                </a:lnTo>
                <a:lnTo>
                  <a:pt x="49" y="1"/>
                </a:lnTo>
                <a:lnTo>
                  <a:pt x="49" y="1"/>
                </a:lnTo>
                <a:lnTo>
                  <a:pt x="49" y="1"/>
                </a:lnTo>
                <a:lnTo>
                  <a:pt x="49" y="1"/>
                </a:lnTo>
                <a:lnTo>
                  <a:pt x="49" y="1"/>
                </a:lnTo>
                <a:lnTo>
                  <a:pt x="50" y="1"/>
                </a:lnTo>
                <a:lnTo>
                  <a:pt x="50" y="1"/>
                </a:lnTo>
                <a:lnTo>
                  <a:pt x="50" y="1"/>
                </a:lnTo>
                <a:lnTo>
                  <a:pt x="50" y="1"/>
                </a:lnTo>
                <a:lnTo>
                  <a:pt x="50" y="1"/>
                </a:lnTo>
                <a:lnTo>
                  <a:pt x="51" y="1"/>
                </a:lnTo>
                <a:lnTo>
                  <a:pt x="51" y="1"/>
                </a:lnTo>
                <a:lnTo>
                  <a:pt x="51" y="2"/>
                </a:lnTo>
                <a:lnTo>
                  <a:pt x="51" y="2"/>
                </a:lnTo>
                <a:lnTo>
                  <a:pt x="51" y="2"/>
                </a:lnTo>
                <a:lnTo>
                  <a:pt x="52" y="2"/>
                </a:lnTo>
                <a:lnTo>
                  <a:pt x="52" y="2"/>
                </a:lnTo>
                <a:lnTo>
                  <a:pt x="52" y="2"/>
                </a:lnTo>
                <a:lnTo>
                  <a:pt x="52" y="2"/>
                </a:lnTo>
                <a:lnTo>
                  <a:pt x="52" y="2"/>
                </a:lnTo>
                <a:lnTo>
                  <a:pt x="52" y="2"/>
                </a:lnTo>
                <a:lnTo>
                  <a:pt x="53" y="2"/>
                </a:lnTo>
                <a:lnTo>
                  <a:pt x="53" y="2"/>
                </a:lnTo>
                <a:lnTo>
                  <a:pt x="53" y="2"/>
                </a:lnTo>
                <a:lnTo>
                  <a:pt x="53" y="2"/>
                </a:lnTo>
                <a:lnTo>
                  <a:pt x="53" y="3"/>
                </a:lnTo>
                <a:lnTo>
                  <a:pt x="54" y="3"/>
                </a:lnTo>
                <a:lnTo>
                  <a:pt x="54" y="3"/>
                </a:lnTo>
                <a:lnTo>
                  <a:pt x="54" y="3"/>
                </a:lnTo>
                <a:lnTo>
                  <a:pt x="54" y="3"/>
                </a:lnTo>
                <a:lnTo>
                  <a:pt x="54" y="3"/>
                </a:lnTo>
                <a:lnTo>
                  <a:pt x="55" y="3"/>
                </a:lnTo>
                <a:lnTo>
                  <a:pt x="55" y="3"/>
                </a:lnTo>
                <a:lnTo>
                  <a:pt x="55" y="3"/>
                </a:lnTo>
                <a:lnTo>
                  <a:pt x="55" y="3"/>
                </a:lnTo>
                <a:lnTo>
                  <a:pt x="55" y="3"/>
                </a:lnTo>
                <a:lnTo>
                  <a:pt x="55" y="4"/>
                </a:lnTo>
                <a:lnTo>
                  <a:pt x="57" y="4"/>
                </a:lnTo>
                <a:lnTo>
                  <a:pt x="57" y="4"/>
                </a:lnTo>
                <a:lnTo>
                  <a:pt x="57" y="4"/>
                </a:lnTo>
                <a:lnTo>
                  <a:pt x="57" y="4"/>
                </a:lnTo>
                <a:lnTo>
                  <a:pt x="57" y="4"/>
                </a:lnTo>
                <a:lnTo>
                  <a:pt x="57" y="4"/>
                </a:lnTo>
                <a:lnTo>
                  <a:pt x="58" y="4"/>
                </a:lnTo>
                <a:lnTo>
                  <a:pt x="58" y="4"/>
                </a:lnTo>
                <a:lnTo>
                  <a:pt x="58" y="4"/>
                </a:lnTo>
                <a:lnTo>
                  <a:pt x="58" y="5"/>
                </a:lnTo>
                <a:lnTo>
                  <a:pt x="58" y="5"/>
                </a:lnTo>
                <a:lnTo>
                  <a:pt x="59" y="5"/>
                </a:lnTo>
                <a:lnTo>
                  <a:pt x="59" y="5"/>
                </a:lnTo>
                <a:lnTo>
                  <a:pt x="59" y="5"/>
                </a:lnTo>
                <a:lnTo>
                  <a:pt x="59" y="5"/>
                </a:lnTo>
                <a:lnTo>
                  <a:pt x="59" y="5"/>
                </a:lnTo>
                <a:lnTo>
                  <a:pt x="59" y="5"/>
                </a:lnTo>
                <a:lnTo>
                  <a:pt x="60" y="5"/>
                </a:lnTo>
                <a:lnTo>
                  <a:pt x="60" y="5"/>
                </a:lnTo>
                <a:lnTo>
                  <a:pt x="60" y="7"/>
                </a:lnTo>
                <a:lnTo>
                  <a:pt x="60" y="7"/>
                </a:lnTo>
                <a:lnTo>
                  <a:pt x="60" y="7"/>
                </a:lnTo>
                <a:lnTo>
                  <a:pt x="60" y="7"/>
                </a:lnTo>
                <a:lnTo>
                  <a:pt x="61" y="7"/>
                </a:lnTo>
                <a:lnTo>
                  <a:pt x="61" y="7"/>
                </a:lnTo>
                <a:lnTo>
                  <a:pt x="61" y="7"/>
                </a:lnTo>
                <a:lnTo>
                  <a:pt x="61" y="7"/>
                </a:lnTo>
                <a:lnTo>
                  <a:pt x="61" y="8"/>
                </a:lnTo>
                <a:lnTo>
                  <a:pt x="61" y="8"/>
                </a:lnTo>
                <a:lnTo>
                  <a:pt x="61" y="8"/>
                </a:lnTo>
                <a:lnTo>
                  <a:pt x="62" y="8"/>
                </a:lnTo>
                <a:lnTo>
                  <a:pt x="62" y="8"/>
                </a:lnTo>
                <a:lnTo>
                  <a:pt x="62" y="8"/>
                </a:lnTo>
                <a:lnTo>
                  <a:pt x="62" y="8"/>
                </a:lnTo>
                <a:lnTo>
                  <a:pt x="62" y="8"/>
                </a:lnTo>
                <a:lnTo>
                  <a:pt x="62" y="9"/>
                </a:lnTo>
                <a:lnTo>
                  <a:pt x="63" y="9"/>
                </a:lnTo>
                <a:lnTo>
                  <a:pt x="63" y="9"/>
                </a:lnTo>
                <a:lnTo>
                  <a:pt x="63" y="9"/>
                </a:lnTo>
                <a:lnTo>
                  <a:pt x="63" y="9"/>
                </a:lnTo>
                <a:lnTo>
                  <a:pt x="63" y="9"/>
                </a:lnTo>
                <a:lnTo>
                  <a:pt x="63" y="9"/>
                </a:lnTo>
                <a:lnTo>
                  <a:pt x="63" y="9"/>
                </a:lnTo>
                <a:lnTo>
                  <a:pt x="64" y="10"/>
                </a:lnTo>
                <a:lnTo>
                  <a:pt x="64" y="10"/>
                </a:lnTo>
                <a:lnTo>
                  <a:pt x="64" y="10"/>
                </a:lnTo>
                <a:lnTo>
                  <a:pt x="64" y="10"/>
                </a:lnTo>
                <a:lnTo>
                  <a:pt x="64" y="10"/>
                </a:lnTo>
                <a:lnTo>
                  <a:pt x="64" y="10"/>
                </a:lnTo>
                <a:lnTo>
                  <a:pt x="64" y="10"/>
                </a:lnTo>
                <a:lnTo>
                  <a:pt x="66" y="11"/>
                </a:lnTo>
                <a:lnTo>
                  <a:pt x="66" y="11"/>
                </a:lnTo>
                <a:lnTo>
                  <a:pt x="66" y="11"/>
                </a:lnTo>
                <a:lnTo>
                  <a:pt x="66" y="11"/>
                </a:lnTo>
                <a:lnTo>
                  <a:pt x="66" y="11"/>
                </a:lnTo>
                <a:lnTo>
                  <a:pt x="66" y="11"/>
                </a:lnTo>
                <a:lnTo>
                  <a:pt x="66" y="11"/>
                </a:lnTo>
                <a:lnTo>
                  <a:pt x="67" y="12"/>
                </a:lnTo>
                <a:lnTo>
                  <a:pt x="67" y="12"/>
                </a:lnTo>
                <a:lnTo>
                  <a:pt x="67" y="12"/>
                </a:lnTo>
                <a:lnTo>
                  <a:pt x="67" y="12"/>
                </a:lnTo>
                <a:lnTo>
                  <a:pt x="67" y="12"/>
                </a:lnTo>
                <a:lnTo>
                  <a:pt x="67" y="12"/>
                </a:lnTo>
                <a:lnTo>
                  <a:pt x="67" y="13"/>
                </a:lnTo>
                <a:lnTo>
                  <a:pt x="67" y="13"/>
                </a:lnTo>
                <a:lnTo>
                  <a:pt x="68" y="13"/>
                </a:lnTo>
                <a:lnTo>
                  <a:pt x="68" y="13"/>
                </a:lnTo>
                <a:lnTo>
                  <a:pt x="68" y="13"/>
                </a:lnTo>
                <a:lnTo>
                  <a:pt x="68" y="13"/>
                </a:lnTo>
                <a:lnTo>
                  <a:pt x="68" y="13"/>
                </a:lnTo>
                <a:lnTo>
                  <a:pt x="68" y="14"/>
                </a:lnTo>
                <a:lnTo>
                  <a:pt x="68" y="14"/>
                </a:lnTo>
                <a:lnTo>
                  <a:pt x="68" y="14"/>
                </a:lnTo>
                <a:lnTo>
                  <a:pt x="69" y="14"/>
                </a:lnTo>
                <a:lnTo>
                  <a:pt x="69" y="14"/>
                </a:lnTo>
                <a:lnTo>
                  <a:pt x="69" y="14"/>
                </a:lnTo>
                <a:lnTo>
                  <a:pt x="69" y="16"/>
                </a:lnTo>
                <a:lnTo>
                  <a:pt x="69" y="16"/>
                </a:lnTo>
                <a:lnTo>
                  <a:pt x="69" y="16"/>
                </a:lnTo>
                <a:lnTo>
                  <a:pt x="69" y="16"/>
                </a:lnTo>
                <a:lnTo>
                  <a:pt x="69" y="16"/>
                </a:lnTo>
                <a:lnTo>
                  <a:pt x="70" y="16"/>
                </a:lnTo>
                <a:lnTo>
                  <a:pt x="70" y="17"/>
                </a:lnTo>
                <a:lnTo>
                  <a:pt x="70" y="17"/>
                </a:lnTo>
                <a:lnTo>
                  <a:pt x="70" y="17"/>
                </a:lnTo>
                <a:lnTo>
                  <a:pt x="70" y="17"/>
                </a:lnTo>
                <a:lnTo>
                  <a:pt x="70" y="17"/>
                </a:lnTo>
                <a:lnTo>
                  <a:pt x="70" y="17"/>
                </a:lnTo>
                <a:lnTo>
                  <a:pt x="70" y="18"/>
                </a:lnTo>
                <a:lnTo>
                  <a:pt x="70" y="18"/>
                </a:lnTo>
                <a:lnTo>
                  <a:pt x="71" y="18"/>
                </a:lnTo>
                <a:lnTo>
                  <a:pt x="71" y="18"/>
                </a:lnTo>
                <a:lnTo>
                  <a:pt x="71" y="18"/>
                </a:lnTo>
                <a:lnTo>
                  <a:pt x="71" y="18"/>
                </a:lnTo>
                <a:lnTo>
                  <a:pt x="71" y="19"/>
                </a:lnTo>
                <a:lnTo>
                  <a:pt x="71" y="19"/>
                </a:lnTo>
                <a:lnTo>
                  <a:pt x="71" y="19"/>
                </a:lnTo>
                <a:lnTo>
                  <a:pt x="71" y="19"/>
                </a:lnTo>
                <a:lnTo>
                  <a:pt x="71" y="19"/>
                </a:lnTo>
                <a:lnTo>
                  <a:pt x="71" y="20"/>
                </a:lnTo>
                <a:lnTo>
                  <a:pt x="72" y="20"/>
                </a:lnTo>
                <a:lnTo>
                  <a:pt x="72" y="20"/>
                </a:lnTo>
                <a:lnTo>
                  <a:pt x="72" y="20"/>
                </a:lnTo>
                <a:lnTo>
                  <a:pt x="72" y="20"/>
                </a:lnTo>
                <a:lnTo>
                  <a:pt x="72" y="20"/>
                </a:lnTo>
                <a:lnTo>
                  <a:pt x="72" y="21"/>
                </a:lnTo>
                <a:lnTo>
                  <a:pt x="72" y="21"/>
                </a:lnTo>
                <a:lnTo>
                  <a:pt x="72" y="21"/>
                </a:lnTo>
                <a:lnTo>
                  <a:pt x="72" y="21"/>
                </a:lnTo>
                <a:lnTo>
                  <a:pt x="72" y="21"/>
                </a:lnTo>
                <a:lnTo>
                  <a:pt x="72" y="22"/>
                </a:lnTo>
                <a:lnTo>
                  <a:pt x="72" y="22"/>
                </a:lnTo>
                <a:lnTo>
                  <a:pt x="73" y="22"/>
                </a:lnTo>
                <a:lnTo>
                  <a:pt x="73" y="22"/>
                </a:lnTo>
                <a:lnTo>
                  <a:pt x="73" y="22"/>
                </a:lnTo>
                <a:lnTo>
                  <a:pt x="73" y="22"/>
                </a:lnTo>
                <a:lnTo>
                  <a:pt x="73" y="23"/>
                </a:lnTo>
                <a:lnTo>
                  <a:pt x="73" y="23"/>
                </a:lnTo>
                <a:lnTo>
                  <a:pt x="73" y="23"/>
                </a:lnTo>
                <a:lnTo>
                  <a:pt x="73" y="23"/>
                </a:lnTo>
                <a:lnTo>
                  <a:pt x="73" y="23"/>
                </a:lnTo>
                <a:lnTo>
                  <a:pt x="73" y="25"/>
                </a:lnTo>
                <a:lnTo>
                  <a:pt x="73" y="25"/>
                </a:lnTo>
                <a:lnTo>
                  <a:pt x="73" y="25"/>
                </a:lnTo>
                <a:lnTo>
                  <a:pt x="73" y="25"/>
                </a:lnTo>
                <a:lnTo>
                  <a:pt x="75" y="25"/>
                </a:lnTo>
                <a:lnTo>
                  <a:pt x="75" y="26"/>
                </a:lnTo>
                <a:lnTo>
                  <a:pt x="75" y="26"/>
                </a:lnTo>
                <a:lnTo>
                  <a:pt x="75" y="26"/>
                </a:lnTo>
                <a:lnTo>
                  <a:pt x="75" y="26"/>
                </a:lnTo>
                <a:lnTo>
                  <a:pt x="75" y="26"/>
                </a:lnTo>
                <a:lnTo>
                  <a:pt x="75" y="27"/>
                </a:lnTo>
                <a:lnTo>
                  <a:pt x="75" y="27"/>
                </a:lnTo>
                <a:lnTo>
                  <a:pt x="75" y="27"/>
                </a:lnTo>
                <a:lnTo>
                  <a:pt x="75" y="27"/>
                </a:lnTo>
                <a:lnTo>
                  <a:pt x="75" y="27"/>
                </a:lnTo>
                <a:lnTo>
                  <a:pt x="75" y="28"/>
                </a:lnTo>
                <a:lnTo>
                  <a:pt x="75" y="28"/>
                </a:lnTo>
                <a:lnTo>
                  <a:pt x="75" y="28"/>
                </a:lnTo>
                <a:lnTo>
                  <a:pt x="75" y="28"/>
                </a:lnTo>
                <a:lnTo>
                  <a:pt x="75" y="28"/>
                </a:lnTo>
                <a:lnTo>
                  <a:pt x="75" y="29"/>
                </a:lnTo>
                <a:lnTo>
                  <a:pt x="75" y="29"/>
                </a:lnTo>
                <a:lnTo>
                  <a:pt x="75" y="29"/>
                </a:lnTo>
                <a:lnTo>
                  <a:pt x="76" y="29"/>
                </a:lnTo>
                <a:lnTo>
                  <a:pt x="76" y="29"/>
                </a:lnTo>
                <a:lnTo>
                  <a:pt x="76" y="30"/>
                </a:lnTo>
                <a:lnTo>
                  <a:pt x="76" y="30"/>
                </a:lnTo>
                <a:lnTo>
                  <a:pt x="76" y="30"/>
                </a:lnTo>
                <a:lnTo>
                  <a:pt x="76" y="30"/>
                </a:lnTo>
                <a:lnTo>
                  <a:pt x="76" y="30"/>
                </a:lnTo>
                <a:lnTo>
                  <a:pt x="76" y="31"/>
                </a:lnTo>
                <a:lnTo>
                  <a:pt x="76" y="31"/>
                </a:lnTo>
                <a:lnTo>
                  <a:pt x="76" y="31"/>
                </a:lnTo>
                <a:lnTo>
                  <a:pt x="76" y="31"/>
                </a:lnTo>
                <a:lnTo>
                  <a:pt x="76" y="31"/>
                </a:lnTo>
                <a:lnTo>
                  <a:pt x="76" y="32"/>
                </a:lnTo>
                <a:lnTo>
                  <a:pt x="76" y="32"/>
                </a:lnTo>
                <a:lnTo>
                  <a:pt x="76" y="32"/>
                </a:lnTo>
                <a:lnTo>
                  <a:pt x="76" y="32"/>
                </a:lnTo>
                <a:lnTo>
                  <a:pt x="76" y="32"/>
                </a:lnTo>
                <a:lnTo>
                  <a:pt x="76" y="34"/>
                </a:lnTo>
                <a:lnTo>
                  <a:pt x="76" y="34"/>
                </a:lnTo>
                <a:lnTo>
                  <a:pt x="76" y="34"/>
                </a:lnTo>
                <a:lnTo>
                  <a:pt x="76" y="34"/>
                </a:lnTo>
                <a:lnTo>
                  <a:pt x="76" y="34"/>
                </a:lnTo>
                <a:lnTo>
                  <a:pt x="76" y="35"/>
                </a:lnTo>
                <a:lnTo>
                  <a:pt x="76" y="35"/>
                </a:lnTo>
                <a:lnTo>
                  <a:pt x="76" y="35"/>
                </a:lnTo>
                <a:lnTo>
                  <a:pt x="76" y="35"/>
                </a:lnTo>
                <a:lnTo>
                  <a:pt x="76" y="36"/>
                </a:lnTo>
                <a:lnTo>
                  <a:pt x="76" y="36"/>
                </a:lnTo>
                <a:lnTo>
                  <a:pt x="76" y="36"/>
                </a:lnTo>
                <a:lnTo>
                  <a:pt x="76" y="36"/>
                </a:lnTo>
                <a:lnTo>
                  <a:pt x="76" y="36"/>
                </a:lnTo>
                <a:lnTo>
                  <a:pt x="76" y="37"/>
                </a:lnTo>
                <a:lnTo>
                  <a:pt x="76" y="37"/>
                </a:lnTo>
                <a:lnTo>
                  <a:pt x="76" y="37"/>
                </a:lnTo>
                <a:lnTo>
                  <a:pt x="76" y="37"/>
                </a:lnTo>
                <a:close/>
                <a:moveTo>
                  <a:pt x="78" y="41"/>
                </a:moveTo>
                <a:lnTo>
                  <a:pt x="78" y="34"/>
                </a:lnTo>
                <a:lnTo>
                  <a:pt x="94" y="34"/>
                </a:lnTo>
                <a:lnTo>
                  <a:pt x="94" y="41"/>
                </a:lnTo>
                <a:lnTo>
                  <a:pt x="78" y="41"/>
                </a:lnTo>
                <a:lnTo>
                  <a:pt x="78" y="41"/>
                </a:lnTo>
                <a:close/>
                <a:moveTo>
                  <a:pt x="125" y="41"/>
                </a:moveTo>
                <a:lnTo>
                  <a:pt x="125" y="34"/>
                </a:lnTo>
                <a:lnTo>
                  <a:pt x="141" y="34"/>
                </a:lnTo>
                <a:lnTo>
                  <a:pt x="141" y="41"/>
                </a:lnTo>
                <a:lnTo>
                  <a:pt x="125" y="41"/>
                </a:lnTo>
                <a:lnTo>
                  <a:pt x="125" y="41"/>
                </a:lnTo>
                <a:close/>
                <a:moveTo>
                  <a:pt x="173" y="41"/>
                </a:moveTo>
                <a:lnTo>
                  <a:pt x="173" y="34"/>
                </a:lnTo>
                <a:lnTo>
                  <a:pt x="188" y="34"/>
                </a:lnTo>
                <a:lnTo>
                  <a:pt x="188" y="41"/>
                </a:lnTo>
                <a:lnTo>
                  <a:pt x="173" y="41"/>
                </a:lnTo>
                <a:lnTo>
                  <a:pt x="173" y="41"/>
                </a:lnTo>
                <a:close/>
                <a:moveTo>
                  <a:pt x="220" y="41"/>
                </a:moveTo>
                <a:lnTo>
                  <a:pt x="220" y="34"/>
                </a:lnTo>
                <a:lnTo>
                  <a:pt x="236" y="34"/>
                </a:lnTo>
                <a:lnTo>
                  <a:pt x="236" y="41"/>
                </a:lnTo>
                <a:lnTo>
                  <a:pt x="220" y="41"/>
                </a:lnTo>
                <a:lnTo>
                  <a:pt x="220" y="41"/>
                </a:lnTo>
                <a:close/>
                <a:moveTo>
                  <a:pt x="267" y="41"/>
                </a:moveTo>
                <a:lnTo>
                  <a:pt x="267" y="34"/>
                </a:lnTo>
                <a:lnTo>
                  <a:pt x="283" y="34"/>
                </a:lnTo>
                <a:lnTo>
                  <a:pt x="283" y="41"/>
                </a:lnTo>
                <a:lnTo>
                  <a:pt x="267" y="41"/>
                </a:lnTo>
                <a:lnTo>
                  <a:pt x="267" y="41"/>
                </a:lnTo>
                <a:close/>
                <a:moveTo>
                  <a:pt x="314" y="41"/>
                </a:moveTo>
                <a:lnTo>
                  <a:pt x="314" y="34"/>
                </a:lnTo>
                <a:lnTo>
                  <a:pt x="330" y="34"/>
                </a:lnTo>
                <a:lnTo>
                  <a:pt x="330" y="41"/>
                </a:lnTo>
                <a:lnTo>
                  <a:pt x="314" y="41"/>
                </a:lnTo>
                <a:lnTo>
                  <a:pt x="314" y="41"/>
                </a:lnTo>
                <a:close/>
                <a:moveTo>
                  <a:pt x="362" y="41"/>
                </a:moveTo>
                <a:lnTo>
                  <a:pt x="362" y="34"/>
                </a:lnTo>
                <a:lnTo>
                  <a:pt x="376" y="34"/>
                </a:lnTo>
                <a:lnTo>
                  <a:pt x="376" y="41"/>
                </a:lnTo>
                <a:lnTo>
                  <a:pt x="362" y="41"/>
                </a:lnTo>
                <a:lnTo>
                  <a:pt x="362" y="41"/>
                </a:lnTo>
                <a:close/>
                <a:moveTo>
                  <a:pt x="408" y="41"/>
                </a:moveTo>
                <a:lnTo>
                  <a:pt x="408" y="34"/>
                </a:lnTo>
                <a:lnTo>
                  <a:pt x="424" y="34"/>
                </a:lnTo>
                <a:lnTo>
                  <a:pt x="424" y="41"/>
                </a:lnTo>
                <a:lnTo>
                  <a:pt x="408" y="41"/>
                </a:lnTo>
                <a:lnTo>
                  <a:pt x="408" y="41"/>
                </a:lnTo>
                <a:close/>
                <a:moveTo>
                  <a:pt x="455" y="41"/>
                </a:moveTo>
                <a:lnTo>
                  <a:pt x="455" y="34"/>
                </a:lnTo>
                <a:lnTo>
                  <a:pt x="471" y="34"/>
                </a:lnTo>
                <a:lnTo>
                  <a:pt x="471" y="41"/>
                </a:lnTo>
                <a:lnTo>
                  <a:pt x="455" y="41"/>
                </a:lnTo>
                <a:close/>
              </a:path>
            </a:pathLst>
          </a:custGeom>
          <a:solidFill>
            <a:srgbClr val="8497B0"/>
          </a:solidFill>
          <a:ln>
            <a:solidFill>
              <a:srgbClr val="006699"/>
            </a:solidFill>
          </a:ln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1013"/>
          </a:p>
        </p:txBody>
      </p:sp>
      <p:sp>
        <p:nvSpPr>
          <p:cNvPr id="127" name="Freeform 84">
            <a:extLst>
              <a:ext uri="{FF2B5EF4-FFF2-40B4-BE49-F238E27FC236}">
                <a16:creationId xmlns:a16="http://schemas.microsoft.com/office/drawing/2014/main" id="{2AB49E3C-6251-429A-A268-08ACC0EA3A3A}"/>
              </a:ext>
            </a:extLst>
          </p:cNvPr>
          <p:cNvSpPr>
            <a:spLocks noEditPoints="1"/>
          </p:cNvSpPr>
          <p:nvPr/>
        </p:nvSpPr>
        <p:spPr bwMode="auto">
          <a:xfrm flipH="1">
            <a:off x="1958537" y="2284104"/>
            <a:ext cx="494736" cy="188416"/>
          </a:xfrm>
          <a:custGeom>
            <a:avLst/>
            <a:gdLst>
              <a:gd name="T0" fmla="*/ 43 w 534"/>
              <a:gd name="T1" fmla="*/ 203 h 211"/>
              <a:gd name="T2" fmla="*/ 50 w 534"/>
              <a:gd name="T3" fmla="*/ 201 h 211"/>
              <a:gd name="T4" fmla="*/ 54 w 534"/>
              <a:gd name="T5" fmla="*/ 197 h 211"/>
              <a:gd name="T6" fmla="*/ 60 w 534"/>
              <a:gd name="T7" fmla="*/ 194 h 211"/>
              <a:gd name="T8" fmla="*/ 63 w 534"/>
              <a:gd name="T9" fmla="*/ 190 h 211"/>
              <a:gd name="T10" fmla="*/ 66 w 534"/>
              <a:gd name="T11" fmla="*/ 184 h 211"/>
              <a:gd name="T12" fmla="*/ 68 w 534"/>
              <a:gd name="T13" fmla="*/ 178 h 211"/>
              <a:gd name="T14" fmla="*/ 68 w 534"/>
              <a:gd name="T15" fmla="*/ 171 h 211"/>
              <a:gd name="T16" fmla="*/ 67 w 534"/>
              <a:gd name="T17" fmla="*/ 165 h 211"/>
              <a:gd name="T18" fmla="*/ 64 w 534"/>
              <a:gd name="T19" fmla="*/ 159 h 211"/>
              <a:gd name="T20" fmla="*/ 61 w 534"/>
              <a:gd name="T21" fmla="*/ 155 h 211"/>
              <a:gd name="T22" fmla="*/ 57 w 534"/>
              <a:gd name="T23" fmla="*/ 150 h 211"/>
              <a:gd name="T24" fmla="*/ 52 w 534"/>
              <a:gd name="T25" fmla="*/ 147 h 211"/>
              <a:gd name="T26" fmla="*/ 46 w 534"/>
              <a:gd name="T27" fmla="*/ 144 h 211"/>
              <a:gd name="T28" fmla="*/ 40 w 534"/>
              <a:gd name="T29" fmla="*/ 143 h 211"/>
              <a:gd name="T30" fmla="*/ 34 w 534"/>
              <a:gd name="T31" fmla="*/ 144 h 211"/>
              <a:gd name="T32" fmla="*/ 27 w 534"/>
              <a:gd name="T33" fmla="*/ 146 h 211"/>
              <a:gd name="T34" fmla="*/ 23 w 534"/>
              <a:gd name="T35" fmla="*/ 148 h 211"/>
              <a:gd name="T36" fmla="*/ 17 w 534"/>
              <a:gd name="T37" fmla="*/ 152 h 211"/>
              <a:gd name="T38" fmla="*/ 14 w 534"/>
              <a:gd name="T39" fmla="*/ 157 h 211"/>
              <a:gd name="T40" fmla="*/ 10 w 534"/>
              <a:gd name="T41" fmla="*/ 162 h 211"/>
              <a:gd name="T42" fmla="*/ 9 w 534"/>
              <a:gd name="T43" fmla="*/ 168 h 211"/>
              <a:gd name="T44" fmla="*/ 9 w 534"/>
              <a:gd name="T45" fmla="*/ 175 h 211"/>
              <a:gd name="T46" fmla="*/ 9 w 534"/>
              <a:gd name="T47" fmla="*/ 181 h 211"/>
              <a:gd name="T48" fmla="*/ 12 w 534"/>
              <a:gd name="T49" fmla="*/ 186 h 211"/>
              <a:gd name="T50" fmla="*/ 15 w 534"/>
              <a:gd name="T51" fmla="*/ 192 h 211"/>
              <a:gd name="T52" fmla="*/ 19 w 534"/>
              <a:gd name="T53" fmla="*/ 196 h 211"/>
              <a:gd name="T54" fmla="*/ 24 w 534"/>
              <a:gd name="T55" fmla="*/ 200 h 211"/>
              <a:gd name="T56" fmla="*/ 31 w 534"/>
              <a:gd name="T57" fmla="*/ 202 h 211"/>
              <a:gd name="T58" fmla="*/ 36 w 534"/>
              <a:gd name="T59" fmla="*/ 203 h 211"/>
              <a:gd name="T60" fmla="*/ 76 w 534"/>
              <a:gd name="T61" fmla="*/ 178 h 211"/>
              <a:gd name="T62" fmla="*/ 73 w 534"/>
              <a:gd name="T63" fmla="*/ 186 h 211"/>
              <a:gd name="T64" fmla="*/ 70 w 534"/>
              <a:gd name="T65" fmla="*/ 193 h 211"/>
              <a:gd name="T66" fmla="*/ 66 w 534"/>
              <a:gd name="T67" fmla="*/ 199 h 211"/>
              <a:gd name="T68" fmla="*/ 60 w 534"/>
              <a:gd name="T69" fmla="*/ 204 h 211"/>
              <a:gd name="T70" fmla="*/ 53 w 534"/>
              <a:gd name="T71" fmla="*/ 208 h 211"/>
              <a:gd name="T72" fmla="*/ 45 w 534"/>
              <a:gd name="T73" fmla="*/ 210 h 211"/>
              <a:gd name="T74" fmla="*/ 37 w 534"/>
              <a:gd name="T75" fmla="*/ 211 h 211"/>
              <a:gd name="T76" fmla="*/ 30 w 534"/>
              <a:gd name="T77" fmla="*/ 210 h 211"/>
              <a:gd name="T78" fmla="*/ 23 w 534"/>
              <a:gd name="T79" fmla="*/ 208 h 211"/>
              <a:gd name="T80" fmla="*/ 16 w 534"/>
              <a:gd name="T81" fmla="*/ 203 h 211"/>
              <a:gd name="T82" fmla="*/ 10 w 534"/>
              <a:gd name="T83" fmla="*/ 199 h 211"/>
              <a:gd name="T84" fmla="*/ 6 w 534"/>
              <a:gd name="T85" fmla="*/ 192 h 211"/>
              <a:gd name="T86" fmla="*/ 3 w 534"/>
              <a:gd name="T87" fmla="*/ 185 h 211"/>
              <a:gd name="T88" fmla="*/ 1 w 534"/>
              <a:gd name="T89" fmla="*/ 177 h 211"/>
              <a:gd name="T90" fmla="*/ 1 w 534"/>
              <a:gd name="T91" fmla="*/ 168 h 211"/>
              <a:gd name="T92" fmla="*/ 3 w 534"/>
              <a:gd name="T93" fmla="*/ 161 h 211"/>
              <a:gd name="T94" fmla="*/ 6 w 534"/>
              <a:gd name="T95" fmla="*/ 153 h 211"/>
              <a:gd name="T96" fmla="*/ 10 w 534"/>
              <a:gd name="T97" fmla="*/ 148 h 211"/>
              <a:gd name="T98" fmla="*/ 16 w 534"/>
              <a:gd name="T99" fmla="*/ 142 h 211"/>
              <a:gd name="T100" fmla="*/ 23 w 534"/>
              <a:gd name="T101" fmla="*/ 139 h 211"/>
              <a:gd name="T102" fmla="*/ 31 w 534"/>
              <a:gd name="T103" fmla="*/ 137 h 211"/>
              <a:gd name="T104" fmla="*/ 39 w 534"/>
              <a:gd name="T105" fmla="*/ 135 h 211"/>
              <a:gd name="T106" fmla="*/ 46 w 534"/>
              <a:gd name="T107" fmla="*/ 137 h 211"/>
              <a:gd name="T108" fmla="*/ 54 w 534"/>
              <a:gd name="T109" fmla="*/ 139 h 211"/>
              <a:gd name="T110" fmla="*/ 61 w 534"/>
              <a:gd name="T111" fmla="*/ 143 h 211"/>
              <a:gd name="T112" fmla="*/ 67 w 534"/>
              <a:gd name="T113" fmla="*/ 148 h 211"/>
              <a:gd name="T114" fmla="*/ 71 w 534"/>
              <a:gd name="T115" fmla="*/ 155 h 211"/>
              <a:gd name="T116" fmla="*/ 75 w 534"/>
              <a:gd name="T117" fmla="*/ 161 h 211"/>
              <a:gd name="T118" fmla="*/ 76 w 534"/>
              <a:gd name="T119" fmla="*/ 169 h 211"/>
              <a:gd name="T120" fmla="*/ 188 w 534"/>
              <a:gd name="T121" fmla="*/ 177 h 211"/>
              <a:gd name="T122" fmla="*/ 456 w 534"/>
              <a:gd name="T123" fmla="*/ 169 h 2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34" h="211">
                <a:moveTo>
                  <a:pt x="534" y="16"/>
                </a:moveTo>
                <a:lnTo>
                  <a:pt x="526" y="16"/>
                </a:lnTo>
                <a:lnTo>
                  <a:pt x="526" y="0"/>
                </a:lnTo>
                <a:lnTo>
                  <a:pt x="534" y="0"/>
                </a:lnTo>
                <a:lnTo>
                  <a:pt x="534" y="16"/>
                </a:lnTo>
                <a:lnTo>
                  <a:pt x="534" y="16"/>
                </a:lnTo>
                <a:close/>
                <a:moveTo>
                  <a:pt x="39" y="203"/>
                </a:moveTo>
                <a:lnTo>
                  <a:pt x="39" y="203"/>
                </a:lnTo>
                <a:lnTo>
                  <a:pt x="39" y="203"/>
                </a:lnTo>
                <a:lnTo>
                  <a:pt x="39" y="203"/>
                </a:lnTo>
                <a:lnTo>
                  <a:pt x="40" y="203"/>
                </a:lnTo>
                <a:lnTo>
                  <a:pt x="40" y="203"/>
                </a:lnTo>
                <a:lnTo>
                  <a:pt x="40" y="203"/>
                </a:lnTo>
                <a:lnTo>
                  <a:pt x="40" y="203"/>
                </a:lnTo>
                <a:lnTo>
                  <a:pt x="40" y="203"/>
                </a:lnTo>
                <a:lnTo>
                  <a:pt x="40" y="203"/>
                </a:lnTo>
                <a:lnTo>
                  <a:pt x="41" y="203"/>
                </a:lnTo>
                <a:lnTo>
                  <a:pt x="41" y="203"/>
                </a:lnTo>
                <a:lnTo>
                  <a:pt x="41" y="203"/>
                </a:lnTo>
                <a:lnTo>
                  <a:pt x="41" y="203"/>
                </a:lnTo>
                <a:lnTo>
                  <a:pt x="41" y="203"/>
                </a:lnTo>
                <a:lnTo>
                  <a:pt x="41" y="203"/>
                </a:lnTo>
                <a:lnTo>
                  <a:pt x="42" y="203"/>
                </a:lnTo>
                <a:lnTo>
                  <a:pt x="42" y="203"/>
                </a:lnTo>
                <a:lnTo>
                  <a:pt x="42" y="203"/>
                </a:lnTo>
                <a:lnTo>
                  <a:pt x="42" y="203"/>
                </a:lnTo>
                <a:lnTo>
                  <a:pt x="42" y="203"/>
                </a:lnTo>
                <a:lnTo>
                  <a:pt x="42" y="203"/>
                </a:lnTo>
                <a:lnTo>
                  <a:pt x="43" y="203"/>
                </a:lnTo>
                <a:lnTo>
                  <a:pt x="43" y="203"/>
                </a:lnTo>
                <a:lnTo>
                  <a:pt x="43" y="203"/>
                </a:lnTo>
                <a:lnTo>
                  <a:pt x="43" y="203"/>
                </a:lnTo>
                <a:lnTo>
                  <a:pt x="43" y="203"/>
                </a:lnTo>
                <a:lnTo>
                  <a:pt x="43" y="203"/>
                </a:lnTo>
                <a:lnTo>
                  <a:pt x="44" y="202"/>
                </a:lnTo>
                <a:lnTo>
                  <a:pt x="44" y="202"/>
                </a:lnTo>
                <a:lnTo>
                  <a:pt x="44" y="202"/>
                </a:lnTo>
                <a:lnTo>
                  <a:pt x="44" y="202"/>
                </a:lnTo>
                <a:lnTo>
                  <a:pt x="44" y="202"/>
                </a:lnTo>
                <a:lnTo>
                  <a:pt x="44" y="202"/>
                </a:lnTo>
                <a:lnTo>
                  <a:pt x="45" y="202"/>
                </a:lnTo>
                <a:lnTo>
                  <a:pt x="45" y="202"/>
                </a:lnTo>
                <a:lnTo>
                  <a:pt x="45" y="202"/>
                </a:lnTo>
                <a:lnTo>
                  <a:pt x="45" y="202"/>
                </a:lnTo>
                <a:lnTo>
                  <a:pt x="45" y="202"/>
                </a:lnTo>
                <a:lnTo>
                  <a:pt x="45" y="202"/>
                </a:lnTo>
                <a:lnTo>
                  <a:pt x="45" y="202"/>
                </a:lnTo>
                <a:lnTo>
                  <a:pt x="46" y="202"/>
                </a:lnTo>
                <a:lnTo>
                  <a:pt x="46" y="202"/>
                </a:lnTo>
                <a:lnTo>
                  <a:pt x="46" y="202"/>
                </a:lnTo>
                <a:lnTo>
                  <a:pt x="46" y="202"/>
                </a:lnTo>
                <a:lnTo>
                  <a:pt x="46" y="202"/>
                </a:lnTo>
                <a:lnTo>
                  <a:pt x="46" y="202"/>
                </a:lnTo>
                <a:lnTo>
                  <a:pt x="48" y="202"/>
                </a:lnTo>
                <a:lnTo>
                  <a:pt x="48" y="202"/>
                </a:lnTo>
                <a:lnTo>
                  <a:pt x="48" y="202"/>
                </a:lnTo>
                <a:lnTo>
                  <a:pt x="48" y="202"/>
                </a:lnTo>
                <a:lnTo>
                  <a:pt x="48" y="202"/>
                </a:lnTo>
                <a:lnTo>
                  <a:pt x="48" y="202"/>
                </a:lnTo>
                <a:lnTo>
                  <a:pt x="48" y="201"/>
                </a:lnTo>
                <a:lnTo>
                  <a:pt x="49" y="201"/>
                </a:lnTo>
                <a:lnTo>
                  <a:pt x="49" y="201"/>
                </a:lnTo>
                <a:lnTo>
                  <a:pt x="49" y="201"/>
                </a:lnTo>
                <a:lnTo>
                  <a:pt x="49" y="201"/>
                </a:lnTo>
                <a:lnTo>
                  <a:pt x="49" y="201"/>
                </a:lnTo>
                <a:lnTo>
                  <a:pt x="49" y="201"/>
                </a:lnTo>
                <a:lnTo>
                  <a:pt x="50" y="201"/>
                </a:lnTo>
                <a:lnTo>
                  <a:pt x="50" y="201"/>
                </a:lnTo>
                <a:lnTo>
                  <a:pt x="50" y="201"/>
                </a:lnTo>
                <a:lnTo>
                  <a:pt x="50" y="201"/>
                </a:lnTo>
                <a:lnTo>
                  <a:pt x="50" y="201"/>
                </a:lnTo>
                <a:lnTo>
                  <a:pt x="50" y="201"/>
                </a:lnTo>
                <a:lnTo>
                  <a:pt x="50" y="201"/>
                </a:lnTo>
                <a:lnTo>
                  <a:pt x="51" y="201"/>
                </a:lnTo>
                <a:lnTo>
                  <a:pt x="51" y="201"/>
                </a:lnTo>
                <a:lnTo>
                  <a:pt x="51" y="201"/>
                </a:lnTo>
                <a:lnTo>
                  <a:pt x="51" y="200"/>
                </a:lnTo>
                <a:lnTo>
                  <a:pt x="51" y="200"/>
                </a:lnTo>
                <a:lnTo>
                  <a:pt x="51" y="200"/>
                </a:lnTo>
                <a:lnTo>
                  <a:pt x="51" y="200"/>
                </a:lnTo>
                <a:lnTo>
                  <a:pt x="52" y="200"/>
                </a:lnTo>
                <a:lnTo>
                  <a:pt x="52" y="200"/>
                </a:lnTo>
                <a:lnTo>
                  <a:pt x="52" y="200"/>
                </a:lnTo>
                <a:lnTo>
                  <a:pt x="52" y="200"/>
                </a:lnTo>
                <a:lnTo>
                  <a:pt x="52" y="200"/>
                </a:lnTo>
                <a:lnTo>
                  <a:pt x="52" y="200"/>
                </a:lnTo>
                <a:lnTo>
                  <a:pt x="52" y="200"/>
                </a:lnTo>
                <a:lnTo>
                  <a:pt x="53" y="200"/>
                </a:lnTo>
                <a:lnTo>
                  <a:pt x="53" y="200"/>
                </a:lnTo>
                <a:lnTo>
                  <a:pt x="53" y="199"/>
                </a:lnTo>
                <a:lnTo>
                  <a:pt x="53" y="199"/>
                </a:lnTo>
                <a:lnTo>
                  <a:pt x="53" y="199"/>
                </a:lnTo>
                <a:lnTo>
                  <a:pt x="53" y="199"/>
                </a:lnTo>
                <a:lnTo>
                  <a:pt x="53" y="199"/>
                </a:lnTo>
                <a:lnTo>
                  <a:pt x="54" y="199"/>
                </a:lnTo>
                <a:lnTo>
                  <a:pt x="54" y="199"/>
                </a:lnTo>
                <a:lnTo>
                  <a:pt x="54" y="199"/>
                </a:lnTo>
                <a:lnTo>
                  <a:pt x="54" y="199"/>
                </a:lnTo>
                <a:lnTo>
                  <a:pt x="54" y="199"/>
                </a:lnTo>
                <a:lnTo>
                  <a:pt x="54" y="199"/>
                </a:lnTo>
                <a:lnTo>
                  <a:pt x="54" y="199"/>
                </a:lnTo>
                <a:lnTo>
                  <a:pt x="54" y="197"/>
                </a:lnTo>
                <a:lnTo>
                  <a:pt x="55" y="197"/>
                </a:lnTo>
                <a:lnTo>
                  <a:pt x="55" y="197"/>
                </a:lnTo>
                <a:lnTo>
                  <a:pt x="55" y="197"/>
                </a:lnTo>
                <a:lnTo>
                  <a:pt x="55" y="197"/>
                </a:lnTo>
                <a:lnTo>
                  <a:pt x="55" y="197"/>
                </a:lnTo>
                <a:lnTo>
                  <a:pt x="55" y="197"/>
                </a:lnTo>
                <a:lnTo>
                  <a:pt x="55" y="197"/>
                </a:lnTo>
                <a:lnTo>
                  <a:pt x="55" y="197"/>
                </a:lnTo>
                <a:lnTo>
                  <a:pt x="57" y="197"/>
                </a:lnTo>
                <a:lnTo>
                  <a:pt x="57" y="197"/>
                </a:lnTo>
                <a:lnTo>
                  <a:pt x="57" y="196"/>
                </a:lnTo>
                <a:lnTo>
                  <a:pt x="57" y="196"/>
                </a:lnTo>
                <a:lnTo>
                  <a:pt x="57" y="196"/>
                </a:lnTo>
                <a:lnTo>
                  <a:pt x="57" y="196"/>
                </a:lnTo>
                <a:lnTo>
                  <a:pt x="57" y="196"/>
                </a:lnTo>
                <a:lnTo>
                  <a:pt x="57" y="196"/>
                </a:lnTo>
                <a:lnTo>
                  <a:pt x="58" y="196"/>
                </a:lnTo>
                <a:lnTo>
                  <a:pt x="58" y="196"/>
                </a:lnTo>
                <a:lnTo>
                  <a:pt x="58" y="196"/>
                </a:lnTo>
                <a:lnTo>
                  <a:pt x="58" y="196"/>
                </a:lnTo>
                <a:lnTo>
                  <a:pt x="58" y="195"/>
                </a:lnTo>
                <a:lnTo>
                  <a:pt x="58" y="195"/>
                </a:lnTo>
                <a:lnTo>
                  <a:pt x="58" y="195"/>
                </a:lnTo>
                <a:lnTo>
                  <a:pt x="58" y="195"/>
                </a:lnTo>
                <a:lnTo>
                  <a:pt x="59" y="195"/>
                </a:lnTo>
                <a:lnTo>
                  <a:pt x="59" y="195"/>
                </a:lnTo>
                <a:lnTo>
                  <a:pt x="59" y="195"/>
                </a:lnTo>
                <a:lnTo>
                  <a:pt x="59" y="195"/>
                </a:lnTo>
                <a:lnTo>
                  <a:pt x="59" y="195"/>
                </a:lnTo>
                <a:lnTo>
                  <a:pt x="59" y="195"/>
                </a:lnTo>
                <a:lnTo>
                  <a:pt x="59" y="194"/>
                </a:lnTo>
                <a:lnTo>
                  <a:pt x="59" y="194"/>
                </a:lnTo>
                <a:lnTo>
                  <a:pt x="60" y="194"/>
                </a:lnTo>
                <a:lnTo>
                  <a:pt x="60" y="194"/>
                </a:lnTo>
                <a:lnTo>
                  <a:pt x="60" y="194"/>
                </a:lnTo>
                <a:lnTo>
                  <a:pt x="60" y="194"/>
                </a:lnTo>
                <a:lnTo>
                  <a:pt x="60" y="194"/>
                </a:lnTo>
                <a:lnTo>
                  <a:pt x="60" y="194"/>
                </a:lnTo>
                <a:lnTo>
                  <a:pt x="60" y="193"/>
                </a:lnTo>
                <a:lnTo>
                  <a:pt x="60" y="193"/>
                </a:lnTo>
                <a:lnTo>
                  <a:pt x="60" y="193"/>
                </a:lnTo>
                <a:lnTo>
                  <a:pt x="60" y="193"/>
                </a:lnTo>
                <a:lnTo>
                  <a:pt x="61" y="193"/>
                </a:lnTo>
                <a:lnTo>
                  <a:pt x="61" y="193"/>
                </a:lnTo>
                <a:lnTo>
                  <a:pt x="61" y="193"/>
                </a:lnTo>
                <a:lnTo>
                  <a:pt x="61" y="193"/>
                </a:lnTo>
                <a:lnTo>
                  <a:pt x="61" y="193"/>
                </a:lnTo>
                <a:lnTo>
                  <a:pt x="61" y="192"/>
                </a:lnTo>
                <a:lnTo>
                  <a:pt x="61" y="192"/>
                </a:lnTo>
                <a:lnTo>
                  <a:pt x="61" y="192"/>
                </a:lnTo>
                <a:lnTo>
                  <a:pt x="61" y="192"/>
                </a:lnTo>
                <a:lnTo>
                  <a:pt x="62" y="192"/>
                </a:lnTo>
                <a:lnTo>
                  <a:pt x="62" y="192"/>
                </a:lnTo>
                <a:lnTo>
                  <a:pt x="62" y="192"/>
                </a:lnTo>
                <a:lnTo>
                  <a:pt x="62" y="192"/>
                </a:lnTo>
                <a:lnTo>
                  <a:pt x="62" y="191"/>
                </a:lnTo>
                <a:lnTo>
                  <a:pt x="62" y="191"/>
                </a:lnTo>
                <a:lnTo>
                  <a:pt x="62" y="191"/>
                </a:lnTo>
                <a:lnTo>
                  <a:pt x="62" y="191"/>
                </a:lnTo>
                <a:lnTo>
                  <a:pt x="62" y="191"/>
                </a:lnTo>
                <a:lnTo>
                  <a:pt x="62" y="191"/>
                </a:lnTo>
                <a:lnTo>
                  <a:pt x="62" y="191"/>
                </a:lnTo>
                <a:lnTo>
                  <a:pt x="63" y="191"/>
                </a:lnTo>
                <a:lnTo>
                  <a:pt x="63" y="190"/>
                </a:lnTo>
                <a:lnTo>
                  <a:pt x="63" y="190"/>
                </a:lnTo>
                <a:lnTo>
                  <a:pt x="63" y="190"/>
                </a:lnTo>
                <a:lnTo>
                  <a:pt x="63" y="190"/>
                </a:lnTo>
                <a:lnTo>
                  <a:pt x="63" y="190"/>
                </a:lnTo>
                <a:lnTo>
                  <a:pt x="63" y="190"/>
                </a:lnTo>
                <a:lnTo>
                  <a:pt x="63" y="190"/>
                </a:lnTo>
                <a:lnTo>
                  <a:pt x="63" y="188"/>
                </a:lnTo>
                <a:lnTo>
                  <a:pt x="63" y="188"/>
                </a:lnTo>
                <a:lnTo>
                  <a:pt x="63" y="188"/>
                </a:lnTo>
                <a:lnTo>
                  <a:pt x="63" y="188"/>
                </a:lnTo>
                <a:lnTo>
                  <a:pt x="64" y="188"/>
                </a:lnTo>
                <a:lnTo>
                  <a:pt x="64" y="188"/>
                </a:lnTo>
                <a:lnTo>
                  <a:pt x="64" y="188"/>
                </a:lnTo>
                <a:lnTo>
                  <a:pt x="64" y="188"/>
                </a:lnTo>
                <a:lnTo>
                  <a:pt x="64" y="187"/>
                </a:lnTo>
                <a:lnTo>
                  <a:pt x="64" y="187"/>
                </a:lnTo>
                <a:lnTo>
                  <a:pt x="64" y="187"/>
                </a:lnTo>
                <a:lnTo>
                  <a:pt x="64" y="187"/>
                </a:lnTo>
                <a:lnTo>
                  <a:pt x="64" y="187"/>
                </a:lnTo>
                <a:lnTo>
                  <a:pt x="64" y="187"/>
                </a:lnTo>
                <a:lnTo>
                  <a:pt x="64" y="187"/>
                </a:lnTo>
                <a:lnTo>
                  <a:pt x="64" y="186"/>
                </a:lnTo>
                <a:lnTo>
                  <a:pt x="64" y="186"/>
                </a:lnTo>
                <a:lnTo>
                  <a:pt x="66" y="186"/>
                </a:lnTo>
                <a:lnTo>
                  <a:pt x="66" y="186"/>
                </a:lnTo>
                <a:lnTo>
                  <a:pt x="66" y="186"/>
                </a:lnTo>
                <a:lnTo>
                  <a:pt x="66" y="186"/>
                </a:lnTo>
                <a:lnTo>
                  <a:pt x="66" y="186"/>
                </a:lnTo>
                <a:lnTo>
                  <a:pt x="66" y="185"/>
                </a:lnTo>
                <a:lnTo>
                  <a:pt x="66" y="185"/>
                </a:lnTo>
                <a:lnTo>
                  <a:pt x="66" y="185"/>
                </a:lnTo>
                <a:lnTo>
                  <a:pt x="66" y="185"/>
                </a:lnTo>
                <a:lnTo>
                  <a:pt x="66" y="185"/>
                </a:lnTo>
                <a:lnTo>
                  <a:pt x="66" y="185"/>
                </a:lnTo>
                <a:lnTo>
                  <a:pt x="66" y="184"/>
                </a:lnTo>
                <a:lnTo>
                  <a:pt x="66" y="184"/>
                </a:lnTo>
                <a:lnTo>
                  <a:pt x="66" y="184"/>
                </a:lnTo>
                <a:lnTo>
                  <a:pt x="66" y="184"/>
                </a:lnTo>
                <a:lnTo>
                  <a:pt x="67" y="184"/>
                </a:lnTo>
                <a:lnTo>
                  <a:pt x="67" y="184"/>
                </a:lnTo>
                <a:lnTo>
                  <a:pt x="67" y="184"/>
                </a:lnTo>
                <a:lnTo>
                  <a:pt x="67" y="183"/>
                </a:lnTo>
                <a:lnTo>
                  <a:pt x="67" y="183"/>
                </a:lnTo>
                <a:lnTo>
                  <a:pt x="67" y="183"/>
                </a:lnTo>
                <a:lnTo>
                  <a:pt x="67" y="183"/>
                </a:lnTo>
                <a:lnTo>
                  <a:pt x="67" y="183"/>
                </a:lnTo>
                <a:lnTo>
                  <a:pt x="67" y="183"/>
                </a:lnTo>
                <a:lnTo>
                  <a:pt x="67" y="183"/>
                </a:lnTo>
                <a:lnTo>
                  <a:pt x="67" y="182"/>
                </a:lnTo>
                <a:lnTo>
                  <a:pt x="67" y="182"/>
                </a:lnTo>
                <a:lnTo>
                  <a:pt x="67" y="182"/>
                </a:lnTo>
                <a:lnTo>
                  <a:pt x="67" y="182"/>
                </a:lnTo>
                <a:lnTo>
                  <a:pt x="67" y="182"/>
                </a:lnTo>
                <a:lnTo>
                  <a:pt x="67" y="182"/>
                </a:lnTo>
                <a:lnTo>
                  <a:pt x="67" y="181"/>
                </a:lnTo>
                <a:lnTo>
                  <a:pt x="67" y="181"/>
                </a:lnTo>
                <a:lnTo>
                  <a:pt x="67" y="181"/>
                </a:lnTo>
                <a:lnTo>
                  <a:pt x="67" y="181"/>
                </a:lnTo>
                <a:lnTo>
                  <a:pt x="67" y="181"/>
                </a:lnTo>
                <a:lnTo>
                  <a:pt x="68" y="181"/>
                </a:lnTo>
                <a:lnTo>
                  <a:pt x="68" y="179"/>
                </a:lnTo>
                <a:lnTo>
                  <a:pt x="68" y="179"/>
                </a:lnTo>
                <a:lnTo>
                  <a:pt x="68" y="179"/>
                </a:lnTo>
                <a:lnTo>
                  <a:pt x="68" y="179"/>
                </a:lnTo>
                <a:lnTo>
                  <a:pt x="68" y="179"/>
                </a:lnTo>
                <a:lnTo>
                  <a:pt x="68" y="179"/>
                </a:lnTo>
                <a:lnTo>
                  <a:pt x="68" y="179"/>
                </a:lnTo>
                <a:lnTo>
                  <a:pt x="68" y="178"/>
                </a:lnTo>
                <a:lnTo>
                  <a:pt x="68" y="178"/>
                </a:lnTo>
                <a:lnTo>
                  <a:pt x="68" y="178"/>
                </a:lnTo>
                <a:lnTo>
                  <a:pt x="68" y="178"/>
                </a:lnTo>
                <a:lnTo>
                  <a:pt x="68" y="178"/>
                </a:lnTo>
                <a:lnTo>
                  <a:pt x="68" y="178"/>
                </a:lnTo>
                <a:lnTo>
                  <a:pt x="68" y="177"/>
                </a:lnTo>
                <a:lnTo>
                  <a:pt x="68" y="177"/>
                </a:lnTo>
                <a:lnTo>
                  <a:pt x="68" y="177"/>
                </a:lnTo>
                <a:lnTo>
                  <a:pt x="68" y="177"/>
                </a:lnTo>
                <a:lnTo>
                  <a:pt x="68" y="177"/>
                </a:lnTo>
                <a:lnTo>
                  <a:pt x="68" y="177"/>
                </a:lnTo>
                <a:lnTo>
                  <a:pt x="68" y="176"/>
                </a:lnTo>
                <a:lnTo>
                  <a:pt x="68" y="176"/>
                </a:lnTo>
                <a:lnTo>
                  <a:pt x="68" y="176"/>
                </a:lnTo>
                <a:lnTo>
                  <a:pt x="68" y="176"/>
                </a:lnTo>
                <a:lnTo>
                  <a:pt x="68" y="176"/>
                </a:lnTo>
                <a:lnTo>
                  <a:pt x="68" y="176"/>
                </a:lnTo>
                <a:lnTo>
                  <a:pt x="68" y="175"/>
                </a:lnTo>
                <a:lnTo>
                  <a:pt x="68" y="175"/>
                </a:lnTo>
                <a:lnTo>
                  <a:pt x="68" y="175"/>
                </a:lnTo>
                <a:lnTo>
                  <a:pt x="68" y="175"/>
                </a:lnTo>
                <a:lnTo>
                  <a:pt x="68" y="175"/>
                </a:lnTo>
                <a:lnTo>
                  <a:pt x="68" y="175"/>
                </a:lnTo>
                <a:lnTo>
                  <a:pt x="68" y="174"/>
                </a:lnTo>
                <a:lnTo>
                  <a:pt x="68" y="174"/>
                </a:lnTo>
                <a:lnTo>
                  <a:pt x="68" y="174"/>
                </a:lnTo>
                <a:lnTo>
                  <a:pt x="68" y="174"/>
                </a:lnTo>
                <a:lnTo>
                  <a:pt x="68" y="174"/>
                </a:lnTo>
                <a:lnTo>
                  <a:pt x="68" y="174"/>
                </a:lnTo>
                <a:lnTo>
                  <a:pt x="68" y="173"/>
                </a:lnTo>
                <a:lnTo>
                  <a:pt x="68" y="173"/>
                </a:lnTo>
                <a:lnTo>
                  <a:pt x="68" y="173"/>
                </a:lnTo>
                <a:lnTo>
                  <a:pt x="68" y="173"/>
                </a:lnTo>
                <a:lnTo>
                  <a:pt x="68" y="173"/>
                </a:lnTo>
                <a:lnTo>
                  <a:pt x="68" y="173"/>
                </a:lnTo>
                <a:lnTo>
                  <a:pt x="68" y="171"/>
                </a:lnTo>
                <a:lnTo>
                  <a:pt x="68" y="171"/>
                </a:lnTo>
                <a:lnTo>
                  <a:pt x="68" y="171"/>
                </a:lnTo>
                <a:lnTo>
                  <a:pt x="68" y="171"/>
                </a:lnTo>
                <a:lnTo>
                  <a:pt x="68" y="171"/>
                </a:lnTo>
                <a:lnTo>
                  <a:pt x="68" y="171"/>
                </a:lnTo>
                <a:lnTo>
                  <a:pt x="68" y="170"/>
                </a:lnTo>
                <a:lnTo>
                  <a:pt x="68" y="170"/>
                </a:lnTo>
                <a:lnTo>
                  <a:pt x="68" y="170"/>
                </a:lnTo>
                <a:lnTo>
                  <a:pt x="68" y="170"/>
                </a:lnTo>
                <a:lnTo>
                  <a:pt x="68" y="170"/>
                </a:lnTo>
                <a:lnTo>
                  <a:pt x="68" y="170"/>
                </a:lnTo>
                <a:lnTo>
                  <a:pt x="68" y="169"/>
                </a:lnTo>
                <a:lnTo>
                  <a:pt x="68" y="169"/>
                </a:lnTo>
                <a:lnTo>
                  <a:pt x="68" y="169"/>
                </a:lnTo>
                <a:lnTo>
                  <a:pt x="68" y="169"/>
                </a:lnTo>
                <a:lnTo>
                  <a:pt x="68" y="169"/>
                </a:lnTo>
                <a:lnTo>
                  <a:pt x="68" y="169"/>
                </a:lnTo>
                <a:lnTo>
                  <a:pt x="68" y="168"/>
                </a:lnTo>
                <a:lnTo>
                  <a:pt x="68" y="168"/>
                </a:lnTo>
                <a:lnTo>
                  <a:pt x="68" y="168"/>
                </a:lnTo>
                <a:lnTo>
                  <a:pt x="68" y="168"/>
                </a:lnTo>
                <a:lnTo>
                  <a:pt x="68" y="168"/>
                </a:lnTo>
                <a:lnTo>
                  <a:pt x="68" y="168"/>
                </a:lnTo>
                <a:lnTo>
                  <a:pt x="68" y="167"/>
                </a:lnTo>
                <a:lnTo>
                  <a:pt x="68" y="167"/>
                </a:lnTo>
                <a:lnTo>
                  <a:pt x="68" y="167"/>
                </a:lnTo>
                <a:lnTo>
                  <a:pt x="68" y="167"/>
                </a:lnTo>
                <a:lnTo>
                  <a:pt x="68" y="167"/>
                </a:lnTo>
                <a:lnTo>
                  <a:pt x="68" y="167"/>
                </a:lnTo>
                <a:lnTo>
                  <a:pt x="68" y="166"/>
                </a:lnTo>
                <a:lnTo>
                  <a:pt x="67" y="166"/>
                </a:lnTo>
                <a:lnTo>
                  <a:pt x="67" y="166"/>
                </a:lnTo>
                <a:lnTo>
                  <a:pt x="67" y="166"/>
                </a:lnTo>
                <a:lnTo>
                  <a:pt x="67" y="166"/>
                </a:lnTo>
                <a:lnTo>
                  <a:pt x="67" y="166"/>
                </a:lnTo>
                <a:lnTo>
                  <a:pt x="67" y="165"/>
                </a:lnTo>
                <a:lnTo>
                  <a:pt x="67" y="165"/>
                </a:lnTo>
                <a:lnTo>
                  <a:pt x="67" y="165"/>
                </a:lnTo>
                <a:lnTo>
                  <a:pt x="67" y="165"/>
                </a:lnTo>
                <a:lnTo>
                  <a:pt x="67" y="165"/>
                </a:lnTo>
                <a:lnTo>
                  <a:pt x="67" y="165"/>
                </a:lnTo>
                <a:lnTo>
                  <a:pt x="67" y="165"/>
                </a:lnTo>
                <a:lnTo>
                  <a:pt x="67" y="164"/>
                </a:lnTo>
                <a:lnTo>
                  <a:pt x="67" y="164"/>
                </a:lnTo>
                <a:lnTo>
                  <a:pt x="67" y="164"/>
                </a:lnTo>
                <a:lnTo>
                  <a:pt x="67" y="164"/>
                </a:lnTo>
                <a:lnTo>
                  <a:pt x="67" y="164"/>
                </a:lnTo>
                <a:lnTo>
                  <a:pt x="67" y="164"/>
                </a:lnTo>
                <a:lnTo>
                  <a:pt x="67" y="162"/>
                </a:lnTo>
                <a:lnTo>
                  <a:pt x="67" y="162"/>
                </a:lnTo>
                <a:lnTo>
                  <a:pt x="67" y="162"/>
                </a:lnTo>
                <a:lnTo>
                  <a:pt x="66" y="162"/>
                </a:lnTo>
                <a:lnTo>
                  <a:pt x="66" y="162"/>
                </a:lnTo>
                <a:lnTo>
                  <a:pt x="66" y="162"/>
                </a:lnTo>
                <a:lnTo>
                  <a:pt x="66" y="162"/>
                </a:lnTo>
                <a:lnTo>
                  <a:pt x="66" y="161"/>
                </a:lnTo>
                <a:lnTo>
                  <a:pt x="66" y="161"/>
                </a:lnTo>
                <a:lnTo>
                  <a:pt x="66" y="161"/>
                </a:lnTo>
                <a:lnTo>
                  <a:pt x="66" y="161"/>
                </a:lnTo>
                <a:lnTo>
                  <a:pt x="66" y="161"/>
                </a:lnTo>
                <a:lnTo>
                  <a:pt x="66" y="161"/>
                </a:lnTo>
                <a:lnTo>
                  <a:pt x="66" y="161"/>
                </a:lnTo>
                <a:lnTo>
                  <a:pt x="66" y="160"/>
                </a:lnTo>
                <a:lnTo>
                  <a:pt x="66" y="160"/>
                </a:lnTo>
                <a:lnTo>
                  <a:pt x="66" y="160"/>
                </a:lnTo>
                <a:lnTo>
                  <a:pt x="66" y="160"/>
                </a:lnTo>
                <a:lnTo>
                  <a:pt x="64" y="160"/>
                </a:lnTo>
                <a:lnTo>
                  <a:pt x="64" y="160"/>
                </a:lnTo>
                <a:lnTo>
                  <a:pt x="64" y="160"/>
                </a:lnTo>
                <a:lnTo>
                  <a:pt x="64" y="159"/>
                </a:lnTo>
                <a:lnTo>
                  <a:pt x="64" y="159"/>
                </a:lnTo>
                <a:lnTo>
                  <a:pt x="64" y="159"/>
                </a:lnTo>
                <a:lnTo>
                  <a:pt x="64" y="159"/>
                </a:lnTo>
                <a:lnTo>
                  <a:pt x="64" y="159"/>
                </a:lnTo>
                <a:lnTo>
                  <a:pt x="64" y="159"/>
                </a:lnTo>
                <a:lnTo>
                  <a:pt x="64" y="159"/>
                </a:lnTo>
                <a:lnTo>
                  <a:pt x="64" y="158"/>
                </a:lnTo>
                <a:lnTo>
                  <a:pt x="64" y="158"/>
                </a:lnTo>
                <a:lnTo>
                  <a:pt x="64" y="158"/>
                </a:lnTo>
                <a:lnTo>
                  <a:pt x="63" y="158"/>
                </a:lnTo>
                <a:lnTo>
                  <a:pt x="63" y="158"/>
                </a:lnTo>
                <a:lnTo>
                  <a:pt x="63" y="158"/>
                </a:lnTo>
                <a:lnTo>
                  <a:pt x="63" y="158"/>
                </a:lnTo>
                <a:lnTo>
                  <a:pt x="63" y="157"/>
                </a:lnTo>
                <a:lnTo>
                  <a:pt x="63" y="157"/>
                </a:lnTo>
                <a:lnTo>
                  <a:pt x="63" y="157"/>
                </a:lnTo>
                <a:lnTo>
                  <a:pt x="63" y="157"/>
                </a:lnTo>
                <a:lnTo>
                  <a:pt x="63" y="157"/>
                </a:lnTo>
                <a:lnTo>
                  <a:pt x="63" y="157"/>
                </a:lnTo>
                <a:lnTo>
                  <a:pt x="63" y="157"/>
                </a:lnTo>
                <a:lnTo>
                  <a:pt x="63" y="157"/>
                </a:lnTo>
                <a:lnTo>
                  <a:pt x="62" y="156"/>
                </a:lnTo>
                <a:lnTo>
                  <a:pt x="62" y="156"/>
                </a:lnTo>
                <a:lnTo>
                  <a:pt x="62" y="156"/>
                </a:lnTo>
                <a:lnTo>
                  <a:pt x="62" y="156"/>
                </a:lnTo>
                <a:lnTo>
                  <a:pt x="62" y="156"/>
                </a:lnTo>
                <a:lnTo>
                  <a:pt x="62" y="156"/>
                </a:lnTo>
                <a:lnTo>
                  <a:pt x="62" y="156"/>
                </a:lnTo>
                <a:lnTo>
                  <a:pt x="62" y="156"/>
                </a:lnTo>
                <a:lnTo>
                  <a:pt x="62" y="155"/>
                </a:lnTo>
                <a:lnTo>
                  <a:pt x="62" y="155"/>
                </a:lnTo>
                <a:lnTo>
                  <a:pt x="62" y="155"/>
                </a:lnTo>
                <a:lnTo>
                  <a:pt x="61" y="155"/>
                </a:lnTo>
                <a:lnTo>
                  <a:pt x="61" y="155"/>
                </a:lnTo>
                <a:lnTo>
                  <a:pt x="61" y="155"/>
                </a:lnTo>
                <a:lnTo>
                  <a:pt x="61" y="155"/>
                </a:lnTo>
                <a:lnTo>
                  <a:pt x="61" y="155"/>
                </a:lnTo>
                <a:lnTo>
                  <a:pt x="61" y="153"/>
                </a:lnTo>
                <a:lnTo>
                  <a:pt x="61" y="153"/>
                </a:lnTo>
                <a:lnTo>
                  <a:pt x="61" y="153"/>
                </a:lnTo>
                <a:lnTo>
                  <a:pt x="61" y="153"/>
                </a:lnTo>
                <a:lnTo>
                  <a:pt x="60" y="153"/>
                </a:lnTo>
                <a:lnTo>
                  <a:pt x="60" y="153"/>
                </a:lnTo>
                <a:lnTo>
                  <a:pt x="60" y="153"/>
                </a:lnTo>
                <a:lnTo>
                  <a:pt x="60" y="153"/>
                </a:lnTo>
                <a:lnTo>
                  <a:pt x="60" y="152"/>
                </a:lnTo>
                <a:lnTo>
                  <a:pt x="60" y="152"/>
                </a:lnTo>
                <a:lnTo>
                  <a:pt x="60" y="152"/>
                </a:lnTo>
                <a:lnTo>
                  <a:pt x="60" y="152"/>
                </a:lnTo>
                <a:lnTo>
                  <a:pt x="60" y="152"/>
                </a:lnTo>
                <a:lnTo>
                  <a:pt x="60" y="152"/>
                </a:lnTo>
                <a:lnTo>
                  <a:pt x="59" y="152"/>
                </a:lnTo>
                <a:lnTo>
                  <a:pt x="59" y="152"/>
                </a:lnTo>
                <a:lnTo>
                  <a:pt x="59" y="152"/>
                </a:lnTo>
                <a:lnTo>
                  <a:pt x="59" y="151"/>
                </a:lnTo>
                <a:lnTo>
                  <a:pt x="59" y="151"/>
                </a:lnTo>
                <a:lnTo>
                  <a:pt x="59" y="151"/>
                </a:lnTo>
                <a:lnTo>
                  <a:pt x="59" y="151"/>
                </a:lnTo>
                <a:lnTo>
                  <a:pt x="59" y="151"/>
                </a:lnTo>
                <a:lnTo>
                  <a:pt x="58" y="151"/>
                </a:lnTo>
                <a:lnTo>
                  <a:pt x="58" y="151"/>
                </a:lnTo>
                <a:lnTo>
                  <a:pt x="58" y="151"/>
                </a:lnTo>
                <a:lnTo>
                  <a:pt x="58" y="151"/>
                </a:lnTo>
                <a:lnTo>
                  <a:pt x="58" y="151"/>
                </a:lnTo>
                <a:lnTo>
                  <a:pt x="58" y="150"/>
                </a:lnTo>
                <a:lnTo>
                  <a:pt x="58" y="150"/>
                </a:lnTo>
                <a:lnTo>
                  <a:pt x="58" y="150"/>
                </a:lnTo>
                <a:lnTo>
                  <a:pt x="57" y="150"/>
                </a:lnTo>
                <a:lnTo>
                  <a:pt x="57" y="150"/>
                </a:lnTo>
                <a:lnTo>
                  <a:pt x="57" y="150"/>
                </a:lnTo>
                <a:lnTo>
                  <a:pt x="57" y="150"/>
                </a:lnTo>
                <a:lnTo>
                  <a:pt x="57" y="150"/>
                </a:lnTo>
                <a:lnTo>
                  <a:pt x="57" y="150"/>
                </a:lnTo>
                <a:lnTo>
                  <a:pt x="57" y="150"/>
                </a:lnTo>
                <a:lnTo>
                  <a:pt x="57" y="149"/>
                </a:lnTo>
                <a:lnTo>
                  <a:pt x="55" y="149"/>
                </a:lnTo>
                <a:lnTo>
                  <a:pt x="55" y="149"/>
                </a:lnTo>
                <a:lnTo>
                  <a:pt x="55" y="149"/>
                </a:lnTo>
                <a:lnTo>
                  <a:pt x="55" y="149"/>
                </a:lnTo>
                <a:lnTo>
                  <a:pt x="55" y="149"/>
                </a:lnTo>
                <a:lnTo>
                  <a:pt x="55" y="149"/>
                </a:lnTo>
                <a:lnTo>
                  <a:pt x="55" y="149"/>
                </a:lnTo>
                <a:lnTo>
                  <a:pt x="55" y="149"/>
                </a:lnTo>
                <a:lnTo>
                  <a:pt x="54" y="149"/>
                </a:lnTo>
                <a:lnTo>
                  <a:pt x="54" y="149"/>
                </a:lnTo>
                <a:lnTo>
                  <a:pt x="54" y="148"/>
                </a:lnTo>
                <a:lnTo>
                  <a:pt x="54" y="148"/>
                </a:lnTo>
                <a:lnTo>
                  <a:pt x="54" y="148"/>
                </a:lnTo>
                <a:lnTo>
                  <a:pt x="54" y="148"/>
                </a:lnTo>
                <a:lnTo>
                  <a:pt x="54" y="148"/>
                </a:lnTo>
                <a:lnTo>
                  <a:pt x="54" y="148"/>
                </a:lnTo>
                <a:lnTo>
                  <a:pt x="53" y="148"/>
                </a:lnTo>
                <a:lnTo>
                  <a:pt x="53" y="148"/>
                </a:lnTo>
                <a:lnTo>
                  <a:pt x="53" y="148"/>
                </a:lnTo>
                <a:lnTo>
                  <a:pt x="53" y="148"/>
                </a:lnTo>
                <a:lnTo>
                  <a:pt x="53" y="148"/>
                </a:lnTo>
                <a:lnTo>
                  <a:pt x="53" y="148"/>
                </a:lnTo>
                <a:lnTo>
                  <a:pt x="53" y="147"/>
                </a:lnTo>
                <a:lnTo>
                  <a:pt x="52" y="147"/>
                </a:lnTo>
                <a:lnTo>
                  <a:pt x="52" y="147"/>
                </a:lnTo>
                <a:lnTo>
                  <a:pt x="52" y="147"/>
                </a:lnTo>
                <a:lnTo>
                  <a:pt x="52" y="147"/>
                </a:lnTo>
                <a:lnTo>
                  <a:pt x="52" y="147"/>
                </a:lnTo>
                <a:lnTo>
                  <a:pt x="52" y="147"/>
                </a:lnTo>
                <a:lnTo>
                  <a:pt x="52" y="147"/>
                </a:lnTo>
                <a:lnTo>
                  <a:pt x="51" y="147"/>
                </a:lnTo>
                <a:lnTo>
                  <a:pt x="51" y="147"/>
                </a:lnTo>
                <a:lnTo>
                  <a:pt x="51" y="147"/>
                </a:lnTo>
                <a:lnTo>
                  <a:pt x="51" y="147"/>
                </a:lnTo>
                <a:lnTo>
                  <a:pt x="51" y="147"/>
                </a:lnTo>
                <a:lnTo>
                  <a:pt x="51" y="147"/>
                </a:lnTo>
                <a:lnTo>
                  <a:pt x="51" y="146"/>
                </a:lnTo>
                <a:lnTo>
                  <a:pt x="50" y="146"/>
                </a:lnTo>
                <a:lnTo>
                  <a:pt x="50" y="146"/>
                </a:lnTo>
                <a:lnTo>
                  <a:pt x="50" y="146"/>
                </a:lnTo>
                <a:lnTo>
                  <a:pt x="50" y="146"/>
                </a:lnTo>
                <a:lnTo>
                  <a:pt x="50" y="146"/>
                </a:lnTo>
                <a:lnTo>
                  <a:pt x="50" y="146"/>
                </a:lnTo>
                <a:lnTo>
                  <a:pt x="50" y="146"/>
                </a:lnTo>
                <a:lnTo>
                  <a:pt x="49" y="146"/>
                </a:lnTo>
                <a:lnTo>
                  <a:pt x="49" y="146"/>
                </a:lnTo>
                <a:lnTo>
                  <a:pt x="49" y="146"/>
                </a:lnTo>
                <a:lnTo>
                  <a:pt x="49" y="146"/>
                </a:lnTo>
                <a:lnTo>
                  <a:pt x="49" y="146"/>
                </a:lnTo>
                <a:lnTo>
                  <a:pt x="49" y="146"/>
                </a:lnTo>
                <a:lnTo>
                  <a:pt x="48" y="146"/>
                </a:lnTo>
                <a:lnTo>
                  <a:pt x="48" y="146"/>
                </a:lnTo>
                <a:lnTo>
                  <a:pt x="48" y="146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6" y="144"/>
                </a:lnTo>
                <a:lnTo>
                  <a:pt x="46" y="144"/>
                </a:lnTo>
                <a:lnTo>
                  <a:pt x="46" y="144"/>
                </a:lnTo>
                <a:lnTo>
                  <a:pt x="46" y="144"/>
                </a:lnTo>
                <a:lnTo>
                  <a:pt x="46" y="144"/>
                </a:lnTo>
                <a:lnTo>
                  <a:pt x="46" y="144"/>
                </a:lnTo>
                <a:lnTo>
                  <a:pt x="45" y="144"/>
                </a:lnTo>
                <a:lnTo>
                  <a:pt x="45" y="144"/>
                </a:lnTo>
                <a:lnTo>
                  <a:pt x="45" y="144"/>
                </a:lnTo>
                <a:lnTo>
                  <a:pt x="45" y="144"/>
                </a:lnTo>
                <a:lnTo>
                  <a:pt x="45" y="144"/>
                </a:lnTo>
                <a:lnTo>
                  <a:pt x="45" y="144"/>
                </a:lnTo>
                <a:lnTo>
                  <a:pt x="44" y="144"/>
                </a:lnTo>
                <a:lnTo>
                  <a:pt x="44" y="144"/>
                </a:lnTo>
                <a:lnTo>
                  <a:pt x="44" y="144"/>
                </a:lnTo>
                <a:lnTo>
                  <a:pt x="44" y="144"/>
                </a:lnTo>
                <a:lnTo>
                  <a:pt x="44" y="144"/>
                </a:lnTo>
                <a:lnTo>
                  <a:pt x="44" y="144"/>
                </a:lnTo>
                <a:lnTo>
                  <a:pt x="44" y="144"/>
                </a:lnTo>
                <a:lnTo>
                  <a:pt x="43" y="144"/>
                </a:lnTo>
                <a:lnTo>
                  <a:pt x="43" y="144"/>
                </a:lnTo>
                <a:lnTo>
                  <a:pt x="43" y="144"/>
                </a:lnTo>
                <a:lnTo>
                  <a:pt x="43" y="143"/>
                </a:lnTo>
                <a:lnTo>
                  <a:pt x="43" y="143"/>
                </a:lnTo>
                <a:lnTo>
                  <a:pt x="43" y="143"/>
                </a:lnTo>
                <a:lnTo>
                  <a:pt x="42" y="143"/>
                </a:lnTo>
                <a:lnTo>
                  <a:pt x="42" y="143"/>
                </a:lnTo>
                <a:lnTo>
                  <a:pt x="42" y="143"/>
                </a:lnTo>
                <a:lnTo>
                  <a:pt x="42" y="143"/>
                </a:lnTo>
                <a:lnTo>
                  <a:pt x="42" y="143"/>
                </a:lnTo>
                <a:lnTo>
                  <a:pt x="42" y="143"/>
                </a:lnTo>
                <a:lnTo>
                  <a:pt x="41" y="143"/>
                </a:lnTo>
                <a:lnTo>
                  <a:pt x="41" y="143"/>
                </a:lnTo>
                <a:lnTo>
                  <a:pt x="41" y="143"/>
                </a:lnTo>
                <a:lnTo>
                  <a:pt x="41" y="143"/>
                </a:lnTo>
                <a:lnTo>
                  <a:pt x="41" y="143"/>
                </a:lnTo>
                <a:lnTo>
                  <a:pt x="41" y="143"/>
                </a:lnTo>
                <a:lnTo>
                  <a:pt x="40" y="143"/>
                </a:lnTo>
                <a:lnTo>
                  <a:pt x="40" y="143"/>
                </a:lnTo>
                <a:lnTo>
                  <a:pt x="40" y="143"/>
                </a:lnTo>
                <a:lnTo>
                  <a:pt x="40" y="143"/>
                </a:lnTo>
                <a:lnTo>
                  <a:pt x="40" y="143"/>
                </a:lnTo>
                <a:lnTo>
                  <a:pt x="40" y="143"/>
                </a:lnTo>
                <a:lnTo>
                  <a:pt x="39" y="143"/>
                </a:lnTo>
                <a:lnTo>
                  <a:pt x="39" y="143"/>
                </a:lnTo>
                <a:lnTo>
                  <a:pt x="39" y="143"/>
                </a:lnTo>
                <a:lnTo>
                  <a:pt x="39" y="143"/>
                </a:lnTo>
                <a:lnTo>
                  <a:pt x="39" y="143"/>
                </a:lnTo>
                <a:lnTo>
                  <a:pt x="39" y="143"/>
                </a:lnTo>
                <a:lnTo>
                  <a:pt x="37" y="143"/>
                </a:lnTo>
                <a:lnTo>
                  <a:pt x="37" y="143"/>
                </a:lnTo>
                <a:lnTo>
                  <a:pt x="37" y="143"/>
                </a:lnTo>
                <a:lnTo>
                  <a:pt x="37" y="143"/>
                </a:lnTo>
                <a:lnTo>
                  <a:pt x="37" y="143"/>
                </a:lnTo>
                <a:lnTo>
                  <a:pt x="37" y="143"/>
                </a:lnTo>
                <a:lnTo>
                  <a:pt x="36" y="143"/>
                </a:lnTo>
                <a:lnTo>
                  <a:pt x="36" y="143"/>
                </a:lnTo>
                <a:lnTo>
                  <a:pt x="36" y="143"/>
                </a:lnTo>
                <a:lnTo>
                  <a:pt x="36" y="143"/>
                </a:lnTo>
                <a:lnTo>
                  <a:pt x="36" y="143"/>
                </a:lnTo>
                <a:lnTo>
                  <a:pt x="36" y="143"/>
                </a:lnTo>
                <a:lnTo>
                  <a:pt x="35" y="143"/>
                </a:lnTo>
                <a:lnTo>
                  <a:pt x="35" y="143"/>
                </a:lnTo>
                <a:lnTo>
                  <a:pt x="35" y="143"/>
                </a:lnTo>
                <a:lnTo>
                  <a:pt x="35" y="143"/>
                </a:lnTo>
                <a:lnTo>
                  <a:pt x="35" y="143"/>
                </a:lnTo>
                <a:lnTo>
                  <a:pt x="35" y="143"/>
                </a:lnTo>
                <a:lnTo>
                  <a:pt x="34" y="143"/>
                </a:lnTo>
                <a:lnTo>
                  <a:pt x="34" y="143"/>
                </a:lnTo>
                <a:lnTo>
                  <a:pt x="34" y="143"/>
                </a:lnTo>
                <a:lnTo>
                  <a:pt x="34" y="143"/>
                </a:lnTo>
                <a:lnTo>
                  <a:pt x="34" y="144"/>
                </a:lnTo>
                <a:lnTo>
                  <a:pt x="34" y="144"/>
                </a:lnTo>
                <a:lnTo>
                  <a:pt x="33" y="144"/>
                </a:lnTo>
                <a:lnTo>
                  <a:pt x="33" y="144"/>
                </a:lnTo>
                <a:lnTo>
                  <a:pt x="33" y="144"/>
                </a:lnTo>
                <a:lnTo>
                  <a:pt x="33" y="144"/>
                </a:lnTo>
                <a:lnTo>
                  <a:pt x="33" y="144"/>
                </a:lnTo>
                <a:lnTo>
                  <a:pt x="33" y="144"/>
                </a:lnTo>
                <a:lnTo>
                  <a:pt x="32" y="144"/>
                </a:lnTo>
                <a:lnTo>
                  <a:pt x="32" y="144"/>
                </a:lnTo>
                <a:lnTo>
                  <a:pt x="32" y="144"/>
                </a:lnTo>
                <a:lnTo>
                  <a:pt x="32" y="144"/>
                </a:lnTo>
                <a:lnTo>
                  <a:pt x="32" y="144"/>
                </a:lnTo>
                <a:lnTo>
                  <a:pt x="32" y="144"/>
                </a:lnTo>
                <a:lnTo>
                  <a:pt x="31" y="144"/>
                </a:lnTo>
                <a:lnTo>
                  <a:pt x="31" y="144"/>
                </a:lnTo>
                <a:lnTo>
                  <a:pt x="31" y="144"/>
                </a:lnTo>
                <a:lnTo>
                  <a:pt x="31" y="144"/>
                </a:lnTo>
                <a:lnTo>
                  <a:pt x="31" y="144"/>
                </a:lnTo>
                <a:lnTo>
                  <a:pt x="31" y="144"/>
                </a:lnTo>
                <a:lnTo>
                  <a:pt x="31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6"/>
                </a:lnTo>
                <a:lnTo>
                  <a:pt x="28" y="146"/>
                </a:lnTo>
                <a:lnTo>
                  <a:pt x="28" y="146"/>
                </a:lnTo>
                <a:lnTo>
                  <a:pt x="28" y="146"/>
                </a:lnTo>
                <a:lnTo>
                  <a:pt x="28" y="146"/>
                </a:lnTo>
                <a:lnTo>
                  <a:pt x="28" y="146"/>
                </a:lnTo>
                <a:lnTo>
                  <a:pt x="28" y="146"/>
                </a:lnTo>
                <a:lnTo>
                  <a:pt x="28" y="146"/>
                </a:lnTo>
                <a:lnTo>
                  <a:pt x="27" y="146"/>
                </a:lnTo>
                <a:lnTo>
                  <a:pt x="27" y="146"/>
                </a:lnTo>
                <a:lnTo>
                  <a:pt x="27" y="146"/>
                </a:lnTo>
                <a:lnTo>
                  <a:pt x="27" y="146"/>
                </a:lnTo>
                <a:lnTo>
                  <a:pt x="27" y="146"/>
                </a:lnTo>
                <a:lnTo>
                  <a:pt x="27" y="146"/>
                </a:lnTo>
                <a:lnTo>
                  <a:pt x="26" y="146"/>
                </a:lnTo>
                <a:lnTo>
                  <a:pt x="26" y="146"/>
                </a:lnTo>
                <a:lnTo>
                  <a:pt x="26" y="146"/>
                </a:lnTo>
                <a:lnTo>
                  <a:pt x="26" y="147"/>
                </a:lnTo>
                <a:lnTo>
                  <a:pt x="26" y="147"/>
                </a:lnTo>
                <a:lnTo>
                  <a:pt x="26" y="147"/>
                </a:lnTo>
                <a:lnTo>
                  <a:pt x="26" y="147"/>
                </a:lnTo>
                <a:lnTo>
                  <a:pt x="25" y="147"/>
                </a:lnTo>
                <a:lnTo>
                  <a:pt x="25" y="147"/>
                </a:lnTo>
                <a:lnTo>
                  <a:pt x="25" y="147"/>
                </a:lnTo>
                <a:lnTo>
                  <a:pt x="25" y="147"/>
                </a:lnTo>
                <a:lnTo>
                  <a:pt x="25" y="147"/>
                </a:lnTo>
                <a:lnTo>
                  <a:pt x="25" y="147"/>
                </a:lnTo>
                <a:lnTo>
                  <a:pt x="25" y="147"/>
                </a:lnTo>
                <a:lnTo>
                  <a:pt x="24" y="147"/>
                </a:lnTo>
                <a:lnTo>
                  <a:pt x="24" y="147"/>
                </a:lnTo>
                <a:lnTo>
                  <a:pt x="24" y="147"/>
                </a:lnTo>
                <a:lnTo>
                  <a:pt x="24" y="148"/>
                </a:lnTo>
                <a:lnTo>
                  <a:pt x="24" y="148"/>
                </a:lnTo>
                <a:lnTo>
                  <a:pt x="24" y="148"/>
                </a:lnTo>
                <a:lnTo>
                  <a:pt x="24" y="148"/>
                </a:lnTo>
                <a:lnTo>
                  <a:pt x="24" y="148"/>
                </a:lnTo>
                <a:lnTo>
                  <a:pt x="23" y="148"/>
                </a:lnTo>
                <a:lnTo>
                  <a:pt x="23" y="148"/>
                </a:lnTo>
                <a:lnTo>
                  <a:pt x="23" y="148"/>
                </a:lnTo>
                <a:lnTo>
                  <a:pt x="23" y="148"/>
                </a:lnTo>
                <a:lnTo>
                  <a:pt x="23" y="148"/>
                </a:lnTo>
                <a:lnTo>
                  <a:pt x="23" y="148"/>
                </a:lnTo>
                <a:lnTo>
                  <a:pt x="23" y="148"/>
                </a:lnTo>
                <a:lnTo>
                  <a:pt x="22" y="149"/>
                </a:lnTo>
                <a:lnTo>
                  <a:pt x="22" y="149"/>
                </a:lnTo>
                <a:lnTo>
                  <a:pt x="22" y="149"/>
                </a:lnTo>
                <a:lnTo>
                  <a:pt x="22" y="149"/>
                </a:lnTo>
                <a:lnTo>
                  <a:pt x="22" y="149"/>
                </a:lnTo>
                <a:lnTo>
                  <a:pt x="22" y="149"/>
                </a:lnTo>
                <a:lnTo>
                  <a:pt x="22" y="149"/>
                </a:lnTo>
                <a:lnTo>
                  <a:pt x="22" y="149"/>
                </a:lnTo>
                <a:lnTo>
                  <a:pt x="21" y="149"/>
                </a:lnTo>
                <a:lnTo>
                  <a:pt x="21" y="149"/>
                </a:lnTo>
                <a:lnTo>
                  <a:pt x="21" y="149"/>
                </a:lnTo>
                <a:lnTo>
                  <a:pt x="21" y="150"/>
                </a:lnTo>
                <a:lnTo>
                  <a:pt x="21" y="150"/>
                </a:lnTo>
                <a:lnTo>
                  <a:pt x="21" y="150"/>
                </a:lnTo>
                <a:lnTo>
                  <a:pt x="21" y="150"/>
                </a:lnTo>
                <a:lnTo>
                  <a:pt x="19" y="150"/>
                </a:lnTo>
                <a:lnTo>
                  <a:pt x="19" y="150"/>
                </a:lnTo>
                <a:lnTo>
                  <a:pt x="19" y="150"/>
                </a:lnTo>
                <a:lnTo>
                  <a:pt x="19" y="150"/>
                </a:lnTo>
                <a:lnTo>
                  <a:pt x="19" y="150"/>
                </a:lnTo>
                <a:lnTo>
                  <a:pt x="19" y="150"/>
                </a:lnTo>
                <a:lnTo>
                  <a:pt x="19" y="151"/>
                </a:lnTo>
                <a:lnTo>
                  <a:pt x="19" y="151"/>
                </a:lnTo>
                <a:lnTo>
                  <a:pt x="19" y="151"/>
                </a:lnTo>
                <a:lnTo>
                  <a:pt x="18" y="151"/>
                </a:lnTo>
                <a:lnTo>
                  <a:pt x="18" y="151"/>
                </a:lnTo>
                <a:lnTo>
                  <a:pt x="18" y="151"/>
                </a:lnTo>
                <a:lnTo>
                  <a:pt x="18" y="151"/>
                </a:lnTo>
                <a:lnTo>
                  <a:pt x="18" y="151"/>
                </a:lnTo>
                <a:lnTo>
                  <a:pt x="18" y="151"/>
                </a:lnTo>
                <a:lnTo>
                  <a:pt x="18" y="151"/>
                </a:lnTo>
                <a:lnTo>
                  <a:pt x="18" y="152"/>
                </a:lnTo>
                <a:lnTo>
                  <a:pt x="17" y="152"/>
                </a:lnTo>
                <a:lnTo>
                  <a:pt x="17" y="152"/>
                </a:lnTo>
                <a:lnTo>
                  <a:pt x="17" y="152"/>
                </a:lnTo>
                <a:lnTo>
                  <a:pt x="17" y="152"/>
                </a:lnTo>
                <a:lnTo>
                  <a:pt x="17" y="152"/>
                </a:lnTo>
                <a:lnTo>
                  <a:pt x="17" y="152"/>
                </a:lnTo>
                <a:lnTo>
                  <a:pt x="17" y="152"/>
                </a:lnTo>
                <a:lnTo>
                  <a:pt x="17" y="152"/>
                </a:lnTo>
                <a:lnTo>
                  <a:pt x="17" y="153"/>
                </a:lnTo>
                <a:lnTo>
                  <a:pt x="16" y="153"/>
                </a:lnTo>
                <a:lnTo>
                  <a:pt x="16" y="153"/>
                </a:lnTo>
                <a:lnTo>
                  <a:pt x="16" y="153"/>
                </a:lnTo>
                <a:lnTo>
                  <a:pt x="16" y="153"/>
                </a:lnTo>
                <a:lnTo>
                  <a:pt x="16" y="153"/>
                </a:lnTo>
                <a:lnTo>
                  <a:pt x="16" y="153"/>
                </a:lnTo>
                <a:lnTo>
                  <a:pt x="16" y="153"/>
                </a:lnTo>
                <a:lnTo>
                  <a:pt x="16" y="155"/>
                </a:lnTo>
                <a:lnTo>
                  <a:pt x="16" y="155"/>
                </a:lnTo>
                <a:lnTo>
                  <a:pt x="16" y="155"/>
                </a:lnTo>
                <a:lnTo>
                  <a:pt x="15" y="155"/>
                </a:lnTo>
                <a:lnTo>
                  <a:pt x="15" y="155"/>
                </a:lnTo>
                <a:lnTo>
                  <a:pt x="15" y="155"/>
                </a:lnTo>
                <a:lnTo>
                  <a:pt x="15" y="155"/>
                </a:lnTo>
                <a:lnTo>
                  <a:pt x="15" y="155"/>
                </a:lnTo>
                <a:lnTo>
                  <a:pt x="15" y="156"/>
                </a:lnTo>
                <a:lnTo>
                  <a:pt x="15" y="156"/>
                </a:lnTo>
                <a:lnTo>
                  <a:pt x="15" y="156"/>
                </a:lnTo>
                <a:lnTo>
                  <a:pt x="15" y="156"/>
                </a:lnTo>
                <a:lnTo>
                  <a:pt x="15" y="156"/>
                </a:lnTo>
                <a:lnTo>
                  <a:pt x="14" y="156"/>
                </a:lnTo>
                <a:lnTo>
                  <a:pt x="14" y="156"/>
                </a:lnTo>
                <a:lnTo>
                  <a:pt x="14" y="156"/>
                </a:lnTo>
                <a:lnTo>
                  <a:pt x="14" y="157"/>
                </a:lnTo>
                <a:lnTo>
                  <a:pt x="14" y="157"/>
                </a:lnTo>
                <a:lnTo>
                  <a:pt x="14" y="157"/>
                </a:lnTo>
                <a:lnTo>
                  <a:pt x="14" y="157"/>
                </a:lnTo>
                <a:lnTo>
                  <a:pt x="14" y="157"/>
                </a:lnTo>
                <a:lnTo>
                  <a:pt x="14" y="157"/>
                </a:lnTo>
                <a:lnTo>
                  <a:pt x="14" y="157"/>
                </a:lnTo>
                <a:lnTo>
                  <a:pt x="14" y="157"/>
                </a:lnTo>
                <a:lnTo>
                  <a:pt x="13" y="158"/>
                </a:lnTo>
                <a:lnTo>
                  <a:pt x="13" y="158"/>
                </a:lnTo>
                <a:lnTo>
                  <a:pt x="13" y="158"/>
                </a:lnTo>
                <a:lnTo>
                  <a:pt x="13" y="158"/>
                </a:lnTo>
                <a:lnTo>
                  <a:pt x="13" y="158"/>
                </a:lnTo>
                <a:lnTo>
                  <a:pt x="13" y="158"/>
                </a:lnTo>
                <a:lnTo>
                  <a:pt x="13" y="158"/>
                </a:lnTo>
                <a:lnTo>
                  <a:pt x="13" y="159"/>
                </a:lnTo>
                <a:lnTo>
                  <a:pt x="13" y="159"/>
                </a:lnTo>
                <a:lnTo>
                  <a:pt x="13" y="159"/>
                </a:lnTo>
                <a:lnTo>
                  <a:pt x="13" y="159"/>
                </a:lnTo>
                <a:lnTo>
                  <a:pt x="13" y="159"/>
                </a:lnTo>
                <a:lnTo>
                  <a:pt x="13" y="159"/>
                </a:lnTo>
                <a:lnTo>
                  <a:pt x="12" y="159"/>
                </a:lnTo>
                <a:lnTo>
                  <a:pt x="12" y="160"/>
                </a:lnTo>
                <a:lnTo>
                  <a:pt x="12" y="160"/>
                </a:lnTo>
                <a:lnTo>
                  <a:pt x="12" y="160"/>
                </a:lnTo>
                <a:lnTo>
                  <a:pt x="12" y="160"/>
                </a:lnTo>
                <a:lnTo>
                  <a:pt x="12" y="160"/>
                </a:lnTo>
                <a:lnTo>
                  <a:pt x="12" y="160"/>
                </a:lnTo>
                <a:lnTo>
                  <a:pt x="12" y="160"/>
                </a:lnTo>
                <a:lnTo>
                  <a:pt x="12" y="161"/>
                </a:lnTo>
                <a:lnTo>
                  <a:pt x="12" y="161"/>
                </a:lnTo>
                <a:lnTo>
                  <a:pt x="12" y="161"/>
                </a:lnTo>
                <a:lnTo>
                  <a:pt x="12" y="161"/>
                </a:lnTo>
                <a:lnTo>
                  <a:pt x="12" y="161"/>
                </a:lnTo>
                <a:lnTo>
                  <a:pt x="12" y="161"/>
                </a:lnTo>
                <a:lnTo>
                  <a:pt x="12" y="161"/>
                </a:lnTo>
                <a:lnTo>
                  <a:pt x="10" y="162"/>
                </a:lnTo>
                <a:lnTo>
                  <a:pt x="10" y="162"/>
                </a:lnTo>
                <a:lnTo>
                  <a:pt x="10" y="162"/>
                </a:lnTo>
                <a:lnTo>
                  <a:pt x="10" y="162"/>
                </a:lnTo>
                <a:lnTo>
                  <a:pt x="10" y="162"/>
                </a:lnTo>
                <a:lnTo>
                  <a:pt x="10" y="162"/>
                </a:lnTo>
                <a:lnTo>
                  <a:pt x="10" y="162"/>
                </a:lnTo>
                <a:lnTo>
                  <a:pt x="10" y="164"/>
                </a:lnTo>
                <a:lnTo>
                  <a:pt x="10" y="164"/>
                </a:lnTo>
                <a:lnTo>
                  <a:pt x="10" y="164"/>
                </a:lnTo>
                <a:lnTo>
                  <a:pt x="10" y="164"/>
                </a:lnTo>
                <a:lnTo>
                  <a:pt x="10" y="164"/>
                </a:lnTo>
                <a:lnTo>
                  <a:pt x="10" y="164"/>
                </a:lnTo>
                <a:lnTo>
                  <a:pt x="10" y="165"/>
                </a:lnTo>
                <a:lnTo>
                  <a:pt x="10" y="165"/>
                </a:lnTo>
                <a:lnTo>
                  <a:pt x="10" y="165"/>
                </a:lnTo>
                <a:lnTo>
                  <a:pt x="10" y="165"/>
                </a:lnTo>
                <a:lnTo>
                  <a:pt x="10" y="165"/>
                </a:lnTo>
                <a:lnTo>
                  <a:pt x="10" y="165"/>
                </a:lnTo>
                <a:lnTo>
                  <a:pt x="9" y="165"/>
                </a:lnTo>
                <a:lnTo>
                  <a:pt x="9" y="166"/>
                </a:lnTo>
                <a:lnTo>
                  <a:pt x="9" y="166"/>
                </a:lnTo>
                <a:lnTo>
                  <a:pt x="9" y="166"/>
                </a:lnTo>
                <a:lnTo>
                  <a:pt x="9" y="166"/>
                </a:lnTo>
                <a:lnTo>
                  <a:pt x="9" y="166"/>
                </a:lnTo>
                <a:lnTo>
                  <a:pt x="9" y="166"/>
                </a:lnTo>
                <a:lnTo>
                  <a:pt x="9" y="167"/>
                </a:lnTo>
                <a:lnTo>
                  <a:pt x="9" y="167"/>
                </a:lnTo>
                <a:lnTo>
                  <a:pt x="9" y="167"/>
                </a:lnTo>
                <a:lnTo>
                  <a:pt x="9" y="167"/>
                </a:lnTo>
                <a:lnTo>
                  <a:pt x="9" y="167"/>
                </a:lnTo>
                <a:lnTo>
                  <a:pt x="9" y="167"/>
                </a:lnTo>
                <a:lnTo>
                  <a:pt x="9" y="168"/>
                </a:lnTo>
                <a:lnTo>
                  <a:pt x="9" y="168"/>
                </a:lnTo>
                <a:lnTo>
                  <a:pt x="9" y="168"/>
                </a:lnTo>
                <a:lnTo>
                  <a:pt x="9" y="168"/>
                </a:lnTo>
                <a:lnTo>
                  <a:pt x="9" y="168"/>
                </a:lnTo>
                <a:lnTo>
                  <a:pt x="9" y="168"/>
                </a:lnTo>
                <a:lnTo>
                  <a:pt x="9" y="169"/>
                </a:lnTo>
                <a:lnTo>
                  <a:pt x="9" y="169"/>
                </a:lnTo>
                <a:lnTo>
                  <a:pt x="9" y="169"/>
                </a:lnTo>
                <a:lnTo>
                  <a:pt x="9" y="169"/>
                </a:lnTo>
                <a:lnTo>
                  <a:pt x="9" y="169"/>
                </a:lnTo>
                <a:lnTo>
                  <a:pt x="9" y="169"/>
                </a:lnTo>
                <a:lnTo>
                  <a:pt x="9" y="170"/>
                </a:lnTo>
                <a:lnTo>
                  <a:pt x="9" y="170"/>
                </a:lnTo>
                <a:lnTo>
                  <a:pt x="9" y="170"/>
                </a:lnTo>
                <a:lnTo>
                  <a:pt x="9" y="170"/>
                </a:lnTo>
                <a:lnTo>
                  <a:pt x="9" y="170"/>
                </a:lnTo>
                <a:lnTo>
                  <a:pt x="9" y="170"/>
                </a:lnTo>
                <a:lnTo>
                  <a:pt x="9" y="171"/>
                </a:lnTo>
                <a:lnTo>
                  <a:pt x="9" y="171"/>
                </a:lnTo>
                <a:lnTo>
                  <a:pt x="9" y="171"/>
                </a:lnTo>
                <a:lnTo>
                  <a:pt x="9" y="171"/>
                </a:lnTo>
                <a:lnTo>
                  <a:pt x="9" y="171"/>
                </a:lnTo>
                <a:lnTo>
                  <a:pt x="9" y="171"/>
                </a:lnTo>
                <a:lnTo>
                  <a:pt x="9" y="173"/>
                </a:lnTo>
                <a:lnTo>
                  <a:pt x="9" y="173"/>
                </a:lnTo>
                <a:lnTo>
                  <a:pt x="9" y="173"/>
                </a:lnTo>
                <a:lnTo>
                  <a:pt x="9" y="173"/>
                </a:lnTo>
                <a:lnTo>
                  <a:pt x="9" y="173"/>
                </a:lnTo>
                <a:lnTo>
                  <a:pt x="9" y="173"/>
                </a:lnTo>
                <a:lnTo>
                  <a:pt x="9" y="174"/>
                </a:lnTo>
                <a:lnTo>
                  <a:pt x="9" y="174"/>
                </a:lnTo>
                <a:lnTo>
                  <a:pt x="9" y="174"/>
                </a:lnTo>
                <a:lnTo>
                  <a:pt x="9" y="174"/>
                </a:lnTo>
                <a:lnTo>
                  <a:pt x="9" y="174"/>
                </a:lnTo>
                <a:lnTo>
                  <a:pt x="9" y="174"/>
                </a:lnTo>
                <a:lnTo>
                  <a:pt x="9" y="175"/>
                </a:lnTo>
                <a:lnTo>
                  <a:pt x="9" y="175"/>
                </a:lnTo>
                <a:lnTo>
                  <a:pt x="9" y="175"/>
                </a:lnTo>
                <a:lnTo>
                  <a:pt x="9" y="175"/>
                </a:lnTo>
                <a:lnTo>
                  <a:pt x="9" y="175"/>
                </a:lnTo>
                <a:lnTo>
                  <a:pt x="9" y="175"/>
                </a:lnTo>
                <a:lnTo>
                  <a:pt x="9" y="176"/>
                </a:lnTo>
                <a:lnTo>
                  <a:pt x="9" y="176"/>
                </a:lnTo>
                <a:lnTo>
                  <a:pt x="9" y="176"/>
                </a:lnTo>
                <a:lnTo>
                  <a:pt x="9" y="176"/>
                </a:lnTo>
                <a:lnTo>
                  <a:pt x="9" y="176"/>
                </a:lnTo>
                <a:lnTo>
                  <a:pt x="9" y="176"/>
                </a:lnTo>
                <a:lnTo>
                  <a:pt x="9" y="177"/>
                </a:lnTo>
                <a:lnTo>
                  <a:pt x="9" y="177"/>
                </a:lnTo>
                <a:lnTo>
                  <a:pt x="9" y="177"/>
                </a:lnTo>
                <a:lnTo>
                  <a:pt x="9" y="177"/>
                </a:lnTo>
                <a:lnTo>
                  <a:pt x="9" y="177"/>
                </a:lnTo>
                <a:lnTo>
                  <a:pt x="9" y="177"/>
                </a:lnTo>
                <a:lnTo>
                  <a:pt x="9" y="178"/>
                </a:lnTo>
                <a:lnTo>
                  <a:pt x="9" y="178"/>
                </a:lnTo>
                <a:lnTo>
                  <a:pt x="9" y="178"/>
                </a:lnTo>
                <a:lnTo>
                  <a:pt x="9" y="178"/>
                </a:lnTo>
                <a:lnTo>
                  <a:pt x="9" y="178"/>
                </a:lnTo>
                <a:lnTo>
                  <a:pt x="9" y="178"/>
                </a:lnTo>
                <a:lnTo>
                  <a:pt x="9" y="179"/>
                </a:lnTo>
                <a:lnTo>
                  <a:pt x="9" y="179"/>
                </a:lnTo>
                <a:lnTo>
                  <a:pt x="9" y="179"/>
                </a:lnTo>
                <a:lnTo>
                  <a:pt x="9" y="179"/>
                </a:lnTo>
                <a:lnTo>
                  <a:pt x="9" y="179"/>
                </a:lnTo>
                <a:lnTo>
                  <a:pt x="9" y="179"/>
                </a:lnTo>
                <a:lnTo>
                  <a:pt x="9" y="179"/>
                </a:lnTo>
                <a:lnTo>
                  <a:pt x="9" y="181"/>
                </a:lnTo>
                <a:lnTo>
                  <a:pt x="9" y="181"/>
                </a:lnTo>
                <a:lnTo>
                  <a:pt x="9" y="181"/>
                </a:lnTo>
                <a:lnTo>
                  <a:pt x="9" y="181"/>
                </a:lnTo>
                <a:lnTo>
                  <a:pt x="9" y="181"/>
                </a:lnTo>
                <a:lnTo>
                  <a:pt x="9" y="181"/>
                </a:lnTo>
                <a:lnTo>
                  <a:pt x="9" y="182"/>
                </a:lnTo>
                <a:lnTo>
                  <a:pt x="10" y="182"/>
                </a:lnTo>
                <a:lnTo>
                  <a:pt x="10" y="182"/>
                </a:lnTo>
                <a:lnTo>
                  <a:pt x="10" y="182"/>
                </a:lnTo>
                <a:lnTo>
                  <a:pt x="10" y="182"/>
                </a:lnTo>
                <a:lnTo>
                  <a:pt x="10" y="182"/>
                </a:lnTo>
                <a:lnTo>
                  <a:pt x="10" y="183"/>
                </a:lnTo>
                <a:lnTo>
                  <a:pt x="10" y="183"/>
                </a:lnTo>
                <a:lnTo>
                  <a:pt x="10" y="183"/>
                </a:lnTo>
                <a:lnTo>
                  <a:pt x="10" y="183"/>
                </a:lnTo>
                <a:lnTo>
                  <a:pt x="10" y="183"/>
                </a:lnTo>
                <a:lnTo>
                  <a:pt x="10" y="183"/>
                </a:lnTo>
                <a:lnTo>
                  <a:pt x="10" y="183"/>
                </a:lnTo>
                <a:lnTo>
                  <a:pt x="10" y="184"/>
                </a:lnTo>
                <a:lnTo>
                  <a:pt x="10" y="184"/>
                </a:lnTo>
                <a:lnTo>
                  <a:pt x="10" y="184"/>
                </a:lnTo>
                <a:lnTo>
                  <a:pt x="10" y="184"/>
                </a:lnTo>
                <a:lnTo>
                  <a:pt x="10" y="184"/>
                </a:lnTo>
                <a:lnTo>
                  <a:pt x="10" y="184"/>
                </a:lnTo>
                <a:lnTo>
                  <a:pt x="10" y="184"/>
                </a:lnTo>
                <a:lnTo>
                  <a:pt x="12" y="185"/>
                </a:lnTo>
                <a:lnTo>
                  <a:pt x="12" y="185"/>
                </a:lnTo>
                <a:lnTo>
                  <a:pt x="12" y="185"/>
                </a:lnTo>
                <a:lnTo>
                  <a:pt x="12" y="185"/>
                </a:lnTo>
                <a:lnTo>
                  <a:pt x="12" y="185"/>
                </a:lnTo>
                <a:lnTo>
                  <a:pt x="12" y="185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12" y="187"/>
                </a:lnTo>
                <a:lnTo>
                  <a:pt x="12" y="187"/>
                </a:lnTo>
                <a:lnTo>
                  <a:pt x="13" y="187"/>
                </a:lnTo>
                <a:lnTo>
                  <a:pt x="13" y="187"/>
                </a:lnTo>
                <a:lnTo>
                  <a:pt x="13" y="187"/>
                </a:lnTo>
                <a:lnTo>
                  <a:pt x="13" y="187"/>
                </a:lnTo>
                <a:lnTo>
                  <a:pt x="13" y="187"/>
                </a:lnTo>
                <a:lnTo>
                  <a:pt x="13" y="188"/>
                </a:lnTo>
                <a:lnTo>
                  <a:pt x="13" y="188"/>
                </a:lnTo>
                <a:lnTo>
                  <a:pt x="13" y="188"/>
                </a:lnTo>
                <a:lnTo>
                  <a:pt x="13" y="188"/>
                </a:lnTo>
                <a:lnTo>
                  <a:pt x="13" y="188"/>
                </a:lnTo>
                <a:lnTo>
                  <a:pt x="13" y="188"/>
                </a:lnTo>
                <a:lnTo>
                  <a:pt x="13" y="188"/>
                </a:lnTo>
                <a:lnTo>
                  <a:pt x="13" y="188"/>
                </a:lnTo>
                <a:lnTo>
                  <a:pt x="14" y="190"/>
                </a:lnTo>
                <a:lnTo>
                  <a:pt x="14" y="190"/>
                </a:lnTo>
                <a:lnTo>
                  <a:pt x="14" y="190"/>
                </a:lnTo>
                <a:lnTo>
                  <a:pt x="14" y="190"/>
                </a:lnTo>
                <a:lnTo>
                  <a:pt x="14" y="190"/>
                </a:lnTo>
                <a:lnTo>
                  <a:pt x="14" y="190"/>
                </a:lnTo>
                <a:lnTo>
                  <a:pt x="14" y="190"/>
                </a:lnTo>
                <a:lnTo>
                  <a:pt x="14" y="191"/>
                </a:lnTo>
                <a:lnTo>
                  <a:pt x="14" y="191"/>
                </a:lnTo>
                <a:lnTo>
                  <a:pt x="14" y="191"/>
                </a:lnTo>
                <a:lnTo>
                  <a:pt x="14" y="191"/>
                </a:lnTo>
                <a:lnTo>
                  <a:pt x="15" y="191"/>
                </a:lnTo>
                <a:lnTo>
                  <a:pt x="15" y="191"/>
                </a:lnTo>
                <a:lnTo>
                  <a:pt x="15" y="191"/>
                </a:lnTo>
                <a:lnTo>
                  <a:pt x="15" y="191"/>
                </a:lnTo>
                <a:lnTo>
                  <a:pt x="15" y="192"/>
                </a:lnTo>
                <a:lnTo>
                  <a:pt x="15" y="192"/>
                </a:lnTo>
                <a:lnTo>
                  <a:pt x="15" y="192"/>
                </a:lnTo>
                <a:lnTo>
                  <a:pt x="15" y="192"/>
                </a:lnTo>
                <a:lnTo>
                  <a:pt x="15" y="192"/>
                </a:lnTo>
                <a:lnTo>
                  <a:pt x="15" y="192"/>
                </a:lnTo>
                <a:lnTo>
                  <a:pt x="16" y="192"/>
                </a:lnTo>
                <a:lnTo>
                  <a:pt x="16" y="192"/>
                </a:lnTo>
                <a:lnTo>
                  <a:pt x="16" y="193"/>
                </a:lnTo>
                <a:lnTo>
                  <a:pt x="16" y="193"/>
                </a:lnTo>
                <a:lnTo>
                  <a:pt x="16" y="193"/>
                </a:lnTo>
                <a:lnTo>
                  <a:pt x="16" y="193"/>
                </a:lnTo>
                <a:lnTo>
                  <a:pt x="16" y="193"/>
                </a:lnTo>
                <a:lnTo>
                  <a:pt x="16" y="193"/>
                </a:lnTo>
                <a:lnTo>
                  <a:pt x="16" y="193"/>
                </a:lnTo>
                <a:lnTo>
                  <a:pt x="16" y="193"/>
                </a:lnTo>
                <a:lnTo>
                  <a:pt x="17" y="193"/>
                </a:lnTo>
                <a:lnTo>
                  <a:pt x="17" y="194"/>
                </a:lnTo>
                <a:lnTo>
                  <a:pt x="17" y="194"/>
                </a:lnTo>
                <a:lnTo>
                  <a:pt x="17" y="194"/>
                </a:lnTo>
                <a:lnTo>
                  <a:pt x="17" y="194"/>
                </a:lnTo>
                <a:lnTo>
                  <a:pt x="17" y="194"/>
                </a:lnTo>
                <a:lnTo>
                  <a:pt x="17" y="194"/>
                </a:lnTo>
                <a:lnTo>
                  <a:pt x="17" y="194"/>
                </a:lnTo>
                <a:lnTo>
                  <a:pt x="17" y="194"/>
                </a:lnTo>
                <a:lnTo>
                  <a:pt x="18" y="195"/>
                </a:lnTo>
                <a:lnTo>
                  <a:pt x="18" y="195"/>
                </a:lnTo>
                <a:lnTo>
                  <a:pt x="18" y="195"/>
                </a:lnTo>
                <a:lnTo>
                  <a:pt x="18" y="195"/>
                </a:lnTo>
                <a:lnTo>
                  <a:pt x="18" y="195"/>
                </a:lnTo>
                <a:lnTo>
                  <a:pt x="18" y="195"/>
                </a:lnTo>
                <a:lnTo>
                  <a:pt x="18" y="195"/>
                </a:lnTo>
                <a:lnTo>
                  <a:pt x="18" y="195"/>
                </a:lnTo>
                <a:lnTo>
                  <a:pt x="19" y="195"/>
                </a:lnTo>
                <a:lnTo>
                  <a:pt x="19" y="195"/>
                </a:lnTo>
                <a:lnTo>
                  <a:pt x="19" y="196"/>
                </a:lnTo>
                <a:lnTo>
                  <a:pt x="19" y="196"/>
                </a:lnTo>
                <a:lnTo>
                  <a:pt x="19" y="196"/>
                </a:lnTo>
                <a:lnTo>
                  <a:pt x="19" y="196"/>
                </a:lnTo>
                <a:lnTo>
                  <a:pt x="19" y="196"/>
                </a:lnTo>
                <a:lnTo>
                  <a:pt x="19" y="196"/>
                </a:lnTo>
                <a:lnTo>
                  <a:pt x="19" y="196"/>
                </a:lnTo>
                <a:lnTo>
                  <a:pt x="21" y="196"/>
                </a:lnTo>
                <a:lnTo>
                  <a:pt x="21" y="196"/>
                </a:lnTo>
                <a:lnTo>
                  <a:pt x="21" y="196"/>
                </a:lnTo>
                <a:lnTo>
                  <a:pt x="21" y="197"/>
                </a:lnTo>
                <a:lnTo>
                  <a:pt x="21" y="197"/>
                </a:lnTo>
                <a:lnTo>
                  <a:pt x="21" y="197"/>
                </a:lnTo>
                <a:lnTo>
                  <a:pt x="21" y="197"/>
                </a:lnTo>
                <a:lnTo>
                  <a:pt x="22" y="197"/>
                </a:lnTo>
                <a:lnTo>
                  <a:pt x="22" y="197"/>
                </a:lnTo>
                <a:lnTo>
                  <a:pt x="22" y="197"/>
                </a:lnTo>
                <a:lnTo>
                  <a:pt x="22" y="197"/>
                </a:lnTo>
                <a:lnTo>
                  <a:pt x="22" y="197"/>
                </a:lnTo>
                <a:lnTo>
                  <a:pt x="22" y="197"/>
                </a:lnTo>
                <a:lnTo>
                  <a:pt x="22" y="197"/>
                </a:lnTo>
                <a:lnTo>
                  <a:pt x="22" y="199"/>
                </a:lnTo>
                <a:lnTo>
                  <a:pt x="23" y="199"/>
                </a:lnTo>
                <a:lnTo>
                  <a:pt x="23" y="199"/>
                </a:lnTo>
                <a:lnTo>
                  <a:pt x="23" y="199"/>
                </a:lnTo>
                <a:lnTo>
                  <a:pt x="23" y="199"/>
                </a:lnTo>
                <a:lnTo>
                  <a:pt x="23" y="199"/>
                </a:lnTo>
                <a:lnTo>
                  <a:pt x="23" y="199"/>
                </a:lnTo>
                <a:lnTo>
                  <a:pt x="23" y="199"/>
                </a:lnTo>
                <a:lnTo>
                  <a:pt x="24" y="199"/>
                </a:lnTo>
                <a:lnTo>
                  <a:pt x="24" y="199"/>
                </a:lnTo>
                <a:lnTo>
                  <a:pt x="24" y="199"/>
                </a:lnTo>
                <a:lnTo>
                  <a:pt x="24" y="199"/>
                </a:lnTo>
                <a:lnTo>
                  <a:pt x="24" y="200"/>
                </a:lnTo>
                <a:lnTo>
                  <a:pt x="24" y="200"/>
                </a:lnTo>
                <a:lnTo>
                  <a:pt x="24" y="200"/>
                </a:lnTo>
                <a:lnTo>
                  <a:pt x="24" y="200"/>
                </a:lnTo>
                <a:lnTo>
                  <a:pt x="25" y="200"/>
                </a:lnTo>
                <a:lnTo>
                  <a:pt x="25" y="200"/>
                </a:lnTo>
                <a:lnTo>
                  <a:pt x="25" y="200"/>
                </a:lnTo>
                <a:lnTo>
                  <a:pt x="25" y="200"/>
                </a:lnTo>
                <a:lnTo>
                  <a:pt x="25" y="200"/>
                </a:lnTo>
                <a:lnTo>
                  <a:pt x="25" y="200"/>
                </a:lnTo>
                <a:lnTo>
                  <a:pt x="25" y="200"/>
                </a:lnTo>
                <a:lnTo>
                  <a:pt x="26" y="200"/>
                </a:lnTo>
                <a:lnTo>
                  <a:pt x="26" y="200"/>
                </a:lnTo>
                <a:lnTo>
                  <a:pt x="26" y="201"/>
                </a:lnTo>
                <a:lnTo>
                  <a:pt x="26" y="201"/>
                </a:lnTo>
                <a:lnTo>
                  <a:pt x="26" y="201"/>
                </a:lnTo>
                <a:lnTo>
                  <a:pt x="26" y="201"/>
                </a:lnTo>
                <a:lnTo>
                  <a:pt x="26" y="201"/>
                </a:lnTo>
                <a:lnTo>
                  <a:pt x="27" y="201"/>
                </a:lnTo>
                <a:lnTo>
                  <a:pt x="27" y="201"/>
                </a:lnTo>
                <a:lnTo>
                  <a:pt x="27" y="201"/>
                </a:lnTo>
                <a:lnTo>
                  <a:pt x="27" y="201"/>
                </a:lnTo>
                <a:lnTo>
                  <a:pt x="27" y="201"/>
                </a:lnTo>
                <a:lnTo>
                  <a:pt x="27" y="201"/>
                </a:lnTo>
                <a:lnTo>
                  <a:pt x="28" y="201"/>
                </a:lnTo>
                <a:lnTo>
                  <a:pt x="28" y="201"/>
                </a:lnTo>
                <a:lnTo>
                  <a:pt x="28" y="201"/>
                </a:lnTo>
                <a:lnTo>
                  <a:pt x="28" y="201"/>
                </a:lnTo>
                <a:lnTo>
                  <a:pt x="28" y="201"/>
                </a:lnTo>
                <a:lnTo>
                  <a:pt x="28" y="201"/>
                </a:lnTo>
                <a:lnTo>
                  <a:pt x="28" y="202"/>
                </a:lnTo>
                <a:lnTo>
                  <a:pt x="30" y="202"/>
                </a:lnTo>
                <a:lnTo>
                  <a:pt x="30" y="202"/>
                </a:lnTo>
                <a:lnTo>
                  <a:pt x="30" y="202"/>
                </a:lnTo>
                <a:lnTo>
                  <a:pt x="30" y="202"/>
                </a:lnTo>
                <a:lnTo>
                  <a:pt x="30" y="202"/>
                </a:lnTo>
                <a:lnTo>
                  <a:pt x="30" y="202"/>
                </a:lnTo>
                <a:lnTo>
                  <a:pt x="31" y="202"/>
                </a:lnTo>
                <a:lnTo>
                  <a:pt x="31" y="202"/>
                </a:lnTo>
                <a:lnTo>
                  <a:pt x="31" y="202"/>
                </a:lnTo>
                <a:lnTo>
                  <a:pt x="31" y="202"/>
                </a:lnTo>
                <a:lnTo>
                  <a:pt x="31" y="202"/>
                </a:lnTo>
                <a:lnTo>
                  <a:pt x="31" y="202"/>
                </a:lnTo>
                <a:lnTo>
                  <a:pt x="31" y="202"/>
                </a:lnTo>
                <a:lnTo>
                  <a:pt x="32" y="202"/>
                </a:lnTo>
                <a:lnTo>
                  <a:pt x="32" y="202"/>
                </a:lnTo>
                <a:lnTo>
                  <a:pt x="32" y="202"/>
                </a:lnTo>
                <a:lnTo>
                  <a:pt x="32" y="202"/>
                </a:lnTo>
                <a:lnTo>
                  <a:pt x="32" y="202"/>
                </a:lnTo>
                <a:lnTo>
                  <a:pt x="32" y="202"/>
                </a:lnTo>
                <a:lnTo>
                  <a:pt x="33" y="202"/>
                </a:lnTo>
                <a:lnTo>
                  <a:pt x="33" y="202"/>
                </a:lnTo>
                <a:lnTo>
                  <a:pt x="33" y="202"/>
                </a:lnTo>
                <a:lnTo>
                  <a:pt x="33" y="202"/>
                </a:lnTo>
                <a:lnTo>
                  <a:pt x="33" y="202"/>
                </a:lnTo>
                <a:lnTo>
                  <a:pt x="33" y="203"/>
                </a:lnTo>
                <a:lnTo>
                  <a:pt x="34" y="203"/>
                </a:lnTo>
                <a:lnTo>
                  <a:pt x="34" y="203"/>
                </a:lnTo>
                <a:lnTo>
                  <a:pt x="34" y="203"/>
                </a:lnTo>
                <a:lnTo>
                  <a:pt x="34" y="203"/>
                </a:lnTo>
                <a:lnTo>
                  <a:pt x="34" y="203"/>
                </a:lnTo>
                <a:lnTo>
                  <a:pt x="34" y="203"/>
                </a:lnTo>
                <a:lnTo>
                  <a:pt x="35" y="203"/>
                </a:lnTo>
                <a:lnTo>
                  <a:pt x="35" y="203"/>
                </a:lnTo>
                <a:lnTo>
                  <a:pt x="35" y="203"/>
                </a:lnTo>
                <a:lnTo>
                  <a:pt x="35" y="203"/>
                </a:lnTo>
                <a:lnTo>
                  <a:pt x="35" y="203"/>
                </a:lnTo>
                <a:lnTo>
                  <a:pt x="35" y="203"/>
                </a:lnTo>
                <a:lnTo>
                  <a:pt x="36" y="203"/>
                </a:lnTo>
                <a:lnTo>
                  <a:pt x="36" y="203"/>
                </a:lnTo>
                <a:lnTo>
                  <a:pt x="36" y="203"/>
                </a:lnTo>
                <a:lnTo>
                  <a:pt x="36" y="203"/>
                </a:lnTo>
                <a:lnTo>
                  <a:pt x="36" y="203"/>
                </a:lnTo>
                <a:lnTo>
                  <a:pt x="36" y="203"/>
                </a:lnTo>
                <a:lnTo>
                  <a:pt x="37" y="203"/>
                </a:lnTo>
                <a:lnTo>
                  <a:pt x="37" y="203"/>
                </a:lnTo>
                <a:lnTo>
                  <a:pt x="37" y="203"/>
                </a:lnTo>
                <a:lnTo>
                  <a:pt x="37" y="203"/>
                </a:lnTo>
                <a:lnTo>
                  <a:pt x="37" y="203"/>
                </a:lnTo>
                <a:lnTo>
                  <a:pt x="37" y="203"/>
                </a:lnTo>
                <a:lnTo>
                  <a:pt x="39" y="203"/>
                </a:lnTo>
                <a:lnTo>
                  <a:pt x="39" y="203"/>
                </a:lnTo>
                <a:lnTo>
                  <a:pt x="39" y="203"/>
                </a:lnTo>
                <a:lnTo>
                  <a:pt x="39" y="203"/>
                </a:lnTo>
                <a:close/>
                <a:moveTo>
                  <a:pt x="76" y="174"/>
                </a:moveTo>
                <a:lnTo>
                  <a:pt x="76" y="174"/>
                </a:lnTo>
                <a:lnTo>
                  <a:pt x="76" y="174"/>
                </a:lnTo>
                <a:lnTo>
                  <a:pt x="76" y="174"/>
                </a:lnTo>
                <a:lnTo>
                  <a:pt x="76" y="174"/>
                </a:lnTo>
                <a:lnTo>
                  <a:pt x="76" y="175"/>
                </a:lnTo>
                <a:lnTo>
                  <a:pt x="76" y="175"/>
                </a:lnTo>
                <a:lnTo>
                  <a:pt x="76" y="175"/>
                </a:lnTo>
                <a:lnTo>
                  <a:pt x="76" y="175"/>
                </a:lnTo>
                <a:lnTo>
                  <a:pt x="76" y="175"/>
                </a:lnTo>
                <a:lnTo>
                  <a:pt x="76" y="176"/>
                </a:lnTo>
                <a:lnTo>
                  <a:pt x="76" y="176"/>
                </a:lnTo>
                <a:lnTo>
                  <a:pt x="76" y="176"/>
                </a:lnTo>
                <a:lnTo>
                  <a:pt x="76" y="176"/>
                </a:lnTo>
                <a:lnTo>
                  <a:pt x="76" y="177"/>
                </a:lnTo>
                <a:lnTo>
                  <a:pt x="76" y="177"/>
                </a:lnTo>
                <a:lnTo>
                  <a:pt x="76" y="177"/>
                </a:lnTo>
                <a:lnTo>
                  <a:pt x="76" y="177"/>
                </a:lnTo>
                <a:lnTo>
                  <a:pt x="76" y="177"/>
                </a:lnTo>
                <a:lnTo>
                  <a:pt x="76" y="178"/>
                </a:lnTo>
                <a:lnTo>
                  <a:pt x="76" y="178"/>
                </a:lnTo>
                <a:lnTo>
                  <a:pt x="76" y="178"/>
                </a:lnTo>
                <a:lnTo>
                  <a:pt x="76" y="178"/>
                </a:lnTo>
                <a:lnTo>
                  <a:pt x="76" y="178"/>
                </a:lnTo>
                <a:lnTo>
                  <a:pt x="76" y="179"/>
                </a:lnTo>
                <a:lnTo>
                  <a:pt x="76" y="179"/>
                </a:lnTo>
                <a:lnTo>
                  <a:pt x="76" y="179"/>
                </a:lnTo>
                <a:lnTo>
                  <a:pt x="76" y="179"/>
                </a:lnTo>
                <a:lnTo>
                  <a:pt x="76" y="179"/>
                </a:lnTo>
                <a:lnTo>
                  <a:pt x="76" y="181"/>
                </a:lnTo>
                <a:lnTo>
                  <a:pt x="76" y="181"/>
                </a:lnTo>
                <a:lnTo>
                  <a:pt x="76" y="181"/>
                </a:lnTo>
                <a:lnTo>
                  <a:pt x="76" y="181"/>
                </a:lnTo>
                <a:lnTo>
                  <a:pt x="76" y="181"/>
                </a:lnTo>
                <a:lnTo>
                  <a:pt x="75" y="182"/>
                </a:lnTo>
                <a:lnTo>
                  <a:pt x="75" y="182"/>
                </a:lnTo>
                <a:lnTo>
                  <a:pt x="75" y="182"/>
                </a:lnTo>
                <a:lnTo>
                  <a:pt x="75" y="182"/>
                </a:lnTo>
                <a:lnTo>
                  <a:pt x="75" y="182"/>
                </a:lnTo>
                <a:lnTo>
                  <a:pt x="75" y="183"/>
                </a:lnTo>
                <a:lnTo>
                  <a:pt x="75" y="183"/>
                </a:lnTo>
                <a:lnTo>
                  <a:pt x="75" y="183"/>
                </a:lnTo>
                <a:lnTo>
                  <a:pt x="75" y="183"/>
                </a:lnTo>
                <a:lnTo>
                  <a:pt x="75" y="183"/>
                </a:lnTo>
                <a:lnTo>
                  <a:pt x="75" y="184"/>
                </a:lnTo>
                <a:lnTo>
                  <a:pt x="75" y="184"/>
                </a:lnTo>
                <a:lnTo>
                  <a:pt x="75" y="184"/>
                </a:lnTo>
                <a:lnTo>
                  <a:pt x="75" y="184"/>
                </a:lnTo>
                <a:lnTo>
                  <a:pt x="75" y="184"/>
                </a:lnTo>
                <a:lnTo>
                  <a:pt x="75" y="185"/>
                </a:lnTo>
                <a:lnTo>
                  <a:pt x="75" y="185"/>
                </a:lnTo>
                <a:lnTo>
                  <a:pt x="75" y="185"/>
                </a:lnTo>
                <a:lnTo>
                  <a:pt x="75" y="185"/>
                </a:lnTo>
                <a:lnTo>
                  <a:pt x="73" y="185"/>
                </a:lnTo>
                <a:lnTo>
                  <a:pt x="73" y="186"/>
                </a:lnTo>
                <a:lnTo>
                  <a:pt x="73" y="186"/>
                </a:lnTo>
                <a:lnTo>
                  <a:pt x="73" y="186"/>
                </a:lnTo>
                <a:lnTo>
                  <a:pt x="73" y="186"/>
                </a:lnTo>
                <a:lnTo>
                  <a:pt x="73" y="186"/>
                </a:lnTo>
                <a:lnTo>
                  <a:pt x="73" y="187"/>
                </a:lnTo>
                <a:lnTo>
                  <a:pt x="73" y="187"/>
                </a:lnTo>
                <a:lnTo>
                  <a:pt x="73" y="187"/>
                </a:lnTo>
                <a:lnTo>
                  <a:pt x="73" y="187"/>
                </a:lnTo>
                <a:lnTo>
                  <a:pt x="73" y="187"/>
                </a:lnTo>
                <a:lnTo>
                  <a:pt x="73" y="188"/>
                </a:lnTo>
                <a:lnTo>
                  <a:pt x="73" y="188"/>
                </a:lnTo>
                <a:lnTo>
                  <a:pt x="72" y="188"/>
                </a:lnTo>
                <a:lnTo>
                  <a:pt x="72" y="188"/>
                </a:lnTo>
                <a:lnTo>
                  <a:pt x="72" y="188"/>
                </a:lnTo>
                <a:lnTo>
                  <a:pt x="72" y="188"/>
                </a:lnTo>
                <a:lnTo>
                  <a:pt x="72" y="190"/>
                </a:lnTo>
                <a:lnTo>
                  <a:pt x="72" y="190"/>
                </a:lnTo>
                <a:lnTo>
                  <a:pt x="72" y="190"/>
                </a:lnTo>
                <a:lnTo>
                  <a:pt x="72" y="190"/>
                </a:lnTo>
                <a:lnTo>
                  <a:pt x="72" y="190"/>
                </a:lnTo>
                <a:lnTo>
                  <a:pt x="72" y="191"/>
                </a:lnTo>
                <a:lnTo>
                  <a:pt x="72" y="191"/>
                </a:lnTo>
                <a:lnTo>
                  <a:pt x="72" y="191"/>
                </a:lnTo>
                <a:lnTo>
                  <a:pt x="71" y="191"/>
                </a:lnTo>
                <a:lnTo>
                  <a:pt x="71" y="191"/>
                </a:lnTo>
                <a:lnTo>
                  <a:pt x="71" y="191"/>
                </a:lnTo>
                <a:lnTo>
                  <a:pt x="71" y="192"/>
                </a:lnTo>
                <a:lnTo>
                  <a:pt x="71" y="192"/>
                </a:lnTo>
                <a:lnTo>
                  <a:pt x="71" y="192"/>
                </a:lnTo>
                <a:lnTo>
                  <a:pt x="71" y="192"/>
                </a:lnTo>
                <a:lnTo>
                  <a:pt x="71" y="192"/>
                </a:lnTo>
                <a:lnTo>
                  <a:pt x="71" y="193"/>
                </a:lnTo>
                <a:lnTo>
                  <a:pt x="71" y="193"/>
                </a:lnTo>
                <a:lnTo>
                  <a:pt x="70" y="193"/>
                </a:lnTo>
                <a:lnTo>
                  <a:pt x="70" y="193"/>
                </a:lnTo>
                <a:lnTo>
                  <a:pt x="70" y="193"/>
                </a:lnTo>
                <a:lnTo>
                  <a:pt x="70" y="193"/>
                </a:lnTo>
                <a:lnTo>
                  <a:pt x="70" y="194"/>
                </a:lnTo>
                <a:lnTo>
                  <a:pt x="70" y="194"/>
                </a:lnTo>
                <a:lnTo>
                  <a:pt x="70" y="194"/>
                </a:lnTo>
                <a:lnTo>
                  <a:pt x="70" y="194"/>
                </a:lnTo>
                <a:lnTo>
                  <a:pt x="70" y="194"/>
                </a:lnTo>
                <a:lnTo>
                  <a:pt x="69" y="194"/>
                </a:lnTo>
                <a:lnTo>
                  <a:pt x="69" y="195"/>
                </a:lnTo>
                <a:lnTo>
                  <a:pt x="69" y="195"/>
                </a:lnTo>
                <a:lnTo>
                  <a:pt x="69" y="195"/>
                </a:lnTo>
                <a:lnTo>
                  <a:pt x="69" y="195"/>
                </a:lnTo>
                <a:lnTo>
                  <a:pt x="69" y="195"/>
                </a:lnTo>
                <a:lnTo>
                  <a:pt x="69" y="195"/>
                </a:lnTo>
                <a:lnTo>
                  <a:pt x="69" y="196"/>
                </a:lnTo>
                <a:lnTo>
                  <a:pt x="69" y="196"/>
                </a:lnTo>
                <a:lnTo>
                  <a:pt x="68" y="196"/>
                </a:lnTo>
                <a:lnTo>
                  <a:pt x="68" y="196"/>
                </a:lnTo>
                <a:lnTo>
                  <a:pt x="68" y="196"/>
                </a:lnTo>
                <a:lnTo>
                  <a:pt x="68" y="196"/>
                </a:lnTo>
                <a:lnTo>
                  <a:pt x="68" y="196"/>
                </a:lnTo>
                <a:lnTo>
                  <a:pt x="68" y="197"/>
                </a:lnTo>
                <a:lnTo>
                  <a:pt x="68" y="197"/>
                </a:lnTo>
                <a:lnTo>
                  <a:pt x="67" y="197"/>
                </a:lnTo>
                <a:lnTo>
                  <a:pt x="67" y="197"/>
                </a:lnTo>
                <a:lnTo>
                  <a:pt x="67" y="197"/>
                </a:lnTo>
                <a:lnTo>
                  <a:pt x="67" y="197"/>
                </a:lnTo>
                <a:lnTo>
                  <a:pt x="67" y="199"/>
                </a:lnTo>
                <a:lnTo>
                  <a:pt x="67" y="199"/>
                </a:lnTo>
                <a:lnTo>
                  <a:pt x="67" y="199"/>
                </a:lnTo>
                <a:lnTo>
                  <a:pt x="67" y="199"/>
                </a:lnTo>
                <a:lnTo>
                  <a:pt x="66" y="199"/>
                </a:lnTo>
                <a:lnTo>
                  <a:pt x="66" y="199"/>
                </a:lnTo>
                <a:lnTo>
                  <a:pt x="66" y="199"/>
                </a:lnTo>
                <a:lnTo>
                  <a:pt x="66" y="200"/>
                </a:lnTo>
                <a:lnTo>
                  <a:pt x="66" y="200"/>
                </a:lnTo>
                <a:lnTo>
                  <a:pt x="66" y="200"/>
                </a:lnTo>
                <a:lnTo>
                  <a:pt x="66" y="200"/>
                </a:lnTo>
                <a:lnTo>
                  <a:pt x="64" y="200"/>
                </a:lnTo>
                <a:lnTo>
                  <a:pt x="64" y="200"/>
                </a:lnTo>
                <a:lnTo>
                  <a:pt x="64" y="200"/>
                </a:lnTo>
                <a:lnTo>
                  <a:pt x="64" y="201"/>
                </a:lnTo>
                <a:lnTo>
                  <a:pt x="64" y="201"/>
                </a:lnTo>
                <a:lnTo>
                  <a:pt x="64" y="201"/>
                </a:lnTo>
                <a:lnTo>
                  <a:pt x="64" y="201"/>
                </a:lnTo>
                <a:lnTo>
                  <a:pt x="63" y="201"/>
                </a:lnTo>
                <a:lnTo>
                  <a:pt x="63" y="201"/>
                </a:lnTo>
                <a:lnTo>
                  <a:pt x="63" y="201"/>
                </a:lnTo>
                <a:lnTo>
                  <a:pt x="63" y="202"/>
                </a:lnTo>
                <a:lnTo>
                  <a:pt x="63" y="202"/>
                </a:lnTo>
                <a:lnTo>
                  <a:pt x="63" y="202"/>
                </a:lnTo>
                <a:lnTo>
                  <a:pt x="63" y="202"/>
                </a:lnTo>
                <a:lnTo>
                  <a:pt x="62" y="202"/>
                </a:lnTo>
                <a:lnTo>
                  <a:pt x="62" y="202"/>
                </a:lnTo>
                <a:lnTo>
                  <a:pt x="62" y="202"/>
                </a:lnTo>
                <a:lnTo>
                  <a:pt x="62" y="202"/>
                </a:lnTo>
                <a:lnTo>
                  <a:pt x="62" y="203"/>
                </a:lnTo>
                <a:lnTo>
                  <a:pt x="62" y="203"/>
                </a:lnTo>
                <a:lnTo>
                  <a:pt x="61" y="203"/>
                </a:lnTo>
                <a:lnTo>
                  <a:pt x="61" y="203"/>
                </a:lnTo>
                <a:lnTo>
                  <a:pt x="61" y="203"/>
                </a:lnTo>
                <a:lnTo>
                  <a:pt x="61" y="203"/>
                </a:lnTo>
                <a:lnTo>
                  <a:pt x="61" y="203"/>
                </a:lnTo>
                <a:lnTo>
                  <a:pt x="61" y="203"/>
                </a:lnTo>
                <a:lnTo>
                  <a:pt x="61" y="204"/>
                </a:lnTo>
                <a:lnTo>
                  <a:pt x="60" y="204"/>
                </a:lnTo>
                <a:lnTo>
                  <a:pt x="60" y="204"/>
                </a:lnTo>
                <a:lnTo>
                  <a:pt x="60" y="204"/>
                </a:lnTo>
                <a:lnTo>
                  <a:pt x="60" y="204"/>
                </a:lnTo>
                <a:lnTo>
                  <a:pt x="60" y="204"/>
                </a:lnTo>
                <a:lnTo>
                  <a:pt x="60" y="204"/>
                </a:lnTo>
                <a:lnTo>
                  <a:pt x="59" y="204"/>
                </a:lnTo>
                <a:lnTo>
                  <a:pt x="59" y="204"/>
                </a:lnTo>
                <a:lnTo>
                  <a:pt x="59" y="205"/>
                </a:lnTo>
                <a:lnTo>
                  <a:pt x="59" y="205"/>
                </a:lnTo>
                <a:lnTo>
                  <a:pt x="59" y="205"/>
                </a:lnTo>
                <a:lnTo>
                  <a:pt x="59" y="205"/>
                </a:lnTo>
                <a:lnTo>
                  <a:pt x="58" y="205"/>
                </a:lnTo>
                <a:lnTo>
                  <a:pt x="58" y="205"/>
                </a:lnTo>
                <a:lnTo>
                  <a:pt x="58" y="205"/>
                </a:lnTo>
                <a:lnTo>
                  <a:pt x="58" y="205"/>
                </a:lnTo>
                <a:lnTo>
                  <a:pt x="58" y="205"/>
                </a:lnTo>
                <a:lnTo>
                  <a:pt x="57" y="206"/>
                </a:lnTo>
                <a:lnTo>
                  <a:pt x="57" y="206"/>
                </a:lnTo>
                <a:lnTo>
                  <a:pt x="57" y="206"/>
                </a:lnTo>
                <a:lnTo>
                  <a:pt x="57" y="206"/>
                </a:lnTo>
                <a:lnTo>
                  <a:pt x="57" y="206"/>
                </a:lnTo>
                <a:lnTo>
                  <a:pt x="57" y="206"/>
                </a:lnTo>
                <a:lnTo>
                  <a:pt x="55" y="206"/>
                </a:lnTo>
                <a:lnTo>
                  <a:pt x="55" y="206"/>
                </a:lnTo>
                <a:lnTo>
                  <a:pt x="55" y="206"/>
                </a:lnTo>
                <a:lnTo>
                  <a:pt x="55" y="206"/>
                </a:lnTo>
                <a:lnTo>
                  <a:pt x="55" y="206"/>
                </a:lnTo>
                <a:lnTo>
                  <a:pt x="55" y="208"/>
                </a:lnTo>
                <a:lnTo>
                  <a:pt x="54" y="208"/>
                </a:lnTo>
                <a:lnTo>
                  <a:pt x="54" y="208"/>
                </a:lnTo>
                <a:lnTo>
                  <a:pt x="54" y="208"/>
                </a:lnTo>
                <a:lnTo>
                  <a:pt x="54" y="208"/>
                </a:lnTo>
                <a:lnTo>
                  <a:pt x="54" y="208"/>
                </a:lnTo>
                <a:lnTo>
                  <a:pt x="53" y="208"/>
                </a:lnTo>
                <a:lnTo>
                  <a:pt x="53" y="208"/>
                </a:lnTo>
                <a:lnTo>
                  <a:pt x="53" y="208"/>
                </a:lnTo>
                <a:lnTo>
                  <a:pt x="53" y="208"/>
                </a:lnTo>
                <a:lnTo>
                  <a:pt x="53" y="208"/>
                </a:lnTo>
                <a:lnTo>
                  <a:pt x="52" y="208"/>
                </a:lnTo>
                <a:lnTo>
                  <a:pt x="52" y="209"/>
                </a:lnTo>
                <a:lnTo>
                  <a:pt x="52" y="209"/>
                </a:lnTo>
                <a:lnTo>
                  <a:pt x="52" y="209"/>
                </a:lnTo>
                <a:lnTo>
                  <a:pt x="52" y="209"/>
                </a:lnTo>
                <a:lnTo>
                  <a:pt x="52" y="209"/>
                </a:lnTo>
                <a:lnTo>
                  <a:pt x="51" y="209"/>
                </a:lnTo>
                <a:lnTo>
                  <a:pt x="51" y="209"/>
                </a:lnTo>
                <a:lnTo>
                  <a:pt x="51" y="209"/>
                </a:lnTo>
                <a:lnTo>
                  <a:pt x="51" y="209"/>
                </a:lnTo>
                <a:lnTo>
                  <a:pt x="51" y="209"/>
                </a:lnTo>
                <a:lnTo>
                  <a:pt x="50" y="209"/>
                </a:lnTo>
                <a:lnTo>
                  <a:pt x="50" y="209"/>
                </a:lnTo>
                <a:lnTo>
                  <a:pt x="50" y="209"/>
                </a:lnTo>
                <a:lnTo>
                  <a:pt x="50" y="209"/>
                </a:lnTo>
                <a:lnTo>
                  <a:pt x="50" y="209"/>
                </a:lnTo>
                <a:lnTo>
                  <a:pt x="49" y="210"/>
                </a:lnTo>
                <a:lnTo>
                  <a:pt x="49" y="210"/>
                </a:lnTo>
                <a:lnTo>
                  <a:pt x="49" y="210"/>
                </a:lnTo>
                <a:lnTo>
                  <a:pt x="49" y="210"/>
                </a:lnTo>
                <a:lnTo>
                  <a:pt x="49" y="210"/>
                </a:lnTo>
                <a:lnTo>
                  <a:pt x="48" y="210"/>
                </a:lnTo>
                <a:lnTo>
                  <a:pt x="48" y="210"/>
                </a:lnTo>
                <a:lnTo>
                  <a:pt x="48" y="210"/>
                </a:lnTo>
                <a:lnTo>
                  <a:pt x="48" y="210"/>
                </a:lnTo>
                <a:lnTo>
                  <a:pt x="48" y="210"/>
                </a:lnTo>
                <a:lnTo>
                  <a:pt x="46" y="210"/>
                </a:lnTo>
                <a:lnTo>
                  <a:pt x="46" y="210"/>
                </a:lnTo>
                <a:lnTo>
                  <a:pt x="46" y="210"/>
                </a:lnTo>
                <a:lnTo>
                  <a:pt x="46" y="210"/>
                </a:lnTo>
                <a:lnTo>
                  <a:pt x="46" y="210"/>
                </a:lnTo>
                <a:lnTo>
                  <a:pt x="45" y="210"/>
                </a:lnTo>
                <a:lnTo>
                  <a:pt x="45" y="210"/>
                </a:lnTo>
                <a:lnTo>
                  <a:pt x="45" y="210"/>
                </a:lnTo>
                <a:lnTo>
                  <a:pt x="45" y="210"/>
                </a:lnTo>
                <a:lnTo>
                  <a:pt x="45" y="210"/>
                </a:lnTo>
                <a:lnTo>
                  <a:pt x="44" y="210"/>
                </a:lnTo>
                <a:lnTo>
                  <a:pt x="44" y="211"/>
                </a:lnTo>
                <a:lnTo>
                  <a:pt x="44" y="211"/>
                </a:lnTo>
                <a:lnTo>
                  <a:pt x="44" y="211"/>
                </a:lnTo>
                <a:lnTo>
                  <a:pt x="44" y="211"/>
                </a:lnTo>
                <a:lnTo>
                  <a:pt x="43" y="211"/>
                </a:lnTo>
                <a:lnTo>
                  <a:pt x="43" y="211"/>
                </a:lnTo>
                <a:lnTo>
                  <a:pt x="43" y="211"/>
                </a:lnTo>
                <a:lnTo>
                  <a:pt x="43" y="211"/>
                </a:lnTo>
                <a:lnTo>
                  <a:pt x="42" y="211"/>
                </a:lnTo>
                <a:lnTo>
                  <a:pt x="42" y="211"/>
                </a:lnTo>
                <a:lnTo>
                  <a:pt x="42" y="211"/>
                </a:lnTo>
                <a:lnTo>
                  <a:pt x="42" y="211"/>
                </a:lnTo>
                <a:lnTo>
                  <a:pt x="42" y="211"/>
                </a:lnTo>
                <a:lnTo>
                  <a:pt x="41" y="211"/>
                </a:lnTo>
                <a:lnTo>
                  <a:pt x="41" y="211"/>
                </a:lnTo>
                <a:lnTo>
                  <a:pt x="41" y="211"/>
                </a:lnTo>
                <a:lnTo>
                  <a:pt x="41" y="211"/>
                </a:lnTo>
                <a:lnTo>
                  <a:pt x="41" y="211"/>
                </a:lnTo>
                <a:lnTo>
                  <a:pt x="40" y="211"/>
                </a:lnTo>
                <a:lnTo>
                  <a:pt x="40" y="211"/>
                </a:lnTo>
                <a:lnTo>
                  <a:pt x="40" y="211"/>
                </a:lnTo>
                <a:lnTo>
                  <a:pt x="40" y="211"/>
                </a:lnTo>
                <a:lnTo>
                  <a:pt x="40" y="211"/>
                </a:lnTo>
                <a:lnTo>
                  <a:pt x="39" y="211"/>
                </a:lnTo>
                <a:lnTo>
                  <a:pt x="39" y="211"/>
                </a:lnTo>
                <a:lnTo>
                  <a:pt x="39" y="211"/>
                </a:lnTo>
                <a:lnTo>
                  <a:pt x="39" y="211"/>
                </a:lnTo>
                <a:lnTo>
                  <a:pt x="37" y="211"/>
                </a:lnTo>
                <a:lnTo>
                  <a:pt x="37" y="211"/>
                </a:lnTo>
                <a:lnTo>
                  <a:pt x="37" y="211"/>
                </a:lnTo>
                <a:lnTo>
                  <a:pt x="37" y="211"/>
                </a:lnTo>
                <a:lnTo>
                  <a:pt x="37" y="211"/>
                </a:lnTo>
                <a:lnTo>
                  <a:pt x="36" y="211"/>
                </a:lnTo>
                <a:lnTo>
                  <a:pt x="36" y="211"/>
                </a:lnTo>
                <a:lnTo>
                  <a:pt x="36" y="211"/>
                </a:lnTo>
                <a:lnTo>
                  <a:pt x="36" y="211"/>
                </a:lnTo>
                <a:lnTo>
                  <a:pt x="36" y="211"/>
                </a:lnTo>
                <a:lnTo>
                  <a:pt x="35" y="211"/>
                </a:lnTo>
                <a:lnTo>
                  <a:pt x="35" y="211"/>
                </a:lnTo>
                <a:lnTo>
                  <a:pt x="35" y="211"/>
                </a:lnTo>
                <a:lnTo>
                  <a:pt x="35" y="211"/>
                </a:lnTo>
                <a:lnTo>
                  <a:pt x="34" y="211"/>
                </a:lnTo>
                <a:lnTo>
                  <a:pt x="34" y="211"/>
                </a:lnTo>
                <a:lnTo>
                  <a:pt x="34" y="211"/>
                </a:lnTo>
                <a:lnTo>
                  <a:pt x="34" y="211"/>
                </a:lnTo>
                <a:lnTo>
                  <a:pt x="34" y="211"/>
                </a:lnTo>
                <a:lnTo>
                  <a:pt x="33" y="211"/>
                </a:lnTo>
                <a:lnTo>
                  <a:pt x="33" y="211"/>
                </a:lnTo>
                <a:lnTo>
                  <a:pt x="33" y="211"/>
                </a:lnTo>
                <a:lnTo>
                  <a:pt x="33" y="211"/>
                </a:lnTo>
                <a:lnTo>
                  <a:pt x="33" y="211"/>
                </a:lnTo>
                <a:lnTo>
                  <a:pt x="32" y="210"/>
                </a:lnTo>
                <a:lnTo>
                  <a:pt x="32" y="210"/>
                </a:lnTo>
                <a:lnTo>
                  <a:pt x="32" y="210"/>
                </a:lnTo>
                <a:lnTo>
                  <a:pt x="32" y="210"/>
                </a:lnTo>
                <a:lnTo>
                  <a:pt x="32" y="210"/>
                </a:lnTo>
                <a:lnTo>
                  <a:pt x="31" y="210"/>
                </a:lnTo>
                <a:lnTo>
                  <a:pt x="31" y="210"/>
                </a:lnTo>
                <a:lnTo>
                  <a:pt x="31" y="210"/>
                </a:lnTo>
                <a:lnTo>
                  <a:pt x="31" y="210"/>
                </a:lnTo>
                <a:lnTo>
                  <a:pt x="31" y="210"/>
                </a:lnTo>
                <a:lnTo>
                  <a:pt x="30" y="210"/>
                </a:lnTo>
                <a:lnTo>
                  <a:pt x="30" y="210"/>
                </a:lnTo>
                <a:lnTo>
                  <a:pt x="30" y="210"/>
                </a:lnTo>
                <a:lnTo>
                  <a:pt x="30" y="210"/>
                </a:lnTo>
                <a:lnTo>
                  <a:pt x="30" y="210"/>
                </a:lnTo>
                <a:lnTo>
                  <a:pt x="28" y="210"/>
                </a:lnTo>
                <a:lnTo>
                  <a:pt x="28" y="210"/>
                </a:lnTo>
                <a:lnTo>
                  <a:pt x="28" y="210"/>
                </a:lnTo>
                <a:lnTo>
                  <a:pt x="28" y="210"/>
                </a:lnTo>
                <a:lnTo>
                  <a:pt x="28" y="210"/>
                </a:lnTo>
                <a:lnTo>
                  <a:pt x="27" y="210"/>
                </a:lnTo>
                <a:lnTo>
                  <a:pt x="27" y="209"/>
                </a:lnTo>
                <a:lnTo>
                  <a:pt x="27" y="209"/>
                </a:lnTo>
                <a:lnTo>
                  <a:pt x="27" y="209"/>
                </a:lnTo>
                <a:lnTo>
                  <a:pt x="27" y="209"/>
                </a:lnTo>
                <a:lnTo>
                  <a:pt x="26" y="209"/>
                </a:lnTo>
                <a:lnTo>
                  <a:pt x="26" y="209"/>
                </a:lnTo>
                <a:lnTo>
                  <a:pt x="26" y="209"/>
                </a:lnTo>
                <a:lnTo>
                  <a:pt x="26" y="209"/>
                </a:lnTo>
                <a:lnTo>
                  <a:pt x="26" y="209"/>
                </a:lnTo>
                <a:lnTo>
                  <a:pt x="25" y="209"/>
                </a:lnTo>
                <a:lnTo>
                  <a:pt x="25" y="209"/>
                </a:lnTo>
                <a:lnTo>
                  <a:pt x="25" y="209"/>
                </a:lnTo>
                <a:lnTo>
                  <a:pt x="25" y="209"/>
                </a:lnTo>
                <a:lnTo>
                  <a:pt x="25" y="209"/>
                </a:lnTo>
                <a:lnTo>
                  <a:pt x="24" y="209"/>
                </a:lnTo>
                <a:lnTo>
                  <a:pt x="24" y="208"/>
                </a:lnTo>
                <a:lnTo>
                  <a:pt x="24" y="208"/>
                </a:lnTo>
                <a:lnTo>
                  <a:pt x="24" y="208"/>
                </a:lnTo>
                <a:lnTo>
                  <a:pt x="24" y="208"/>
                </a:lnTo>
                <a:lnTo>
                  <a:pt x="24" y="208"/>
                </a:lnTo>
                <a:lnTo>
                  <a:pt x="23" y="208"/>
                </a:lnTo>
                <a:lnTo>
                  <a:pt x="23" y="208"/>
                </a:lnTo>
                <a:lnTo>
                  <a:pt x="23" y="208"/>
                </a:lnTo>
                <a:lnTo>
                  <a:pt x="23" y="208"/>
                </a:lnTo>
                <a:lnTo>
                  <a:pt x="23" y="208"/>
                </a:lnTo>
                <a:lnTo>
                  <a:pt x="22" y="208"/>
                </a:lnTo>
                <a:lnTo>
                  <a:pt x="22" y="208"/>
                </a:lnTo>
                <a:lnTo>
                  <a:pt x="22" y="206"/>
                </a:lnTo>
                <a:lnTo>
                  <a:pt x="22" y="206"/>
                </a:lnTo>
                <a:lnTo>
                  <a:pt x="22" y="206"/>
                </a:lnTo>
                <a:lnTo>
                  <a:pt x="22" y="206"/>
                </a:lnTo>
                <a:lnTo>
                  <a:pt x="21" y="206"/>
                </a:lnTo>
                <a:lnTo>
                  <a:pt x="21" y="206"/>
                </a:lnTo>
                <a:lnTo>
                  <a:pt x="21" y="206"/>
                </a:lnTo>
                <a:lnTo>
                  <a:pt x="21" y="206"/>
                </a:lnTo>
                <a:lnTo>
                  <a:pt x="21" y="206"/>
                </a:lnTo>
                <a:lnTo>
                  <a:pt x="19" y="206"/>
                </a:lnTo>
                <a:lnTo>
                  <a:pt x="19" y="206"/>
                </a:lnTo>
                <a:lnTo>
                  <a:pt x="19" y="205"/>
                </a:lnTo>
                <a:lnTo>
                  <a:pt x="19" y="205"/>
                </a:lnTo>
                <a:lnTo>
                  <a:pt x="19" y="205"/>
                </a:lnTo>
                <a:lnTo>
                  <a:pt x="19" y="205"/>
                </a:lnTo>
                <a:lnTo>
                  <a:pt x="18" y="205"/>
                </a:lnTo>
                <a:lnTo>
                  <a:pt x="18" y="205"/>
                </a:lnTo>
                <a:lnTo>
                  <a:pt x="18" y="205"/>
                </a:lnTo>
                <a:lnTo>
                  <a:pt x="18" y="205"/>
                </a:lnTo>
                <a:lnTo>
                  <a:pt x="18" y="205"/>
                </a:lnTo>
                <a:lnTo>
                  <a:pt x="18" y="204"/>
                </a:lnTo>
                <a:lnTo>
                  <a:pt x="17" y="204"/>
                </a:lnTo>
                <a:lnTo>
                  <a:pt x="17" y="204"/>
                </a:lnTo>
                <a:lnTo>
                  <a:pt x="17" y="204"/>
                </a:lnTo>
                <a:lnTo>
                  <a:pt x="17" y="204"/>
                </a:lnTo>
                <a:lnTo>
                  <a:pt x="17" y="204"/>
                </a:lnTo>
                <a:lnTo>
                  <a:pt x="17" y="204"/>
                </a:lnTo>
                <a:lnTo>
                  <a:pt x="16" y="204"/>
                </a:lnTo>
                <a:lnTo>
                  <a:pt x="16" y="204"/>
                </a:lnTo>
                <a:lnTo>
                  <a:pt x="16" y="203"/>
                </a:lnTo>
                <a:lnTo>
                  <a:pt x="16" y="203"/>
                </a:lnTo>
                <a:lnTo>
                  <a:pt x="16" y="203"/>
                </a:lnTo>
                <a:lnTo>
                  <a:pt x="16" y="203"/>
                </a:lnTo>
                <a:lnTo>
                  <a:pt x="15" y="203"/>
                </a:lnTo>
                <a:lnTo>
                  <a:pt x="15" y="203"/>
                </a:lnTo>
                <a:lnTo>
                  <a:pt x="15" y="203"/>
                </a:lnTo>
                <a:lnTo>
                  <a:pt x="15" y="203"/>
                </a:lnTo>
                <a:lnTo>
                  <a:pt x="15" y="202"/>
                </a:lnTo>
                <a:lnTo>
                  <a:pt x="15" y="202"/>
                </a:lnTo>
                <a:lnTo>
                  <a:pt x="14" y="202"/>
                </a:lnTo>
                <a:lnTo>
                  <a:pt x="14" y="202"/>
                </a:lnTo>
                <a:lnTo>
                  <a:pt x="14" y="202"/>
                </a:lnTo>
                <a:lnTo>
                  <a:pt x="14" y="202"/>
                </a:lnTo>
                <a:lnTo>
                  <a:pt x="14" y="202"/>
                </a:lnTo>
                <a:lnTo>
                  <a:pt x="14" y="202"/>
                </a:lnTo>
                <a:lnTo>
                  <a:pt x="14" y="201"/>
                </a:lnTo>
                <a:lnTo>
                  <a:pt x="13" y="201"/>
                </a:lnTo>
                <a:lnTo>
                  <a:pt x="13" y="201"/>
                </a:lnTo>
                <a:lnTo>
                  <a:pt x="13" y="201"/>
                </a:lnTo>
                <a:lnTo>
                  <a:pt x="13" y="201"/>
                </a:lnTo>
                <a:lnTo>
                  <a:pt x="13" y="201"/>
                </a:lnTo>
                <a:lnTo>
                  <a:pt x="13" y="201"/>
                </a:lnTo>
                <a:lnTo>
                  <a:pt x="13" y="200"/>
                </a:lnTo>
                <a:lnTo>
                  <a:pt x="12" y="200"/>
                </a:lnTo>
                <a:lnTo>
                  <a:pt x="12" y="200"/>
                </a:lnTo>
                <a:lnTo>
                  <a:pt x="12" y="200"/>
                </a:lnTo>
                <a:lnTo>
                  <a:pt x="12" y="200"/>
                </a:lnTo>
                <a:lnTo>
                  <a:pt x="12" y="200"/>
                </a:lnTo>
                <a:lnTo>
                  <a:pt x="12" y="200"/>
                </a:lnTo>
                <a:lnTo>
                  <a:pt x="12" y="199"/>
                </a:lnTo>
                <a:lnTo>
                  <a:pt x="10" y="199"/>
                </a:lnTo>
                <a:lnTo>
                  <a:pt x="10" y="199"/>
                </a:lnTo>
                <a:lnTo>
                  <a:pt x="10" y="199"/>
                </a:lnTo>
                <a:lnTo>
                  <a:pt x="10" y="199"/>
                </a:lnTo>
                <a:lnTo>
                  <a:pt x="10" y="199"/>
                </a:lnTo>
                <a:lnTo>
                  <a:pt x="10" y="199"/>
                </a:lnTo>
                <a:lnTo>
                  <a:pt x="10" y="197"/>
                </a:lnTo>
                <a:lnTo>
                  <a:pt x="10" y="197"/>
                </a:lnTo>
                <a:lnTo>
                  <a:pt x="9" y="197"/>
                </a:lnTo>
                <a:lnTo>
                  <a:pt x="9" y="197"/>
                </a:lnTo>
                <a:lnTo>
                  <a:pt x="9" y="197"/>
                </a:lnTo>
                <a:lnTo>
                  <a:pt x="9" y="197"/>
                </a:lnTo>
                <a:lnTo>
                  <a:pt x="9" y="196"/>
                </a:lnTo>
                <a:lnTo>
                  <a:pt x="9" y="196"/>
                </a:lnTo>
                <a:lnTo>
                  <a:pt x="9" y="196"/>
                </a:lnTo>
                <a:lnTo>
                  <a:pt x="8" y="196"/>
                </a:lnTo>
                <a:lnTo>
                  <a:pt x="8" y="196"/>
                </a:lnTo>
                <a:lnTo>
                  <a:pt x="8" y="196"/>
                </a:lnTo>
                <a:lnTo>
                  <a:pt x="8" y="196"/>
                </a:lnTo>
                <a:lnTo>
                  <a:pt x="8" y="195"/>
                </a:lnTo>
                <a:lnTo>
                  <a:pt x="8" y="195"/>
                </a:lnTo>
                <a:lnTo>
                  <a:pt x="8" y="195"/>
                </a:lnTo>
                <a:lnTo>
                  <a:pt x="8" y="195"/>
                </a:lnTo>
                <a:lnTo>
                  <a:pt x="8" y="195"/>
                </a:lnTo>
                <a:lnTo>
                  <a:pt x="7" y="195"/>
                </a:lnTo>
                <a:lnTo>
                  <a:pt x="7" y="194"/>
                </a:lnTo>
                <a:lnTo>
                  <a:pt x="7" y="194"/>
                </a:lnTo>
                <a:lnTo>
                  <a:pt x="7" y="194"/>
                </a:lnTo>
                <a:lnTo>
                  <a:pt x="7" y="194"/>
                </a:lnTo>
                <a:lnTo>
                  <a:pt x="7" y="194"/>
                </a:lnTo>
                <a:lnTo>
                  <a:pt x="7" y="194"/>
                </a:lnTo>
                <a:lnTo>
                  <a:pt x="7" y="193"/>
                </a:lnTo>
                <a:lnTo>
                  <a:pt x="7" y="193"/>
                </a:lnTo>
                <a:lnTo>
                  <a:pt x="6" y="193"/>
                </a:lnTo>
                <a:lnTo>
                  <a:pt x="6" y="193"/>
                </a:lnTo>
                <a:lnTo>
                  <a:pt x="6" y="193"/>
                </a:lnTo>
                <a:lnTo>
                  <a:pt x="6" y="193"/>
                </a:lnTo>
                <a:lnTo>
                  <a:pt x="6" y="192"/>
                </a:lnTo>
                <a:lnTo>
                  <a:pt x="6" y="192"/>
                </a:lnTo>
                <a:lnTo>
                  <a:pt x="6" y="192"/>
                </a:lnTo>
                <a:lnTo>
                  <a:pt x="6" y="192"/>
                </a:lnTo>
                <a:lnTo>
                  <a:pt x="6" y="192"/>
                </a:lnTo>
                <a:lnTo>
                  <a:pt x="6" y="191"/>
                </a:lnTo>
                <a:lnTo>
                  <a:pt x="5" y="191"/>
                </a:lnTo>
                <a:lnTo>
                  <a:pt x="5" y="191"/>
                </a:lnTo>
                <a:lnTo>
                  <a:pt x="5" y="191"/>
                </a:lnTo>
                <a:lnTo>
                  <a:pt x="5" y="191"/>
                </a:lnTo>
                <a:lnTo>
                  <a:pt x="5" y="191"/>
                </a:lnTo>
                <a:lnTo>
                  <a:pt x="5" y="190"/>
                </a:lnTo>
                <a:lnTo>
                  <a:pt x="5" y="190"/>
                </a:lnTo>
                <a:lnTo>
                  <a:pt x="5" y="190"/>
                </a:lnTo>
                <a:lnTo>
                  <a:pt x="5" y="190"/>
                </a:lnTo>
                <a:lnTo>
                  <a:pt x="5" y="190"/>
                </a:lnTo>
                <a:lnTo>
                  <a:pt x="5" y="188"/>
                </a:lnTo>
                <a:lnTo>
                  <a:pt x="4" y="188"/>
                </a:lnTo>
                <a:lnTo>
                  <a:pt x="4" y="188"/>
                </a:lnTo>
                <a:lnTo>
                  <a:pt x="4" y="188"/>
                </a:lnTo>
                <a:lnTo>
                  <a:pt x="4" y="188"/>
                </a:lnTo>
                <a:lnTo>
                  <a:pt x="4" y="188"/>
                </a:lnTo>
                <a:lnTo>
                  <a:pt x="4" y="187"/>
                </a:lnTo>
                <a:lnTo>
                  <a:pt x="4" y="187"/>
                </a:lnTo>
                <a:lnTo>
                  <a:pt x="4" y="187"/>
                </a:lnTo>
                <a:lnTo>
                  <a:pt x="4" y="187"/>
                </a:lnTo>
                <a:lnTo>
                  <a:pt x="4" y="187"/>
                </a:lnTo>
                <a:lnTo>
                  <a:pt x="4" y="186"/>
                </a:lnTo>
                <a:lnTo>
                  <a:pt x="4" y="186"/>
                </a:lnTo>
                <a:lnTo>
                  <a:pt x="4" y="186"/>
                </a:lnTo>
                <a:lnTo>
                  <a:pt x="3" y="186"/>
                </a:lnTo>
                <a:lnTo>
                  <a:pt x="3" y="186"/>
                </a:lnTo>
                <a:lnTo>
                  <a:pt x="3" y="185"/>
                </a:lnTo>
                <a:lnTo>
                  <a:pt x="3" y="185"/>
                </a:lnTo>
                <a:lnTo>
                  <a:pt x="3" y="185"/>
                </a:lnTo>
                <a:lnTo>
                  <a:pt x="3" y="185"/>
                </a:lnTo>
                <a:lnTo>
                  <a:pt x="3" y="185"/>
                </a:lnTo>
                <a:lnTo>
                  <a:pt x="3" y="184"/>
                </a:lnTo>
                <a:lnTo>
                  <a:pt x="3" y="184"/>
                </a:lnTo>
                <a:lnTo>
                  <a:pt x="3" y="184"/>
                </a:lnTo>
                <a:lnTo>
                  <a:pt x="3" y="184"/>
                </a:lnTo>
                <a:lnTo>
                  <a:pt x="3" y="184"/>
                </a:lnTo>
                <a:lnTo>
                  <a:pt x="3" y="183"/>
                </a:lnTo>
                <a:lnTo>
                  <a:pt x="3" y="183"/>
                </a:lnTo>
                <a:lnTo>
                  <a:pt x="3" y="183"/>
                </a:lnTo>
                <a:lnTo>
                  <a:pt x="3" y="183"/>
                </a:lnTo>
                <a:lnTo>
                  <a:pt x="1" y="183"/>
                </a:lnTo>
                <a:lnTo>
                  <a:pt x="1" y="182"/>
                </a:lnTo>
                <a:lnTo>
                  <a:pt x="1" y="182"/>
                </a:lnTo>
                <a:lnTo>
                  <a:pt x="1" y="182"/>
                </a:lnTo>
                <a:lnTo>
                  <a:pt x="1" y="182"/>
                </a:lnTo>
                <a:lnTo>
                  <a:pt x="1" y="182"/>
                </a:lnTo>
                <a:lnTo>
                  <a:pt x="1" y="181"/>
                </a:lnTo>
                <a:lnTo>
                  <a:pt x="1" y="181"/>
                </a:lnTo>
                <a:lnTo>
                  <a:pt x="1" y="181"/>
                </a:lnTo>
                <a:lnTo>
                  <a:pt x="1" y="181"/>
                </a:lnTo>
                <a:lnTo>
                  <a:pt x="1" y="181"/>
                </a:lnTo>
                <a:lnTo>
                  <a:pt x="1" y="179"/>
                </a:lnTo>
                <a:lnTo>
                  <a:pt x="1" y="179"/>
                </a:lnTo>
                <a:lnTo>
                  <a:pt x="1" y="179"/>
                </a:lnTo>
                <a:lnTo>
                  <a:pt x="1" y="179"/>
                </a:lnTo>
                <a:lnTo>
                  <a:pt x="1" y="179"/>
                </a:lnTo>
                <a:lnTo>
                  <a:pt x="1" y="178"/>
                </a:lnTo>
                <a:lnTo>
                  <a:pt x="1" y="178"/>
                </a:lnTo>
                <a:lnTo>
                  <a:pt x="1" y="178"/>
                </a:lnTo>
                <a:lnTo>
                  <a:pt x="1" y="178"/>
                </a:lnTo>
                <a:lnTo>
                  <a:pt x="1" y="178"/>
                </a:lnTo>
                <a:lnTo>
                  <a:pt x="1" y="177"/>
                </a:lnTo>
                <a:lnTo>
                  <a:pt x="1" y="177"/>
                </a:lnTo>
                <a:lnTo>
                  <a:pt x="1" y="177"/>
                </a:lnTo>
                <a:lnTo>
                  <a:pt x="1" y="177"/>
                </a:lnTo>
                <a:lnTo>
                  <a:pt x="1" y="177"/>
                </a:lnTo>
                <a:lnTo>
                  <a:pt x="1" y="176"/>
                </a:lnTo>
                <a:lnTo>
                  <a:pt x="1" y="176"/>
                </a:lnTo>
                <a:lnTo>
                  <a:pt x="1" y="176"/>
                </a:lnTo>
                <a:lnTo>
                  <a:pt x="1" y="176"/>
                </a:lnTo>
                <a:lnTo>
                  <a:pt x="1" y="175"/>
                </a:lnTo>
                <a:lnTo>
                  <a:pt x="1" y="175"/>
                </a:lnTo>
                <a:lnTo>
                  <a:pt x="0" y="175"/>
                </a:lnTo>
                <a:lnTo>
                  <a:pt x="0" y="175"/>
                </a:lnTo>
                <a:lnTo>
                  <a:pt x="0" y="175"/>
                </a:lnTo>
                <a:lnTo>
                  <a:pt x="0" y="174"/>
                </a:lnTo>
                <a:lnTo>
                  <a:pt x="0" y="174"/>
                </a:lnTo>
                <a:lnTo>
                  <a:pt x="0" y="174"/>
                </a:lnTo>
                <a:lnTo>
                  <a:pt x="0" y="174"/>
                </a:lnTo>
                <a:lnTo>
                  <a:pt x="0" y="174"/>
                </a:lnTo>
                <a:lnTo>
                  <a:pt x="0" y="173"/>
                </a:lnTo>
                <a:lnTo>
                  <a:pt x="0" y="173"/>
                </a:lnTo>
                <a:lnTo>
                  <a:pt x="0" y="173"/>
                </a:lnTo>
                <a:lnTo>
                  <a:pt x="0" y="173"/>
                </a:lnTo>
                <a:lnTo>
                  <a:pt x="0" y="171"/>
                </a:lnTo>
                <a:lnTo>
                  <a:pt x="0" y="171"/>
                </a:lnTo>
                <a:lnTo>
                  <a:pt x="0" y="171"/>
                </a:lnTo>
                <a:lnTo>
                  <a:pt x="1" y="171"/>
                </a:lnTo>
                <a:lnTo>
                  <a:pt x="1" y="171"/>
                </a:lnTo>
                <a:lnTo>
                  <a:pt x="1" y="170"/>
                </a:lnTo>
                <a:lnTo>
                  <a:pt x="1" y="170"/>
                </a:lnTo>
                <a:lnTo>
                  <a:pt x="1" y="170"/>
                </a:lnTo>
                <a:lnTo>
                  <a:pt x="1" y="170"/>
                </a:lnTo>
                <a:lnTo>
                  <a:pt x="1" y="170"/>
                </a:lnTo>
                <a:lnTo>
                  <a:pt x="1" y="169"/>
                </a:lnTo>
                <a:lnTo>
                  <a:pt x="1" y="169"/>
                </a:lnTo>
                <a:lnTo>
                  <a:pt x="1" y="169"/>
                </a:lnTo>
                <a:lnTo>
                  <a:pt x="1" y="169"/>
                </a:lnTo>
                <a:lnTo>
                  <a:pt x="1" y="168"/>
                </a:lnTo>
                <a:lnTo>
                  <a:pt x="1" y="168"/>
                </a:lnTo>
                <a:lnTo>
                  <a:pt x="1" y="168"/>
                </a:lnTo>
                <a:lnTo>
                  <a:pt x="1" y="168"/>
                </a:lnTo>
                <a:lnTo>
                  <a:pt x="1" y="168"/>
                </a:lnTo>
                <a:lnTo>
                  <a:pt x="1" y="167"/>
                </a:lnTo>
                <a:lnTo>
                  <a:pt x="1" y="167"/>
                </a:lnTo>
                <a:lnTo>
                  <a:pt x="1" y="167"/>
                </a:lnTo>
                <a:lnTo>
                  <a:pt x="1" y="167"/>
                </a:lnTo>
                <a:lnTo>
                  <a:pt x="1" y="167"/>
                </a:lnTo>
                <a:lnTo>
                  <a:pt x="1" y="166"/>
                </a:lnTo>
                <a:lnTo>
                  <a:pt x="1" y="166"/>
                </a:lnTo>
                <a:lnTo>
                  <a:pt x="1" y="166"/>
                </a:lnTo>
                <a:lnTo>
                  <a:pt x="1" y="166"/>
                </a:lnTo>
                <a:lnTo>
                  <a:pt x="1" y="166"/>
                </a:lnTo>
                <a:lnTo>
                  <a:pt x="1" y="165"/>
                </a:lnTo>
                <a:lnTo>
                  <a:pt x="1" y="165"/>
                </a:lnTo>
                <a:lnTo>
                  <a:pt x="1" y="165"/>
                </a:lnTo>
                <a:lnTo>
                  <a:pt x="1" y="165"/>
                </a:lnTo>
                <a:lnTo>
                  <a:pt x="1" y="165"/>
                </a:lnTo>
                <a:lnTo>
                  <a:pt x="1" y="164"/>
                </a:lnTo>
                <a:lnTo>
                  <a:pt x="3" y="164"/>
                </a:lnTo>
                <a:lnTo>
                  <a:pt x="3" y="164"/>
                </a:lnTo>
                <a:lnTo>
                  <a:pt x="3" y="164"/>
                </a:lnTo>
                <a:lnTo>
                  <a:pt x="3" y="164"/>
                </a:lnTo>
                <a:lnTo>
                  <a:pt x="3" y="162"/>
                </a:lnTo>
                <a:lnTo>
                  <a:pt x="3" y="162"/>
                </a:lnTo>
                <a:lnTo>
                  <a:pt x="3" y="162"/>
                </a:lnTo>
                <a:lnTo>
                  <a:pt x="3" y="162"/>
                </a:lnTo>
                <a:lnTo>
                  <a:pt x="3" y="162"/>
                </a:lnTo>
                <a:lnTo>
                  <a:pt x="3" y="161"/>
                </a:lnTo>
                <a:lnTo>
                  <a:pt x="3" y="161"/>
                </a:lnTo>
                <a:lnTo>
                  <a:pt x="3" y="161"/>
                </a:lnTo>
                <a:lnTo>
                  <a:pt x="3" y="161"/>
                </a:lnTo>
                <a:lnTo>
                  <a:pt x="3" y="161"/>
                </a:lnTo>
                <a:lnTo>
                  <a:pt x="3" y="160"/>
                </a:lnTo>
                <a:lnTo>
                  <a:pt x="3" y="160"/>
                </a:lnTo>
                <a:lnTo>
                  <a:pt x="4" y="160"/>
                </a:lnTo>
                <a:lnTo>
                  <a:pt x="4" y="160"/>
                </a:lnTo>
                <a:lnTo>
                  <a:pt x="4" y="160"/>
                </a:lnTo>
                <a:lnTo>
                  <a:pt x="4" y="159"/>
                </a:lnTo>
                <a:lnTo>
                  <a:pt x="4" y="159"/>
                </a:lnTo>
                <a:lnTo>
                  <a:pt x="4" y="159"/>
                </a:lnTo>
                <a:lnTo>
                  <a:pt x="4" y="159"/>
                </a:lnTo>
                <a:lnTo>
                  <a:pt x="4" y="159"/>
                </a:lnTo>
                <a:lnTo>
                  <a:pt x="4" y="159"/>
                </a:lnTo>
                <a:lnTo>
                  <a:pt x="4" y="158"/>
                </a:lnTo>
                <a:lnTo>
                  <a:pt x="4" y="158"/>
                </a:lnTo>
                <a:lnTo>
                  <a:pt x="4" y="158"/>
                </a:lnTo>
                <a:lnTo>
                  <a:pt x="4" y="158"/>
                </a:lnTo>
                <a:lnTo>
                  <a:pt x="5" y="158"/>
                </a:lnTo>
                <a:lnTo>
                  <a:pt x="5" y="157"/>
                </a:lnTo>
                <a:lnTo>
                  <a:pt x="5" y="157"/>
                </a:lnTo>
                <a:lnTo>
                  <a:pt x="5" y="157"/>
                </a:lnTo>
                <a:lnTo>
                  <a:pt x="5" y="157"/>
                </a:lnTo>
                <a:lnTo>
                  <a:pt x="5" y="157"/>
                </a:lnTo>
                <a:lnTo>
                  <a:pt x="5" y="157"/>
                </a:lnTo>
                <a:lnTo>
                  <a:pt x="5" y="156"/>
                </a:lnTo>
                <a:lnTo>
                  <a:pt x="5" y="156"/>
                </a:lnTo>
                <a:lnTo>
                  <a:pt x="5" y="156"/>
                </a:lnTo>
                <a:lnTo>
                  <a:pt x="5" y="156"/>
                </a:lnTo>
                <a:lnTo>
                  <a:pt x="6" y="156"/>
                </a:lnTo>
                <a:lnTo>
                  <a:pt x="6" y="155"/>
                </a:lnTo>
                <a:lnTo>
                  <a:pt x="6" y="155"/>
                </a:lnTo>
                <a:lnTo>
                  <a:pt x="6" y="155"/>
                </a:lnTo>
                <a:lnTo>
                  <a:pt x="6" y="155"/>
                </a:lnTo>
                <a:lnTo>
                  <a:pt x="6" y="155"/>
                </a:lnTo>
                <a:lnTo>
                  <a:pt x="6" y="155"/>
                </a:lnTo>
                <a:lnTo>
                  <a:pt x="6" y="153"/>
                </a:lnTo>
                <a:lnTo>
                  <a:pt x="6" y="153"/>
                </a:lnTo>
                <a:lnTo>
                  <a:pt x="6" y="153"/>
                </a:lnTo>
                <a:lnTo>
                  <a:pt x="7" y="153"/>
                </a:lnTo>
                <a:lnTo>
                  <a:pt x="7" y="153"/>
                </a:lnTo>
                <a:lnTo>
                  <a:pt x="7" y="153"/>
                </a:lnTo>
                <a:lnTo>
                  <a:pt x="7" y="152"/>
                </a:lnTo>
                <a:lnTo>
                  <a:pt x="7" y="152"/>
                </a:lnTo>
                <a:lnTo>
                  <a:pt x="7" y="152"/>
                </a:lnTo>
                <a:lnTo>
                  <a:pt x="7" y="152"/>
                </a:lnTo>
                <a:lnTo>
                  <a:pt x="7" y="152"/>
                </a:lnTo>
                <a:lnTo>
                  <a:pt x="7" y="152"/>
                </a:lnTo>
                <a:lnTo>
                  <a:pt x="8" y="151"/>
                </a:lnTo>
                <a:lnTo>
                  <a:pt x="8" y="151"/>
                </a:lnTo>
                <a:lnTo>
                  <a:pt x="8" y="151"/>
                </a:lnTo>
                <a:lnTo>
                  <a:pt x="8" y="151"/>
                </a:lnTo>
                <a:lnTo>
                  <a:pt x="8" y="151"/>
                </a:lnTo>
                <a:lnTo>
                  <a:pt x="8" y="151"/>
                </a:lnTo>
                <a:lnTo>
                  <a:pt x="8" y="150"/>
                </a:lnTo>
                <a:lnTo>
                  <a:pt x="8" y="150"/>
                </a:lnTo>
                <a:lnTo>
                  <a:pt x="8" y="150"/>
                </a:lnTo>
                <a:lnTo>
                  <a:pt x="9" y="150"/>
                </a:lnTo>
                <a:lnTo>
                  <a:pt x="9" y="150"/>
                </a:lnTo>
                <a:lnTo>
                  <a:pt x="9" y="150"/>
                </a:lnTo>
                <a:lnTo>
                  <a:pt x="9" y="149"/>
                </a:lnTo>
                <a:lnTo>
                  <a:pt x="9" y="149"/>
                </a:lnTo>
                <a:lnTo>
                  <a:pt x="9" y="149"/>
                </a:lnTo>
                <a:lnTo>
                  <a:pt x="9" y="149"/>
                </a:lnTo>
                <a:lnTo>
                  <a:pt x="10" y="149"/>
                </a:lnTo>
                <a:lnTo>
                  <a:pt x="10" y="149"/>
                </a:lnTo>
                <a:lnTo>
                  <a:pt x="10" y="149"/>
                </a:lnTo>
                <a:lnTo>
                  <a:pt x="10" y="148"/>
                </a:lnTo>
                <a:lnTo>
                  <a:pt x="10" y="148"/>
                </a:lnTo>
                <a:lnTo>
                  <a:pt x="10" y="148"/>
                </a:lnTo>
                <a:lnTo>
                  <a:pt x="10" y="148"/>
                </a:lnTo>
                <a:lnTo>
                  <a:pt x="10" y="148"/>
                </a:lnTo>
                <a:lnTo>
                  <a:pt x="12" y="148"/>
                </a:lnTo>
                <a:lnTo>
                  <a:pt x="12" y="148"/>
                </a:lnTo>
                <a:lnTo>
                  <a:pt x="12" y="147"/>
                </a:lnTo>
                <a:lnTo>
                  <a:pt x="12" y="147"/>
                </a:lnTo>
                <a:lnTo>
                  <a:pt x="12" y="147"/>
                </a:lnTo>
                <a:lnTo>
                  <a:pt x="12" y="147"/>
                </a:lnTo>
                <a:lnTo>
                  <a:pt x="12" y="147"/>
                </a:lnTo>
                <a:lnTo>
                  <a:pt x="13" y="147"/>
                </a:lnTo>
                <a:lnTo>
                  <a:pt x="13" y="147"/>
                </a:lnTo>
                <a:lnTo>
                  <a:pt x="13" y="146"/>
                </a:lnTo>
                <a:lnTo>
                  <a:pt x="13" y="146"/>
                </a:lnTo>
                <a:lnTo>
                  <a:pt x="13" y="146"/>
                </a:lnTo>
                <a:lnTo>
                  <a:pt x="13" y="146"/>
                </a:lnTo>
                <a:lnTo>
                  <a:pt x="13" y="146"/>
                </a:lnTo>
                <a:lnTo>
                  <a:pt x="14" y="146"/>
                </a:lnTo>
                <a:lnTo>
                  <a:pt x="14" y="146"/>
                </a:lnTo>
                <a:lnTo>
                  <a:pt x="14" y="144"/>
                </a:lnTo>
                <a:lnTo>
                  <a:pt x="14" y="144"/>
                </a:lnTo>
                <a:lnTo>
                  <a:pt x="14" y="144"/>
                </a:lnTo>
                <a:lnTo>
                  <a:pt x="14" y="144"/>
                </a:lnTo>
                <a:lnTo>
                  <a:pt x="14" y="144"/>
                </a:lnTo>
                <a:lnTo>
                  <a:pt x="15" y="144"/>
                </a:lnTo>
                <a:lnTo>
                  <a:pt x="15" y="144"/>
                </a:lnTo>
                <a:lnTo>
                  <a:pt x="15" y="144"/>
                </a:lnTo>
                <a:lnTo>
                  <a:pt x="15" y="143"/>
                </a:lnTo>
                <a:lnTo>
                  <a:pt x="15" y="143"/>
                </a:lnTo>
                <a:lnTo>
                  <a:pt x="15" y="143"/>
                </a:lnTo>
                <a:lnTo>
                  <a:pt x="16" y="143"/>
                </a:lnTo>
                <a:lnTo>
                  <a:pt x="16" y="143"/>
                </a:lnTo>
                <a:lnTo>
                  <a:pt x="16" y="143"/>
                </a:lnTo>
                <a:lnTo>
                  <a:pt x="16" y="143"/>
                </a:lnTo>
                <a:lnTo>
                  <a:pt x="16" y="143"/>
                </a:lnTo>
                <a:lnTo>
                  <a:pt x="16" y="142"/>
                </a:lnTo>
                <a:lnTo>
                  <a:pt x="17" y="142"/>
                </a:lnTo>
                <a:lnTo>
                  <a:pt x="17" y="142"/>
                </a:lnTo>
                <a:lnTo>
                  <a:pt x="17" y="142"/>
                </a:lnTo>
                <a:lnTo>
                  <a:pt x="17" y="142"/>
                </a:lnTo>
                <a:lnTo>
                  <a:pt x="17" y="142"/>
                </a:lnTo>
                <a:lnTo>
                  <a:pt x="17" y="142"/>
                </a:lnTo>
                <a:lnTo>
                  <a:pt x="18" y="142"/>
                </a:lnTo>
                <a:lnTo>
                  <a:pt x="18" y="142"/>
                </a:lnTo>
                <a:lnTo>
                  <a:pt x="18" y="141"/>
                </a:lnTo>
                <a:lnTo>
                  <a:pt x="18" y="141"/>
                </a:lnTo>
                <a:lnTo>
                  <a:pt x="18" y="141"/>
                </a:lnTo>
                <a:lnTo>
                  <a:pt x="18" y="141"/>
                </a:lnTo>
                <a:lnTo>
                  <a:pt x="19" y="141"/>
                </a:lnTo>
                <a:lnTo>
                  <a:pt x="19" y="141"/>
                </a:lnTo>
                <a:lnTo>
                  <a:pt x="19" y="141"/>
                </a:lnTo>
                <a:lnTo>
                  <a:pt x="19" y="141"/>
                </a:lnTo>
                <a:lnTo>
                  <a:pt x="19" y="141"/>
                </a:lnTo>
                <a:lnTo>
                  <a:pt x="19" y="140"/>
                </a:lnTo>
                <a:lnTo>
                  <a:pt x="21" y="140"/>
                </a:lnTo>
                <a:lnTo>
                  <a:pt x="21" y="140"/>
                </a:lnTo>
                <a:lnTo>
                  <a:pt x="21" y="140"/>
                </a:lnTo>
                <a:lnTo>
                  <a:pt x="21" y="140"/>
                </a:lnTo>
                <a:lnTo>
                  <a:pt x="21" y="140"/>
                </a:lnTo>
                <a:lnTo>
                  <a:pt x="22" y="140"/>
                </a:lnTo>
                <a:lnTo>
                  <a:pt x="22" y="140"/>
                </a:lnTo>
                <a:lnTo>
                  <a:pt x="22" y="140"/>
                </a:lnTo>
                <a:lnTo>
                  <a:pt x="22" y="140"/>
                </a:lnTo>
                <a:lnTo>
                  <a:pt x="22" y="140"/>
                </a:lnTo>
                <a:lnTo>
                  <a:pt x="22" y="139"/>
                </a:lnTo>
                <a:lnTo>
                  <a:pt x="23" y="139"/>
                </a:lnTo>
                <a:lnTo>
                  <a:pt x="23" y="139"/>
                </a:lnTo>
                <a:lnTo>
                  <a:pt x="23" y="139"/>
                </a:lnTo>
                <a:lnTo>
                  <a:pt x="23" y="139"/>
                </a:lnTo>
                <a:lnTo>
                  <a:pt x="23" y="139"/>
                </a:lnTo>
                <a:lnTo>
                  <a:pt x="24" y="139"/>
                </a:lnTo>
                <a:lnTo>
                  <a:pt x="24" y="139"/>
                </a:lnTo>
                <a:lnTo>
                  <a:pt x="24" y="139"/>
                </a:lnTo>
                <a:lnTo>
                  <a:pt x="24" y="139"/>
                </a:lnTo>
                <a:lnTo>
                  <a:pt x="24" y="139"/>
                </a:lnTo>
                <a:lnTo>
                  <a:pt x="24" y="139"/>
                </a:lnTo>
                <a:lnTo>
                  <a:pt x="25" y="138"/>
                </a:lnTo>
                <a:lnTo>
                  <a:pt x="25" y="138"/>
                </a:lnTo>
                <a:lnTo>
                  <a:pt x="25" y="138"/>
                </a:lnTo>
                <a:lnTo>
                  <a:pt x="25" y="138"/>
                </a:lnTo>
                <a:lnTo>
                  <a:pt x="25" y="138"/>
                </a:lnTo>
                <a:lnTo>
                  <a:pt x="26" y="138"/>
                </a:lnTo>
                <a:lnTo>
                  <a:pt x="26" y="138"/>
                </a:lnTo>
                <a:lnTo>
                  <a:pt x="26" y="138"/>
                </a:lnTo>
                <a:lnTo>
                  <a:pt x="26" y="138"/>
                </a:lnTo>
                <a:lnTo>
                  <a:pt x="26" y="138"/>
                </a:lnTo>
                <a:lnTo>
                  <a:pt x="27" y="138"/>
                </a:lnTo>
                <a:lnTo>
                  <a:pt x="27" y="138"/>
                </a:lnTo>
                <a:lnTo>
                  <a:pt x="27" y="138"/>
                </a:lnTo>
                <a:lnTo>
                  <a:pt x="27" y="138"/>
                </a:lnTo>
                <a:lnTo>
                  <a:pt x="27" y="138"/>
                </a:lnTo>
                <a:lnTo>
                  <a:pt x="28" y="137"/>
                </a:lnTo>
                <a:lnTo>
                  <a:pt x="28" y="137"/>
                </a:lnTo>
                <a:lnTo>
                  <a:pt x="28" y="137"/>
                </a:lnTo>
                <a:lnTo>
                  <a:pt x="28" y="137"/>
                </a:lnTo>
                <a:lnTo>
                  <a:pt x="28" y="137"/>
                </a:lnTo>
                <a:lnTo>
                  <a:pt x="30" y="137"/>
                </a:lnTo>
                <a:lnTo>
                  <a:pt x="30" y="137"/>
                </a:lnTo>
                <a:lnTo>
                  <a:pt x="30" y="137"/>
                </a:lnTo>
                <a:lnTo>
                  <a:pt x="30" y="137"/>
                </a:lnTo>
                <a:lnTo>
                  <a:pt x="30" y="137"/>
                </a:lnTo>
                <a:lnTo>
                  <a:pt x="31" y="137"/>
                </a:lnTo>
                <a:lnTo>
                  <a:pt x="31" y="137"/>
                </a:lnTo>
                <a:lnTo>
                  <a:pt x="31" y="137"/>
                </a:lnTo>
                <a:lnTo>
                  <a:pt x="31" y="137"/>
                </a:lnTo>
                <a:lnTo>
                  <a:pt x="31" y="137"/>
                </a:lnTo>
                <a:lnTo>
                  <a:pt x="32" y="137"/>
                </a:lnTo>
                <a:lnTo>
                  <a:pt x="32" y="137"/>
                </a:lnTo>
                <a:lnTo>
                  <a:pt x="32" y="137"/>
                </a:lnTo>
                <a:lnTo>
                  <a:pt x="32" y="137"/>
                </a:lnTo>
                <a:lnTo>
                  <a:pt x="32" y="137"/>
                </a:lnTo>
                <a:lnTo>
                  <a:pt x="33" y="137"/>
                </a:lnTo>
                <a:lnTo>
                  <a:pt x="33" y="137"/>
                </a:lnTo>
                <a:lnTo>
                  <a:pt x="33" y="135"/>
                </a:lnTo>
                <a:lnTo>
                  <a:pt x="33" y="135"/>
                </a:lnTo>
                <a:lnTo>
                  <a:pt x="33" y="135"/>
                </a:lnTo>
                <a:lnTo>
                  <a:pt x="34" y="135"/>
                </a:lnTo>
                <a:lnTo>
                  <a:pt x="34" y="135"/>
                </a:lnTo>
                <a:lnTo>
                  <a:pt x="34" y="135"/>
                </a:lnTo>
                <a:lnTo>
                  <a:pt x="34" y="135"/>
                </a:lnTo>
                <a:lnTo>
                  <a:pt x="34" y="135"/>
                </a:lnTo>
                <a:lnTo>
                  <a:pt x="35" y="135"/>
                </a:lnTo>
                <a:lnTo>
                  <a:pt x="35" y="135"/>
                </a:lnTo>
                <a:lnTo>
                  <a:pt x="35" y="135"/>
                </a:lnTo>
                <a:lnTo>
                  <a:pt x="35" y="135"/>
                </a:lnTo>
                <a:lnTo>
                  <a:pt x="36" y="135"/>
                </a:lnTo>
                <a:lnTo>
                  <a:pt x="36" y="135"/>
                </a:lnTo>
                <a:lnTo>
                  <a:pt x="36" y="135"/>
                </a:lnTo>
                <a:lnTo>
                  <a:pt x="36" y="135"/>
                </a:lnTo>
                <a:lnTo>
                  <a:pt x="36" y="135"/>
                </a:lnTo>
                <a:lnTo>
                  <a:pt x="37" y="135"/>
                </a:lnTo>
                <a:lnTo>
                  <a:pt x="37" y="135"/>
                </a:lnTo>
                <a:lnTo>
                  <a:pt x="37" y="135"/>
                </a:lnTo>
                <a:lnTo>
                  <a:pt x="37" y="135"/>
                </a:lnTo>
                <a:lnTo>
                  <a:pt x="37" y="135"/>
                </a:lnTo>
                <a:lnTo>
                  <a:pt x="39" y="135"/>
                </a:lnTo>
                <a:lnTo>
                  <a:pt x="39" y="135"/>
                </a:lnTo>
                <a:lnTo>
                  <a:pt x="39" y="135"/>
                </a:lnTo>
                <a:lnTo>
                  <a:pt x="39" y="135"/>
                </a:lnTo>
                <a:lnTo>
                  <a:pt x="40" y="135"/>
                </a:lnTo>
                <a:lnTo>
                  <a:pt x="40" y="135"/>
                </a:lnTo>
                <a:lnTo>
                  <a:pt x="40" y="135"/>
                </a:lnTo>
                <a:lnTo>
                  <a:pt x="40" y="135"/>
                </a:lnTo>
                <a:lnTo>
                  <a:pt x="40" y="135"/>
                </a:lnTo>
                <a:lnTo>
                  <a:pt x="41" y="135"/>
                </a:lnTo>
                <a:lnTo>
                  <a:pt x="41" y="135"/>
                </a:lnTo>
                <a:lnTo>
                  <a:pt x="41" y="135"/>
                </a:lnTo>
                <a:lnTo>
                  <a:pt x="41" y="135"/>
                </a:lnTo>
                <a:lnTo>
                  <a:pt x="41" y="135"/>
                </a:lnTo>
                <a:lnTo>
                  <a:pt x="42" y="135"/>
                </a:lnTo>
                <a:lnTo>
                  <a:pt x="42" y="135"/>
                </a:lnTo>
                <a:lnTo>
                  <a:pt x="42" y="135"/>
                </a:lnTo>
                <a:lnTo>
                  <a:pt x="42" y="135"/>
                </a:lnTo>
                <a:lnTo>
                  <a:pt x="42" y="135"/>
                </a:lnTo>
                <a:lnTo>
                  <a:pt x="43" y="135"/>
                </a:lnTo>
                <a:lnTo>
                  <a:pt x="43" y="135"/>
                </a:lnTo>
                <a:lnTo>
                  <a:pt x="43" y="135"/>
                </a:lnTo>
                <a:lnTo>
                  <a:pt x="43" y="135"/>
                </a:lnTo>
                <a:lnTo>
                  <a:pt x="44" y="135"/>
                </a:lnTo>
                <a:lnTo>
                  <a:pt x="44" y="135"/>
                </a:lnTo>
                <a:lnTo>
                  <a:pt x="44" y="137"/>
                </a:lnTo>
                <a:lnTo>
                  <a:pt x="44" y="137"/>
                </a:lnTo>
                <a:lnTo>
                  <a:pt x="44" y="137"/>
                </a:lnTo>
                <a:lnTo>
                  <a:pt x="45" y="137"/>
                </a:lnTo>
                <a:lnTo>
                  <a:pt x="45" y="137"/>
                </a:lnTo>
                <a:lnTo>
                  <a:pt x="45" y="137"/>
                </a:lnTo>
                <a:lnTo>
                  <a:pt x="45" y="137"/>
                </a:lnTo>
                <a:lnTo>
                  <a:pt x="45" y="137"/>
                </a:lnTo>
                <a:lnTo>
                  <a:pt x="46" y="137"/>
                </a:lnTo>
                <a:lnTo>
                  <a:pt x="46" y="137"/>
                </a:lnTo>
                <a:lnTo>
                  <a:pt x="46" y="137"/>
                </a:lnTo>
                <a:lnTo>
                  <a:pt x="46" y="137"/>
                </a:lnTo>
                <a:lnTo>
                  <a:pt x="46" y="137"/>
                </a:lnTo>
                <a:lnTo>
                  <a:pt x="48" y="137"/>
                </a:lnTo>
                <a:lnTo>
                  <a:pt x="48" y="137"/>
                </a:lnTo>
                <a:lnTo>
                  <a:pt x="48" y="137"/>
                </a:lnTo>
                <a:lnTo>
                  <a:pt x="48" y="137"/>
                </a:lnTo>
                <a:lnTo>
                  <a:pt x="48" y="137"/>
                </a:lnTo>
                <a:lnTo>
                  <a:pt x="49" y="137"/>
                </a:lnTo>
                <a:lnTo>
                  <a:pt x="49" y="137"/>
                </a:lnTo>
                <a:lnTo>
                  <a:pt x="49" y="137"/>
                </a:lnTo>
                <a:lnTo>
                  <a:pt x="49" y="137"/>
                </a:lnTo>
                <a:lnTo>
                  <a:pt x="49" y="138"/>
                </a:lnTo>
                <a:lnTo>
                  <a:pt x="50" y="138"/>
                </a:lnTo>
                <a:lnTo>
                  <a:pt x="50" y="138"/>
                </a:lnTo>
                <a:lnTo>
                  <a:pt x="50" y="138"/>
                </a:lnTo>
                <a:lnTo>
                  <a:pt x="50" y="138"/>
                </a:lnTo>
                <a:lnTo>
                  <a:pt x="50" y="138"/>
                </a:lnTo>
                <a:lnTo>
                  <a:pt x="51" y="138"/>
                </a:lnTo>
                <a:lnTo>
                  <a:pt x="51" y="138"/>
                </a:lnTo>
                <a:lnTo>
                  <a:pt x="51" y="138"/>
                </a:lnTo>
                <a:lnTo>
                  <a:pt x="51" y="138"/>
                </a:lnTo>
                <a:lnTo>
                  <a:pt x="51" y="138"/>
                </a:lnTo>
                <a:lnTo>
                  <a:pt x="52" y="138"/>
                </a:lnTo>
                <a:lnTo>
                  <a:pt x="52" y="138"/>
                </a:lnTo>
                <a:lnTo>
                  <a:pt x="52" y="138"/>
                </a:lnTo>
                <a:lnTo>
                  <a:pt x="52" y="138"/>
                </a:lnTo>
                <a:lnTo>
                  <a:pt x="52" y="139"/>
                </a:lnTo>
                <a:lnTo>
                  <a:pt x="52" y="139"/>
                </a:lnTo>
                <a:lnTo>
                  <a:pt x="53" y="139"/>
                </a:lnTo>
                <a:lnTo>
                  <a:pt x="53" y="139"/>
                </a:lnTo>
                <a:lnTo>
                  <a:pt x="53" y="139"/>
                </a:lnTo>
                <a:lnTo>
                  <a:pt x="53" y="139"/>
                </a:lnTo>
                <a:lnTo>
                  <a:pt x="53" y="139"/>
                </a:lnTo>
                <a:lnTo>
                  <a:pt x="54" y="139"/>
                </a:lnTo>
                <a:lnTo>
                  <a:pt x="54" y="139"/>
                </a:lnTo>
                <a:lnTo>
                  <a:pt x="54" y="139"/>
                </a:lnTo>
                <a:lnTo>
                  <a:pt x="54" y="139"/>
                </a:lnTo>
                <a:lnTo>
                  <a:pt x="54" y="139"/>
                </a:lnTo>
                <a:lnTo>
                  <a:pt x="55" y="140"/>
                </a:lnTo>
                <a:lnTo>
                  <a:pt x="55" y="140"/>
                </a:lnTo>
                <a:lnTo>
                  <a:pt x="55" y="140"/>
                </a:lnTo>
                <a:lnTo>
                  <a:pt x="55" y="140"/>
                </a:lnTo>
                <a:lnTo>
                  <a:pt x="55" y="140"/>
                </a:lnTo>
                <a:lnTo>
                  <a:pt x="55" y="140"/>
                </a:lnTo>
                <a:lnTo>
                  <a:pt x="57" y="140"/>
                </a:lnTo>
                <a:lnTo>
                  <a:pt x="57" y="140"/>
                </a:lnTo>
                <a:lnTo>
                  <a:pt x="57" y="140"/>
                </a:lnTo>
                <a:lnTo>
                  <a:pt x="57" y="140"/>
                </a:lnTo>
                <a:lnTo>
                  <a:pt x="57" y="140"/>
                </a:lnTo>
                <a:lnTo>
                  <a:pt x="57" y="141"/>
                </a:lnTo>
                <a:lnTo>
                  <a:pt x="58" y="141"/>
                </a:lnTo>
                <a:lnTo>
                  <a:pt x="58" y="141"/>
                </a:lnTo>
                <a:lnTo>
                  <a:pt x="58" y="141"/>
                </a:lnTo>
                <a:lnTo>
                  <a:pt x="58" y="141"/>
                </a:lnTo>
                <a:lnTo>
                  <a:pt x="58" y="141"/>
                </a:lnTo>
                <a:lnTo>
                  <a:pt x="59" y="141"/>
                </a:lnTo>
                <a:lnTo>
                  <a:pt x="59" y="141"/>
                </a:lnTo>
                <a:lnTo>
                  <a:pt x="59" y="141"/>
                </a:lnTo>
                <a:lnTo>
                  <a:pt x="59" y="142"/>
                </a:lnTo>
                <a:lnTo>
                  <a:pt x="59" y="142"/>
                </a:lnTo>
                <a:lnTo>
                  <a:pt x="59" y="142"/>
                </a:lnTo>
                <a:lnTo>
                  <a:pt x="60" y="142"/>
                </a:lnTo>
                <a:lnTo>
                  <a:pt x="60" y="142"/>
                </a:lnTo>
                <a:lnTo>
                  <a:pt x="60" y="142"/>
                </a:lnTo>
                <a:lnTo>
                  <a:pt x="60" y="142"/>
                </a:lnTo>
                <a:lnTo>
                  <a:pt x="60" y="142"/>
                </a:lnTo>
                <a:lnTo>
                  <a:pt x="60" y="142"/>
                </a:lnTo>
                <a:lnTo>
                  <a:pt x="61" y="143"/>
                </a:lnTo>
                <a:lnTo>
                  <a:pt x="61" y="143"/>
                </a:lnTo>
                <a:lnTo>
                  <a:pt x="61" y="143"/>
                </a:lnTo>
                <a:lnTo>
                  <a:pt x="61" y="143"/>
                </a:lnTo>
                <a:lnTo>
                  <a:pt x="61" y="143"/>
                </a:lnTo>
                <a:lnTo>
                  <a:pt x="61" y="143"/>
                </a:lnTo>
                <a:lnTo>
                  <a:pt x="61" y="143"/>
                </a:lnTo>
                <a:lnTo>
                  <a:pt x="62" y="143"/>
                </a:lnTo>
                <a:lnTo>
                  <a:pt x="62" y="144"/>
                </a:lnTo>
                <a:lnTo>
                  <a:pt x="62" y="144"/>
                </a:lnTo>
                <a:lnTo>
                  <a:pt x="62" y="144"/>
                </a:lnTo>
                <a:lnTo>
                  <a:pt x="62" y="144"/>
                </a:lnTo>
                <a:lnTo>
                  <a:pt x="62" y="144"/>
                </a:lnTo>
                <a:lnTo>
                  <a:pt x="63" y="144"/>
                </a:lnTo>
                <a:lnTo>
                  <a:pt x="63" y="144"/>
                </a:lnTo>
                <a:lnTo>
                  <a:pt x="63" y="144"/>
                </a:lnTo>
                <a:lnTo>
                  <a:pt x="63" y="146"/>
                </a:lnTo>
                <a:lnTo>
                  <a:pt x="63" y="146"/>
                </a:lnTo>
                <a:lnTo>
                  <a:pt x="63" y="146"/>
                </a:lnTo>
                <a:lnTo>
                  <a:pt x="63" y="146"/>
                </a:lnTo>
                <a:lnTo>
                  <a:pt x="64" y="146"/>
                </a:lnTo>
                <a:lnTo>
                  <a:pt x="64" y="146"/>
                </a:lnTo>
                <a:lnTo>
                  <a:pt x="64" y="146"/>
                </a:lnTo>
                <a:lnTo>
                  <a:pt x="64" y="147"/>
                </a:lnTo>
                <a:lnTo>
                  <a:pt x="64" y="147"/>
                </a:lnTo>
                <a:lnTo>
                  <a:pt x="64" y="147"/>
                </a:lnTo>
                <a:lnTo>
                  <a:pt x="64" y="147"/>
                </a:lnTo>
                <a:lnTo>
                  <a:pt x="66" y="147"/>
                </a:lnTo>
                <a:lnTo>
                  <a:pt x="66" y="147"/>
                </a:lnTo>
                <a:lnTo>
                  <a:pt x="66" y="147"/>
                </a:lnTo>
                <a:lnTo>
                  <a:pt x="66" y="148"/>
                </a:lnTo>
                <a:lnTo>
                  <a:pt x="66" y="148"/>
                </a:lnTo>
                <a:lnTo>
                  <a:pt x="66" y="148"/>
                </a:lnTo>
                <a:lnTo>
                  <a:pt x="66" y="148"/>
                </a:lnTo>
                <a:lnTo>
                  <a:pt x="67" y="148"/>
                </a:lnTo>
                <a:lnTo>
                  <a:pt x="67" y="148"/>
                </a:lnTo>
                <a:lnTo>
                  <a:pt x="67" y="148"/>
                </a:lnTo>
                <a:lnTo>
                  <a:pt x="67" y="149"/>
                </a:lnTo>
                <a:lnTo>
                  <a:pt x="67" y="149"/>
                </a:lnTo>
                <a:lnTo>
                  <a:pt x="67" y="149"/>
                </a:lnTo>
                <a:lnTo>
                  <a:pt x="67" y="149"/>
                </a:lnTo>
                <a:lnTo>
                  <a:pt x="67" y="149"/>
                </a:lnTo>
                <a:lnTo>
                  <a:pt x="68" y="149"/>
                </a:lnTo>
                <a:lnTo>
                  <a:pt x="68" y="149"/>
                </a:lnTo>
                <a:lnTo>
                  <a:pt x="68" y="150"/>
                </a:lnTo>
                <a:lnTo>
                  <a:pt x="68" y="150"/>
                </a:lnTo>
                <a:lnTo>
                  <a:pt x="68" y="150"/>
                </a:lnTo>
                <a:lnTo>
                  <a:pt x="68" y="150"/>
                </a:lnTo>
                <a:lnTo>
                  <a:pt x="68" y="150"/>
                </a:lnTo>
                <a:lnTo>
                  <a:pt x="68" y="150"/>
                </a:lnTo>
                <a:lnTo>
                  <a:pt x="69" y="151"/>
                </a:lnTo>
                <a:lnTo>
                  <a:pt x="69" y="151"/>
                </a:lnTo>
                <a:lnTo>
                  <a:pt x="69" y="151"/>
                </a:lnTo>
                <a:lnTo>
                  <a:pt x="69" y="151"/>
                </a:lnTo>
                <a:lnTo>
                  <a:pt x="69" y="151"/>
                </a:lnTo>
                <a:lnTo>
                  <a:pt x="69" y="151"/>
                </a:lnTo>
                <a:lnTo>
                  <a:pt x="69" y="152"/>
                </a:lnTo>
                <a:lnTo>
                  <a:pt x="69" y="152"/>
                </a:lnTo>
                <a:lnTo>
                  <a:pt x="70" y="152"/>
                </a:lnTo>
                <a:lnTo>
                  <a:pt x="70" y="152"/>
                </a:lnTo>
                <a:lnTo>
                  <a:pt x="70" y="152"/>
                </a:lnTo>
                <a:lnTo>
                  <a:pt x="70" y="152"/>
                </a:lnTo>
                <a:lnTo>
                  <a:pt x="70" y="153"/>
                </a:lnTo>
                <a:lnTo>
                  <a:pt x="70" y="153"/>
                </a:lnTo>
                <a:lnTo>
                  <a:pt x="70" y="153"/>
                </a:lnTo>
                <a:lnTo>
                  <a:pt x="70" y="153"/>
                </a:lnTo>
                <a:lnTo>
                  <a:pt x="70" y="153"/>
                </a:lnTo>
                <a:lnTo>
                  <a:pt x="71" y="153"/>
                </a:lnTo>
                <a:lnTo>
                  <a:pt x="71" y="155"/>
                </a:lnTo>
                <a:lnTo>
                  <a:pt x="71" y="155"/>
                </a:lnTo>
                <a:lnTo>
                  <a:pt x="71" y="155"/>
                </a:lnTo>
                <a:lnTo>
                  <a:pt x="71" y="155"/>
                </a:lnTo>
                <a:lnTo>
                  <a:pt x="71" y="155"/>
                </a:lnTo>
                <a:lnTo>
                  <a:pt x="71" y="155"/>
                </a:lnTo>
                <a:lnTo>
                  <a:pt x="71" y="156"/>
                </a:lnTo>
                <a:lnTo>
                  <a:pt x="71" y="156"/>
                </a:lnTo>
                <a:lnTo>
                  <a:pt x="71" y="156"/>
                </a:lnTo>
                <a:lnTo>
                  <a:pt x="72" y="156"/>
                </a:lnTo>
                <a:lnTo>
                  <a:pt x="72" y="156"/>
                </a:lnTo>
                <a:lnTo>
                  <a:pt x="72" y="157"/>
                </a:lnTo>
                <a:lnTo>
                  <a:pt x="72" y="157"/>
                </a:lnTo>
                <a:lnTo>
                  <a:pt x="72" y="157"/>
                </a:lnTo>
                <a:lnTo>
                  <a:pt x="72" y="157"/>
                </a:lnTo>
                <a:lnTo>
                  <a:pt x="72" y="157"/>
                </a:lnTo>
                <a:lnTo>
                  <a:pt x="72" y="157"/>
                </a:lnTo>
                <a:lnTo>
                  <a:pt x="72" y="158"/>
                </a:lnTo>
                <a:lnTo>
                  <a:pt x="72" y="158"/>
                </a:lnTo>
                <a:lnTo>
                  <a:pt x="72" y="158"/>
                </a:lnTo>
                <a:lnTo>
                  <a:pt x="72" y="158"/>
                </a:lnTo>
                <a:lnTo>
                  <a:pt x="73" y="158"/>
                </a:lnTo>
                <a:lnTo>
                  <a:pt x="73" y="159"/>
                </a:lnTo>
                <a:lnTo>
                  <a:pt x="73" y="159"/>
                </a:lnTo>
                <a:lnTo>
                  <a:pt x="73" y="159"/>
                </a:lnTo>
                <a:lnTo>
                  <a:pt x="73" y="159"/>
                </a:lnTo>
                <a:lnTo>
                  <a:pt x="73" y="159"/>
                </a:lnTo>
                <a:lnTo>
                  <a:pt x="73" y="159"/>
                </a:lnTo>
                <a:lnTo>
                  <a:pt x="73" y="160"/>
                </a:lnTo>
                <a:lnTo>
                  <a:pt x="73" y="160"/>
                </a:lnTo>
                <a:lnTo>
                  <a:pt x="73" y="160"/>
                </a:lnTo>
                <a:lnTo>
                  <a:pt x="73" y="160"/>
                </a:lnTo>
                <a:lnTo>
                  <a:pt x="73" y="160"/>
                </a:lnTo>
                <a:lnTo>
                  <a:pt x="73" y="161"/>
                </a:lnTo>
                <a:lnTo>
                  <a:pt x="75" y="161"/>
                </a:lnTo>
                <a:lnTo>
                  <a:pt x="75" y="161"/>
                </a:lnTo>
                <a:lnTo>
                  <a:pt x="75" y="161"/>
                </a:lnTo>
                <a:lnTo>
                  <a:pt x="75" y="161"/>
                </a:lnTo>
                <a:lnTo>
                  <a:pt x="75" y="162"/>
                </a:lnTo>
                <a:lnTo>
                  <a:pt x="75" y="162"/>
                </a:lnTo>
                <a:lnTo>
                  <a:pt x="75" y="162"/>
                </a:lnTo>
                <a:lnTo>
                  <a:pt x="75" y="162"/>
                </a:lnTo>
                <a:lnTo>
                  <a:pt x="75" y="162"/>
                </a:lnTo>
                <a:lnTo>
                  <a:pt x="75" y="164"/>
                </a:lnTo>
                <a:lnTo>
                  <a:pt x="75" y="164"/>
                </a:lnTo>
                <a:lnTo>
                  <a:pt x="75" y="164"/>
                </a:lnTo>
                <a:lnTo>
                  <a:pt x="75" y="164"/>
                </a:lnTo>
                <a:lnTo>
                  <a:pt x="75" y="164"/>
                </a:lnTo>
                <a:lnTo>
                  <a:pt x="75" y="165"/>
                </a:lnTo>
                <a:lnTo>
                  <a:pt x="75" y="165"/>
                </a:lnTo>
                <a:lnTo>
                  <a:pt x="75" y="165"/>
                </a:lnTo>
                <a:lnTo>
                  <a:pt x="75" y="165"/>
                </a:lnTo>
                <a:lnTo>
                  <a:pt x="75" y="165"/>
                </a:lnTo>
                <a:lnTo>
                  <a:pt x="76" y="166"/>
                </a:lnTo>
                <a:lnTo>
                  <a:pt x="76" y="166"/>
                </a:lnTo>
                <a:lnTo>
                  <a:pt x="76" y="166"/>
                </a:lnTo>
                <a:lnTo>
                  <a:pt x="76" y="166"/>
                </a:lnTo>
                <a:lnTo>
                  <a:pt x="76" y="166"/>
                </a:lnTo>
                <a:lnTo>
                  <a:pt x="76" y="167"/>
                </a:lnTo>
                <a:lnTo>
                  <a:pt x="76" y="167"/>
                </a:lnTo>
                <a:lnTo>
                  <a:pt x="76" y="167"/>
                </a:lnTo>
                <a:lnTo>
                  <a:pt x="76" y="167"/>
                </a:lnTo>
                <a:lnTo>
                  <a:pt x="76" y="167"/>
                </a:lnTo>
                <a:lnTo>
                  <a:pt x="76" y="168"/>
                </a:lnTo>
                <a:lnTo>
                  <a:pt x="76" y="168"/>
                </a:lnTo>
                <a:lnTo>
                  <a:pt x="76" y="168"/>
                </a:lnTo>
                <a:lnTo>
                  <a:pt x="76" y="168"/>
                </a:lnTo>
                <a:lnTo>
                  <a:pt x="76" y="168"/>
                </a:lnTo>
                <a:lnTo>
                  <a:pt x="76" y="169"/>
                </a:lnTo>
                <a:lnTo>
                  <a:pt x="76" y="169"/>
                </a:lnTo>
                <a:lnTo>
                  <a:pt x="76" y="169"/>
                </a:lnTo>
                <a:lnTo>
                  <a:pt x="76" y="169"/>
                </a:lnTo>
                <a:lnTo>
                  <a:pt x="76" y="170"/>
                </a:lnTo>
                <a:lnTo>
                  <a:pt x="76" y="170"/>
                </a:lnTo>
                <a:lnTo>
                  <a:pt x="76" y="170"/>
                </a:lnTo>
                <a:lnTo>
                  <a:pt x="76" y="170"/>
                </a:lnTo>
                <a:lnTo>
                  <a:pt x="76" y="170"/>
                </a:lnTo>
                <a:lnTo>
                  <a:pt x="76" y="171"/>
                </a:lnTo>
                <a:lnTo>
                  <a:pt x="76" y="171"/>
                </a:lnTo>
                <a:lnTo>
                  <a:pt x="76" y="171"/>
                </a:lnTo>
                <a:lnTo>
                  <a:pt x="76" y="171"/>
                </a:lnTo>
                <a:lnTo>
                  <a:pt x="76" y="171"/>
                </a:lnTo>
                <a:lnTo>
                  <a:pt x="76" y="173"/>
                </a:lnTo>
                <a:lnTo>
                  <a:pt x="76" y="173"/>
                </a:lnTo>
                <a:lnTo>
                  <a:pt x="76" y="173"/>
                </a:lnTo>
                <a:lnTo>
                  <a:pt x="76" y="173"/>
                </a:lnTo>
                <a:lnTo>
                  <a:pt x="76" y="174"/>
                </a:lnTo>
                <a:lnTo>
                  <a:pt x="76" y="174"/>
                </a:lnTo>
                <a:close/>
                <a:moveTo>
                  <a:pt x="79" y="177"/>
                </a:moveTo>
                <a:lnTo>
                  <a:pt x="79" y="169"/>
                </a:lnTo>
                <a:lnTo>
                  <a:pt x="95" y="169"/>
                </a:lnTo>
                <a:lnTo>
                  <a:pt x="95" y="177"/>
                </a:lnTo>
                <a:lnTo>
                  <a:pt x="79" y="177"/>
                </a:lnTo>
                <a:lnTo>
                  <a:pt x="79" y="177"/>
                </a:lnTo>
                <a:close/>
                <a:moveTo>
                  <a:pt x="126" y="177"/>
                </a:moveTo>
                <a:lnTo>
                  <a:pt x="126" y="169"/>
                </a:lnTo>
                <a:lnTo>
                  <a:pt x="142" y="169"/>
                </a:lnTo>
                <a:lnTo>
                  <a:pt x="142" y="177"/>
                </a:lnTo>
                <a:lnTo>
                  <a:pt x="126" y="177"/>
                </a:lnTo>
                <a:lnTo>
                  <a:pt x="126" y="177"/>
                </a:lnTo>
                <a:close/>
                <a:moveTo>
                  <a:pt x="173" y="177"/>
                </a:moveTo>
                <a:lnTo>
                  <a:pt x="173" y="169"/>
                </a:lnTo>
                <a:lnTo>
                  <a:pt x="188" y="169"/>
                </a:lnTo>
                <a:lnTo>
                  <a:pt x="188" y="177"/>
                </a:lnTo>
                <a:lnTo>
                  <a:pt x="173" y="177"/>
                </a:lnTo>
                <a:lnTo>
                  <a:pt x="173" y="177"/>
                </a:lnTo>
                <a:close/>
                <a:moveTo>
                  <a:pt x="220" y="177"/>
                </a:moveTo>
                <a:lnTo>
                  <a:pt x="220" y="169"/>
                </a:lnTo>
                <a:lnTo>
                  <a:pt x="236" y="169"/>
                </a:lnTo>
                <a:lnTo>
                  <a:pt x="236" y="177"/>
                </a:lnTo>
                <a:lnTo>
                  <a:pt x="220" y="177"/>
                </a:lnTo>
                <a:lnTo>
                  <a:pt x="220" y="177"/>
                </a:lnTo>
                <a:close/>
                <a:moveTo>
                  <a:pt x="267" y="177"/>
                </a:moveTo>
                <a:lnTo>
                  <a:pt x="267" y="169"/>
                </a:lnTo>
                <a:lnTo>
                  <a:pt x="283" y="169"/>
                </a:lnTo>
                <a:lnTo>
                  <a:pt x="283" y="177"/>
                </a:lnTo>
                <a:lnTo>
                  <a:pt x="267" y="177"/>
                </a:lnTo>
                <a:lnTo>
                  <a:pt x="267" y="177"/>
                </a:lnTo>
                <a:close/>
                <a:moveTo>
                  <a:pt x="314" y="177"/>
                </a:moveTo>
                <a:lnTo>
                  <a:pt x="314" y="169"/>
                </a:lnTo>
                <a:lnTo>
                  <a:pt x="330" y="169"/>
                </a:lnTo>
                <a:lnTo>
                  <a:pt x="330" y="177"/>
                </a:lnTo>
                <a:lnTo>
                  <a:pt x="314" y="177"/>
                </a:lnTo>
                <a:lnTo>
                  <a:pt x="314" y="177"/>
                </a:lnTo>
                <a:close/>
                <a:moveTo>
                  <a:pt x="362" y="177"/>
                </a:moveTo>
                <a:lnTo>
                  <a:pt x="362" y="169"/>
                </a:lnTo>
                <a:lnTo>
                  <a:pt x="377" y="169"/>
                </a:lnTo>
                <a:lnTo>
                  <a:pt x="377" y="177"/>
                </a:lnTo>
                <a:lnTo>
                  <a:pt x="362" y="177"/>
                </a:lnTo>
                <a:lnTo>
                  <a:pt x="362" y="177"/>
                </a:lnTo>
                <a:close/>
                <a:moveTo>
                  <a:pt x="409" y="177"/>
                </a:moveTo>
                <a:lnTo>
                  <a:pt x="409" y="169"/>
                </a:lnTo>
                <a:lnTo>
                  <a:pt x="425" y="169"/>
                </a:lnTo>
                <a:lnTo>
                  <a:pt x="425" y="177"/>
                </a:lnTo>
                <a:lnTo>
                  <a:pt x="409" y="177"/>
                </a:lnTo>
                <a:lnTo>
                  <a:pt x="409" y="177"/>
                </a:lnTo>
                <a:close/>
                <a:moveTo>
                  <a:pt x="456" y="177"/>
                </a:moveTo>
                <a:lnTo>
                  <a:pt x="456" y="169"/>
                </a:lnTo>
                <a:lnTo>
                  <a:pt x="472" y="169"/>
                </a:lnTo>
                <a:lnTo>
                  <a:pt x="472" y="177"/>
                </a:lnTo>
                <a:lnTo>
                  <a:pt x="456" y="177"/>
                </a:lnTo>
                <a:lnTo>
                  <a:pt x="456" y="177"/>
                </a:lnTo>
                <a:close/>
                <a:moveTo>
                  <a:pt x="502" y="177"/>
                </a:moveTo>
                <a:lnTo>
                  <a:pt x="502" y="169"/>
                </a:lnTo>
                <a:lnTo>
                  <a:pt x="510" y="169"/>
                </a:lnTo>
                <a:lnTo>
                  <a:pt x="510" y="169"/>
                </a:lnTo>
                <a:lnTo>
                  <a:pt x="511" y="169"/>
                </a:lnTo>
                <a:lnTo>
                  <a:pt x="519" y="171"/>
                </a:lnTo>
                <a:lnTo>
                  <a:pt x="518" y="178"/>
                </a:lnTo>
                <a:lnTo>
                  <a:pt x="510" y="177"/>
                </a:lnTo>
                <a:lnTo>
                  <a:pt x="502" y="177"/>
                </a:lnTo>
                <a:lnTo>
                  <a:pt x="502" y="177"/>
                </a:lnTo>
                <a:close/>
                <a:moveTo>
                  <a:pt x="534" y="158"/>
                </a:moveTo>
                <a:lnTo>
                  <a:pt x="526" y="158"/>
                </a:lnTo>
                <a:lnTo>
                  <a:pt x="526" y="142"/>
                </a:lnTo>
                <a:lnTo>
                  <a:pt x="534" y="142"/>
                </a:lnTo>
                <a:lnTo>
                  <a:pt x="534" y="158"/>
                </a:lnTo>
                <a:lnTo>
                  <a:pt x="534" y="158"/>
                </a:lnTo>
                <a:close/>
                <a:moveTo>
                  <a:pt x="534" y="111"/>
                </a:moveTo>
                <a:lnTo>
                  <a:pt x="526" y="111"/>
                </a:lnTo>
                <a:lnTo>
                  <a:pt x="526" y="95"/>
                </a:lnTo>
                <a:lnTo>
                  <a:pt x="534" y="95"/>
                </a:lnTo>
                <a:lnTo>
                  <a:pt x="534" y="111"/>
                </a:lnTo>
                <a:lnTo>
                  <a:pt x="534" y="111"/>
                </a:lnTo>
                <a:close/>
                <a:moveTo>
                  <a:pt x="534" y="63"/>
                </a:moveTo>
                <a:lnTo>
                  <a:pt x="526" y="63"/>
                </a:lnTo>
                <a:lnTo>
                  <a:pt x="526" y="48"/>
                </a:lnTo>
                <a:lnTo>
                  <a:pt x="534" y="48"/>
                </a:lnTo>
                <a:lnTo>
                  <a:pt x="534" y="63"/>
                </a:lnTo>
                <a:close/>
              </a:path>
            </a:pathLst>
          </a:custGeom>
          <a:solidFill>
            <a:srgbClr val="8497B0"/>
          </a:solidFill>
          <a:ln>
            <a:solidFill>
              <a:srgbClr val="FFC000"/>
            </a:solidFill>
          </a:ln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1013"/>
          </a:p>
        </p:txBody>
      </p:sp>
      <p:grpSp>
        <p:nvGrpSpPr>
          <p:cNvPr id="6" name="Group 11">
            <a:extLst>
              <a:ext uri="{FF2B5EF4-FFF2-40B4-BE49-F238E27FC236}">
                <a16:creationId xmlns:a16="http://schemas.microsoft.com/office/drawing/2014/main" id="{71C90C5A-44AF-469D-8369-603B9BE9812F}"/>
              </a:ext>
            </a:extLst>
          </p:cNvPr>
          <p:cNvGrpSpPr/>
          <p:nvPr/>
        </p:nvGrpSpPr>
        <p:grpSpPr>
          <a:xfrm>
            <a:off x="2261068" y="1704298"/>
            <a:ext cx="2347665" cy="3795202"/>
            <a:chOff x="4353371" y="2797175"/>
            <a:chExt cx="3481388" cy="2833688"/>
          </a:xfrm>
        </p:grpSpPr>
        <p:sp>
          <p:nvSpPr>
            <p:cNvPr id="7" name="Freeform 16">
              <a:extLst>
                <a:ext uri="{FF2B5EF4-FFF2-40B4-BE49-F238E27FC236}">
                  <a16:creationId xmlns:a16="http://schemas.microsoft.com/office/drawing/2014/main" id="{D479996B-CFB5-408D-BED5-15320C748CE0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9233" y="5208588"/>
              <a:ext cx="1166813" cy="422275"/>
            </a:xfrm>
            <a:custGeom>
              <a:avLst/>
              <a:gdLst>
                <a:gd name="T0" fmla="*/ 0 w 653"/>
                <a:gd name="T1" fmla="*/ 236 h 236"/>
                <a:gd name="T2" fmla="*/ 24 w 653"/>
                <a:gd name="T3" fmla="*/ 209 h 236"/>
                <a:gd name="T4" fmla="*/ 77 w 653"/>
                <a:gd name="T5" fmla="*/ 202 h 236"/>
                <a:gd name="T6" fmla="*/ 130 w 653"/>
                <a:gd name="T7" fmla="*/ 0 h 236"/>
                <a:gd name="T8" fmla="*/ 523 w 653"/>
                <a:gd name="T9" fmla="*/ 0 h 236"/>
                <a:gd name="T10" fmla="*/ 576 w 653"/>
                <a:gd name="T11" fmla="*/ 202 h 236"/>
                <a:gd name="T12" fmla="*/ 629 w 653"/>
                <a:gd name="T13" fmla="*/ 209 h 236"/>
                <a:gd name="T14" fmla="*/ 653 w 653"/>
                <a:gd name="T15" fmla="*/ 236 h 236"/>
                <a:gd name="T16" fmla="*/ 0 w 653"/>
                <a:gd name="T17" fmla="*/ 236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3" h="236">
                  <a:moveTo>
                    <a:pt x="0" y="236"/>
                  </a:moveTo>
                  <a:cubicBezTo>
                    <a:pt x="0" y="222"/>
                    <a:pt x="10" y="210"/>
                    <a:pt x="24" y="209"/>
                  </a:cubicBezTo>
                  <a:cubicBezTo>
                    <a:pt x="77" y="202"/>
                    <a:pt x="77" y="202"/>
                    <a:pt x="77" y="202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523" y="0"/>
                    <a:pt x="523" y="0"/>
                    <a:pt x="523" y="0"/>
                  </a:cubicBezTo>
                  <a:cubicBezTo>
                    <a:pt x="576" y="202"/>
                    <a:pt x="576" y="202"/>
                    <a:pt x="576" y="202"/>
                  </a:cubicBezTo>
                  <a:cubicBezTo>
                    <a:pt x="629" y="209"/>
                    <a:pt x="629" y="209"/>
                    <a:pt x="629" y="209"/>
                  </a:cubicBezTo>
                  <a:cubicBezTo>
                    <a:pt x="642" y="210"/>
                    <a:pt x="653" y="222"/>
                    <a:pt x="653" y="236"/>
                  </a:cubicBezTo>
                  <a:lnTo>
                    <a:pt x="0" y="236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8" name="Freeform 17">
              <a:extLst>
                <a:ext uri="{FF2B5EF4-FFF2-40B4-BE49-F238E27FC236}">
                  <a16:creationId xmlns:a16="http://schemas.microsoft.com/office/drawing/2014/main" id="{E8F2FE0C-E21F-4AC9-8081-4269AB7A41A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5133" y="5208588"/>
              <a:ext cx="735013" cy="60325"/>
            </a:xfrm>
            <a:custGeom>
              <a:avLst/>
              <a:gdLst>
                <a:gd name="T0" fmla="*/ 0 w 463"/>
                <a:gd name="T1" fmla="*/ 38 h 38"/>
                <a:gd name="T2" fmla="*/ 10 w 463"/>
                <a:gd name="T3" fmla="*/ 0 h 38"/>
                <a:gd name="T4" fmla="*/ 453 w 463"/>
                <a:gd name="T5" fmla="*/ 0 h 38"/>
                <a:gd name="T6" fmla="*/ 463 w 463"/>
                <a:gd name="T7" fmla="*/ 38 h 38"/>
                <a:gd name="T8" fmla="*/ 0 w 463"/>
                <a:gd name="T9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3" h="38">
                  <a:moveTo>
                    <a:pt x="0" y="38"/>
                  </a:moveTo>
                  <a:lnTo>
                    <a:pt x="10" y="0"/>
                  </a:lnTo>
                  <a:lnTo>
                    <a:pt x="453" y="0"/>
                  </a:lnTo>
                  <a:lnTo>
                    <a:pt x="463" y="38"/>
                  </a:lnTo>
                  <a:lnTo>
                    <a:pt x="0" y="38"/>
                  </a:ln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9" name="Freeform 18">
              <a:extLst>
                <a:ext uri="{FF2B5EF4-FFF2-40B4-BE49-F238E27FC236}">
                  <a16:creationId xmlns:a16="http://schemas.microsoft.com/office/drawing/2014/main" id="{5203AD47-90B7-4CA9-81B6-9340255FE7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3371" y="2797175"/>
              <a:ext cx="3481388" cy="2109787"/>
            </a:xfrm>
            <a:custGeom>
              <a:avLst/>
              <a:gdLst>
                <a:gd name="T0" fmla="*/ 0 w 1948"/>
                <a:gd name="T1" fmla="*/ 1180 h 1180"/>
                <a:gd name="T2" fmla="*/ 0 w 1948"/>
                <a:gd name="T3" fmla="*/ 44 h 1180"/>
                <a:gd name="T4" fmla="*/ 44 w 1948"/>
                <a:gd name="T5" fmla="*/ 0 h 1180"/>
                <a:gd name="T6" fmla="*/ 1904 w 1948"/>
                <a:gd name="T7" fmla="*/ 0 h 1180"/>
                <a:gd name="T8" fmla="*/ 1948 w 1948"/>
                <a:gd name="T9" fmla="*/ 44 h 1180"/>
                <a:gd name="T10" fmla="*/ 1948 w 1948"/>
                <a:gd name="T11" fmla="*/ 1180 h 1180"/>
                <a:gd name="T12" fmla="*/ 0 w 1948"/>
                <a:gd name="T13" fmla="*/ 1180 h 1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48" h="1180">
                  <a:moveTo>
                    <a:pt x="0" y="1180"/>
                  </a:moveTo>
                  <a:cubicBezTo>
                    <a:pt x="0" y="44"/>
                    <a:pt x="0" y="44"/>
                    <a:pt x="0" y="44"/>
                  </a:cubicBezTo>
                  <a:cubicBezTo>
                    <a:pt x="0" y="20"/>
                    <a:pt x="20" y="0"/>
                    <a:pt x="44" y="0"/>
                  </a:cubicBezTo>
                  <a:cubicBezTo>
                    <a:pt x="1904" y="0"/>
                    <a:pt x="1904" y="0"/>
                    <a:pt x="1904" y="0"/>
                  </a:cubicBezTo>
                  <a:cubicBezTo>
                    <a:pt x="1928" y="0"/>
                    <a:pt x="1948" y="20"/>
                    <a:pt x="1948" y="44"/>
                  </a:cubicBezTo>
                  <a:cubicBezTo>
                    <a:pt x="1948" y="1180"/>
                    <a:pt x="1948" y="1180"/>
                    <a:pt x="1948" y="1180"/>
                  </a:cubicBezTo>
                  <a:lnTo>
                    <a:pt x="0" y="1180"/>
                  </a:lnTo>
                  <a:close/>
                </a:path>
              </a:pathLst>
            </a:custGeom>
            <a:solidFill>
              <a:srgbClr val="2D2D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10" name="Freeform 19">
              <a:extLst>
                <a:ext uri="{FF2B5EF4-FFF2-40B4-BE49-F238E27FC236}">
                  <a16:creationId xmlns:a16="http://schemas.microsoft.com/office/drawing/2014/main" id="{B2A9C0D6-3E37-425C-936A-89B1082AD5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3371" y="4906963"/>
              <a:ext cx="3481388" cy="312737"/>
            </a:xfrm>
            <a:custGeom>
              <a:avLst/>
              <a:gdLst>
                <a:gd name="T0" fmla="*/ 1904 w 1948"/>
                <a:gd name="T1" fmla="*/ 175 h 175"/>
                <a:gd name="T2" fmla="*/ 44 w 1948"/>
                <a:gd name="T3" fmla="*/ 175 h 175"/>
                <a:gd name="T4" fmla="*/ 0 w 1948"/>
                <a:gd name="T5" fmla="*/ 131 h 175"/>
                <a:gd name="T6" fmla="*/ 0 w 1948"/>
                <a:gd name="T7" fmla="*/ 0 h 175"/>
                <a:gd name="T8" fmla="*/ 1948 w 1948"/>
                <a:gd name="T9" fmla="*/ 0 h 175"/>
                <a:gd name="T10" fmla="*/ 1948 w 1948"/>
                <a:gd name="T11" fmla="*/ 131 h 175"/>
                <a:gd name="T12" fmla="*/ 1904 w 1948"/>
                <a:gd name="T13" fmla="*/ 17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48" h="175">
                  <a:moveTo>
                    <a:pt x="1904" y="175"/>
                  </a:moveTo>
                  <a:cubicBezTo>
                    <a:pt x="44" y="175"/>
                    <a:pt x="44" y="175"/>
                    <a:pt x="44" y="175"/>
                  </a:cubicBezTo>
                  <a:cubicBezTo>
                    <a:pt x="20" y="175"/>
                    <a:pt x="0" y="156"/>
                    <a:pt x="0" y="13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48" y="0"/>
                    <a:pt x="1948" y="0"/>
                    <a:pt x="1948" y="0"/>
                  </a:cubicBezTo>
                  <a:cubicBezTo>
                    <a:pt x="1948" y="131"/>
                    <a:pt x="1948" y="131"/>
                    <a:pt x="1948" y="131"/>
                  </a:cubicBezTo>
                  <a:cubicBezTo>
                    <a:pt x="1948" y="156"/>
                    <a:pt x="1928" y="175"/>
                    <a:pt x="1904" y="175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11" name="Rectangle 20">
              <a:extLst>
                <a:ext uri="{FF2B5EF4-FFF2-40B4-BE49-F238E27FC236}">
                  <a16:creationId xmlns:a16="http://schemas.microsoft.com/office/drawing/2014/main" id="{1F3CEA8D-9A82-453D-BD7F-84F18EC015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1321" y="2935288"/>
              <a:ext cx="3263900" cy="183356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12" name="Rectangle 21">
              <a:extLst>
                <a:ext uri="{FF2B5EF4-FFF2-40B4-BE49-F238E27FC236}">
                  <a16:creationId xmlns:a16="http://schemas.microsoft.com/office/drawing/2014/main" id="{10BF4A47-9668-47D6-9286-D9E0A8B196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1321" y="4606925"/>
              <a:ext cx="3263900" cy="161925"/>
            </a:xfrm>
            <a:prstGeom prst="rect">
              <a:avLst/>
            </a:prstGeom>
            <a:solidFill>
              <a:srgbClr val="89CDCD"/>
            </a:solidFill>
            <a:ln>
              <a:noFill/>
            </a:ln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13" name="Rectangle 22">
              <a:extLst>
                <a:ext uri="{FF2B5EF4-FFF2-40B4-BE49-F238E27FC236}">
                  <a16:creationId xmlns:a16="http://schemas.microsoft.com/office/drawing/2014/main" id="{D2A86CB2-FC43-4A9E-8731-F02FE23898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18583" y="2992438"/>
              <a:ext cx="1350963" cy="87312"/>
            </a:xfrm>
            <a:prstGeom prst="rect">
              <a:avLst/>
            </a:prstGeom>
            <a:solidFill>
              <a:srgbClr val="89CDCD"/>
            </a:solidFill>
            <a:ln>
              <a:noFill/>
            </a:ln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14" name="Rectangle 23">
              <a:extLst>
                <a:ext uri="{FF2B5EF4-FFF2-40B4-BE49-F238E27FC236}">
                  <a16:creationId xmlns:a16="http://schemas.microsoft.com/office/drawing/2014/main" id="{2F4250E4-C91F-4D2E-9699-7964E404C1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3221" y="3108325"/>
              <a:ext cx="800100" cy="87312"/>
            </a:xfrm>
            <a:prstGeom prst="rect">
              <a:avLst/>
            </a:prstGeom>
            <a:solidFill>
              <a:srgbClr val="89CDCD"/>
            </a:solidFill>
            <a:ln>
              <a:noFill/>
            </a:ln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15" name="Rectangle 24">
              <a:extLst>
                <a:ext uri="{FF2B5EF4-FFF2-40B4-BE49-F238E27FC236}">
                  <a16:creationId xmlns:a16="http://schemas.microsoft.com/office/drawing/2014/main" id="{E4B263A6-2E91-4523-BBFA-A3F66A7395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6458" y="3848100"/>
              <a:ext cx="431800" cy="679450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16" name="Freeform 26">
              <a:extLst>
                <a:ext uri="{FF2B5EF4-FFF2-40B4-BE49-F238E27FC236}">
                  <a16:creationId xmlns:a16="http://schemas.microsoft.com/office/drawing/2014/main" id="{DBD7F505-A38A-42EE-B201-15E4DB232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4558" y="3489325"/>
              <a:ext cx="42863" cy="93662"/>
            </a:xfrm>
            <a:custGeom>
              <a:avLst/>
              <a:gdLst>
                <a:gd name="T0" fmla="*/ 1 w 24"/>
                <a:gd name="T1" fmla="*/ 6 h 53"/>
                <a:gd name="T2" fmla="*/ 2 w 24"/>
                <a:gd name="T3" fmla="*/ 2 h 53"/>
                <a:gd name="T4" fmla="*/ 6 w 24"/>
                <a:gd name="T5" fmla="*/ 2 h 53"/>
                <a:gd name="T6" fmla="*/ 23 w 24"/>
                <a:gd name="T7" fmla="*/ 25 h 53"/>
                <a:gd name="T8" fmla="*/ 24 w 24"/>
                <a:gd name="T9" fmla="*/ 25 h 53"/>
                <a:gd name="T10" fmla="*/ 24 w 24"/>
                <a:gd name="T11" fmla="*/ 25 h 53"/>
                <a:gd name="T12" fmla="*/ 24 w 24"/>
                <a:gd name="T13" fmla="*/ 25 h 53"/>
                <a:gd name="T14" fmla="*/ 24 w 24"/>
                <a:gd name="T15" fmla="*/ 25 h 53"/>
                <a:gd name="T16" fmla="*/ 24 w 24"/>
                <a:gd name="T17" fmla="*/ 26 h 53"/>
                <a:gd name="T18" fmla="*/ 24 w 24"/>
                <a:gd name="T19" fmla="*/ 26 h 53"/>
                <a:gd name="T20" fmla="*/ 24 w 24"/>
                <a:gd name="T21" fmla="*/ 26 h 53"/>
                <a:gd name="T22" fmla="*/ 24 w 24"/>
                <a:gd name="T23" fmla="*/ 26 h 53"/>
                <a:gd name="T24" fmla="*/ 24 w 24"/>
                <a:gd name="T25" fmla="*/ 26 h 53"/>
                <a:gd name="T26" fmla="*/ 24 w 24"/>
                <a:gd name="T27" fmla="*/ 27 h 53"/>
                <a:gd name="T28" fmla="*/ 24 w 24"/>
                <a:gd name="T29" fmla="*/ 27 h 53"/>
                <a:gd name="T30" fmla="*/ 24 w 24"/>
                <a:gd name="T31" fmla="*/ 27 h 53"/>
                <a:gd name="T32" fmla="*/ 24 w 24"/>
                <a:gd name="T33" fmla="*/ 27 h 53"/>
                <a:gd name="T34" fmla="*/ 24 w 24"/>
                <a:gd name="T35" fmla="*/ 27 h 53"/>
                <a:gd name="T36" fmla="*/ 24 w 24"/>
                <a:gd name="T37" fmla="*/ 27 h 53"/>
                <a:gd name="T38" fmla="*/ 24 w 24"/>
                <a:gd name="T39" fmla="*/ 27 h 53"/>
                <a:gd name="T40" fmla="*/ 24 w 24"/>
                <a:gd name="T41" fmla="*/ 27 h 53"/>
                <a:gd name="T42" fmla="*/ 24 w 24"/>
                <a:gd name="T43" fmla="*/ 27 h 53"/>
                <a:gd name="T44" fmla="*/ 24 w 24"/>
                <a:gd name="T45" fmla="*/ 27 h 53"/>
                <a:gd name="T46" fmla="*/ 24 w 24"/>
                <a:gd name="T47" fmla="*/ 28 h 53"/>
                <a:gd name="T48" fmla="*/ 24 w 24"/>
                <a:gd name="T49" fmla="*/ 28 h 53"/>
                <a:gd name="T50" fmla="*/ 24 w 24"/>
                <a:gd name="T51" fmla="*/ 28 h 53"/>
                <a:gd name="T52" fmla="*/ 24 w 24"/>
                <a:gd name="T53" fmla="*/ 28 h 53"/>
                <a:gd name="T54" fmla="*/ 24 w 24"/>
                <a:gd name="T55" fmla="*/ 28 h 53"/>
                <a:gd name="T56" fmla="*/ 24 w 24"/>
                <a:gd name="T57" fmla="*/ 29 h 53"/>
                <a:gd name="T58" fmla="*/ 24 w 24"/>
                <a:gd name="T59" fmla="*/ 29 h 53"/>
                <a:gd name="T60" fmla="*/ 24 w 24"/>
                <a:gd name="T61" fmla="*/ 29 h 53"/>
                <a:gd name="T62" fmla="*/ 24 w 24"/>
                <a:gd name="T63" fmla="*/ 29 h 53"/>
                <a:gd name="T64" fmla="*/ 23 w 24"/>
                <a:gd name="T65" fmla="*/ 29 h 53"/>
                <a:gd name="T66" fmla="*/ 6 w 24"/>
                <a:gd name="T67" fmla="*/ 52 h 53"/>
                <a:gd name="T68" fmla="*/ 2 w 24"/>
                <a:gd name="T69" fmla="*/ 52 h 53"/>
                <a:gd name="T70" fmla="*/ 1 w 24"/>
                <a:gd name="T71" fmla="*/ 48 h 53"/>
                <a:gd name="T72" fmla="*/ 17 w 24"/>
                <a:gd name="T73" fmla="*/ 27 h 53"/>
                <a:gd name="T74" fmla="*/ 1 w 24"/>
                <a:gd name="T75" fmla="*/ 6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4" h="53">
                  <a:moveTo>
                    <a:pt x="1" y="6"/>
                  </a:moveTo>
                  <a:cubicBezTo>
                    <a:pt x="0" y="5"/>
                    <a:pt x="0" y="3"/>
                    <a:pt x="2" y="2"/>
                  </a:cubicBezTo>
                  <a:cubicBezTo>
                    <a:pt x="3" y="0"/>
                    <a:pt x="5" y="1"/>
                    <a:pt x="6" y="2"/>
                  </a:cubicBezTo>
                  <a:cubicBezTo>
                    <a:pt x="23" y="25"/>
                    <a:pt x="23" y="25"/>
                    <a:pt x="23" y="25"/>
                  </a:cubicBezTo>
                  <a:cubicBezTo>
                    <a:pt x="24" y="25"/>
                    <a:pt x="24" y="25"/>
                    <a:pt x="24" y="25"/>
                  </a:cubicBezTo>
                  <a:cubicBezTo>
                    <a:pt x="24" y="25"/>
                    <a:pt x="24" y="25"/>
                    <a:pt x="24" y="25"/>
                  </a:cubicBezTo>
                  <a:cubicBezTo>
                    <a:pt x="24" y="25"/>
                    <a:pt x="24" y="25"/>
                    <a:pt x="24" y="25"/>
                  </a:cubicBezTo>
                  <a:cubicBezTo>
                    <a:pt x="24" y="25"/>
                    <a:pt x="24" y="25"/>
                    <a:pt x="24" y="25"/>
                  </a:cubicBezTo>
                  <a:cubicBezTo>
                    <a:pt x="24" y="25"/>
                    <a:pt x="24" y="25"/>
                    <a:pt x="24" y="26"/>
                  </a:cubicBezTo>
                  <a:cubicBezTo>
                    <a:pt x="24" y="26"/>
                    <a:pt x="24" y="26"/>
                    <a:pt x="24" y="26"/>
                  </a:cubicBezTo>
                  <a:cubicBezTo>
                    <a:pt x="24" y="26"/>
                    <a:pt x="24" y="26"/>
                    <a:pt x="24" y="26"/>
                  </a:cubicBezTo>
                  <a:cubicBezTo>
                    <a:pt x="24" y="26"/>
                    <a:pt x="24" y="26"/>
                    <a:pt x="24" y="26"/>
                  </a:cubicBezTo>
                  <a:cubicBezTo>
                    <a:pt x="24" y="26"/>
                    <a:pt x="24" y="26"/>
                    <a:pt x="24" y="26"/>
                  </a:cubicBezTo>
                  <a:cubicBezTo>
                    <a:pt x="24" y="26"/>
                    <a:pt x="24" y="26"/>
                    <a:pt x="24" y="27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7"/>
                    <a:pt x="24" y="28"/>
                    <a:pt x="24" y="28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4" y="28"/>
                    <a:pt x="24" y="29"/>
                    <a:pt x="24" y="29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4" y="29"/>
                    <a:pt x="24" y="29"/>
                    <a:pt x="23" y="29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5" y="53"/>
                    <a:pt x="3" y="53"/>
                    <a:pt x="2" y="52"/>
                  </a:cubicBezTo>
                  <a:cubicBezTo>
                    <a:pt x="0" y="51"/>
                    <a:pt x="0" y="49"/>
                    <a:pt x="1" y="48"/>
                  </a:cubicBezTo>
                  <a:cubicBezTo>
                    <a:pt x="17" y="27"/>
                    <a:pt x="17" y="27"/>
                    <a:pt x="17" y="27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17" name="Freeform 27">
              <a:extLst>
                <a:ext uri="{FF2B5EF4-FFF2-40B4-BE49-F238E27FC236}">
                  <a16:creationId xmlns:a16="http://schemas.microsoft.com/office/drawing/2014/main" id="{D36B3509-36B8-4772-AC25-9A5FBA8588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5671" y="3489325"/>
              <a:ext cx="42863" cy="93662"/>
            </a:xfrm>
            <a:custGeom>
              <a:avLst/>
              <a:gdLst>
                <a:gd name="T0" fmla="*/ 17 w 24"/>
                <a:gd name="T1" fmla="*/ 2 h 53"/>
                <a:gd name="T2" fmla="*/ 22 w 24"/>
                <a:gd name="T3" fmla="*/ 2 h 53"/>
                <a:gd name="T4" fmla="*/ 23 w 24"/>
                <a:gd name="T5" fmla="*/ 6 h 53"/>
                <a:gd name="T6" fmla="*/ 7 w 24"/>
                <a:gd name="T7" fmla="*/ 27 h 53"/>
                <a:gd name="T8" fmla="*/ 23 w 24"/>
                <a:gd name="T9" fmla="*/ 48 h 53"/>
                <a:gd name="T10" fmla="*/ 22 w 24"/>
                <a:gd name="T11" fmla="*/ 52 h 53"/>
                <a:gd name="T12" fmla="*/ 17 w 24"/>
                <a:gd name="T13" fmla="*/ 52 h 53"/>
                <a:gd name="T14" fmla="*/ 0 w 24"/>
                <a:gd name="T15" fmla="*/ 29 h 53"/>
                <a:gd name="T16" fmla="*/ 0 w 24"/>
                <a:gd name="T17" fmla="*/ 29 h 53"/>
                <a:gd name="T18" fmla="*/ 0 w 24"/>
                <a:gd name="T19" fmla="*/ 29 h 53"/>
                <a:gd name="T20" fmla="*/ 0 w 24"/>
                <a:gd name="T21" fmla="*/ 29 h 53"/>
                <a:gd name="T22" fmla="*/ 0 w 24"/>
                <a:gd name="T23" fmla="*/ 29 h 53"/>
                <a:gd name="T24" fmla="*/ 0 w 24"/>
                <a:gd name="T25" fmla="*/ 28 h 53"/>
                <a:gd name="T26" fmla="*/ 0 w 24"/>
                <a:gd name="T27" fmla="*/ 28 h 53"/>
                <a:gd name="T28" fmla="*/ 0 w 24"/>
                <a:gd name="T29" fmla="*/ 28 h 53"/>
                <a:gd name="T30" fmla="*/ 0 w 24"/>
                <a:gd name="T31" fmla="*/ 28 h 53"/>
                <a:gd name="T32" fmla="*/ 0 w 24"/>
                <a:gd name="T33" fmla="*/ 28 h 53"/>
                <a:gd name="T34" fmla="*/ 0 w 24"/>
                <a:gd name="T35" fmla="*/ 27 h 53"/>
                <a:gd name="T36" fmla="*/ 0 w 24"/>
                <a:gd name="T37" fmla="*/ 27 h 53"/>
                <a:gd name="T38" fmla="*/ 0 w 24"/>
                <a:gd name="T39" fmla="*/ 27 h 53"/>
                <a:gd name="T40" fmla="*/ 0 w 24"/>
                <a:gd name="T41" fmla="*/ 27 h 53"/>
                <a:gd name="T42" fmla="*/ 0 w 24"/>
                <a:gd name="T43" fmla="*/ 27 h 53"/>
                <a:gd name="T44" fmla="*/ 0 w 24"/>
                <a:gd name="T45" fmla="*/ 27 h 53"/>
                <a:gd name="T46" fmla="*/ 0 w 24"/>
                <a:gd name="T47" fmla="*/ 27 h 53"/>
                <a:gd name="T48" fmla="*/ 0 w 24"/>
                <a:gd name="T49" fmla="*/ 27 h 53"/>
                <a:gd name="T50" fmla="*/ 0 w 24"/>
                <a:gd name="T51" fmla="*/ 27 h 53"/>
                <a:gd name="T52" fmla="*/ 0 w 24"/>
                <a:gd name="T53" fmla="*/ 27 h 53"/>
                <a:gd name="T54" fmla="*/ 0 w 24"/>
                <a:gd name="T55" fmla="*/ 26 h 53"/>
                <a:gd name="T56" fmla="*/ 0 w 24"/>
                <a:gd name="T57" fmla="*/ 26 h 53"/>
                <a:gd name="T58" fmla="*/ 0 w 24"/>
                <a:gd name="T59" fmla="*/ 26 h 53"/>
                <a:gd name="T60" fmla="*/ 0 w 24"/>
                <a:gd name="T61" fmla="*/ 26 h 53"/>
                <a:gd name="T62" fmla="*/ 0 w 24"/>
                <a:gd name="T63" fmla="*/ 26 h 53"/>
                <a:gd name="T64" fmla="*/ 0 w 24"/>
                <a:gd name="T65" fmla="*/ 25 h 53"/>
                <a:gd name="T66" fmla="*/ 0 w 24"/>
                <a:gd name="T67" fmla="*/ 25 h 53"/>
                <a:gd name="T68" fmla="*/ 0 w 24"/>
                <a:gd name="T69" fmla="*/ 25 h 53"/>
                <a:gd name="T70" fmla="*/ 0 w 24"/>
                <a:gd name="T71" fmla="*/ 25 h 53"/>
                <a:gd name="T72" fmla="*/ 0 w 24"/>
                <a:gd name="T73" fmla="*/ 25 h 53"/>
                <a:gd name="T74" fmla="*/ 17 w 24"/>
                <a:gd name="T75" fmla="*/ 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4" h="53">
                  <a:moveTo>
                    <a:pt x="17" y="2"/>
                  </a:moveTo>
                  <a:cubicBezTo>
                    <a:pt x="18" y="1"/>
                    <a:pt x="21" y="0"/>
                    <a:pt x="22" y="2"/>
                  </a:cubicBezTo>
                  <a:cubicBezTo>
                    <a:pt x="24" y="3"/>
                    <a:pt x="24" y="5"/>
                    <a:pt x="23" y="6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23" y="48"/>
                    <a:pt x="23" y="48"/>
                    <a:pt x="23" y="48"/>
                  </a:cubicBezTo>
                  <a:cubicBezTo>
                    <a:pt x="24" y="49"/>
                    <a:pt x="24" y="51"/>
                    <a:pt x="22" y="52"/>
                  </a:cubicBezTo>
                  <a:cubicBezTo>
                    <a:pt x="21" y="53"/>
                    <a:pt x="18" y="53"/>
                    <a:pt x="17" y="52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9"/>
                    <a:pt x="0" y="28"/>
                    <a:pt x="0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5"/>
                    <a:pt x="0" y="25"/>
                    <a:pt x="0" y="25"/>
                  </a:cubicBezTo>
                  <a:lnTo>
                    <a:pt x="17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18" name="Rectangle 28">
              <a:extLst>
                <a:ext uri="{FF2B5EF4-FFF2-40B4-BE49-F238E27FC236}">
                  <a16:creationId xmlns:a16="http://schemas.microsoft.com/office/drawing/2014/main" id="{22E083DE-2A52-48CC-ABB9-350B51443C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29696" y="3848100"/>
              <a:ext cx="411163" cy="336550"/>
            </a:xfrm>
            <a:prstGeom prst="rect">
              <a:avLst/>
            </a:prstGeom>
            <a:solidFill>
              <a:srgbClr val="FFFFCC"/>
            </a:solidFill>
            <a:ln>
              <a:noFill/>
            </a:ln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19" name="Rectangle 29">
              <a:extLst>
                <a:ext uri="{FF2B5EF4-FFF2-40B4-BE49-F238E27FC236}">
                  <a16:creationId xmlns:a16="http://schemas.microsoft.com/office/drawing/2014/main" id="{C1F5857D-9B5C-4C64-A8B4-9C1C436E9A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74258" y="3848100"/>
              <a:ext cx="898525" cy="33655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20" name="Rectangle 31">
              <a:extLst>
                <a:ext uri="{FF2B5EF4-FFF2-40B4-BE49-F238E27FC236}">
                  <a16:creationId xmlns:a16="http://schemas.microsoft.com/office/drawing/2014/main" id="{5F96B8A2-FDD7-4C76-A1DC-621BBB003B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29696" y="4217988"/>
              <a:ext cx="881063" cy="26987"/>
            </a:xfrm>
            <a:prstGeom prst="rect">
              <a:avLst/>
            </a:pr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21" name="Rectangle 32">
              <a:extLst>
                <a:ext uri="{FF2B5EF4-FFF2-40B4-BE49-F238E27FC236}">
                  <a16:creationId xmlns:a16="http://schemas.microsoft.com/office/drawing/2014/main" id="{96BA7BD2-ABC8-4D53-BBC8-8DFABF00E1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29696" y="4267200"/>
              <a:ext cx="881063" cy="28575"/>
            </a:xfrm>
            <a:prstGeom prst="rect">
              <a:avLst/>
            </a:pr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22" name="Rectangle 33">
              <a:extLst>
                <a:ext uri="{FF2B5EF4-FFF2-40B4-BE49-F238E27FC236}">
                  <a16:creationId xmlns:a16="http://schemas.microsoft.com/office/drawing/2014/main" id="{7D5514D5-24B7-4C12-B3A8-458F8BB63C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29696" y="4316413"/>
              <a:ext cx="881063" cy="26987"/>
            </a:xfrm>
            <a:prstGeom prst="rect">
              <a:avLst/>
            </a:pr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23" name="Rectangle 34">
              <a:extLst>
                <a:ext uri="{FF2B5EF4-FFF2-40B4-BE49-F238E27FC236}">
                  <a16:creationId xmlns:a16="http://schemas.microsoft.com/office/drawing/2014/main" id="{05843030-348E-4D7E-AB84-FA1BCB1276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29696" y="4367213"/>
              <a:ext cx="881063" cy="26987"/>
            </a:xfrm>
            <a:prstGeom prst="rect">
              <a:avLst/>
            </a:pr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24" name="Rectangle 35">
              <a:extLst>
                <a:ext uri="{FF2B5EF4-FFF2-40B4-BE49-F238E27FC236}">
                  <a16:creationId xmlns:a16="http://schemas.microsoft.com/office/drawing/2014/main" id="{8EB48B25-C972-4992-B0FF-FBB52D3BBA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29696" y="4414838"/>
              <a:ext cx="881063" cy="26987"/>
            </a:xfrm>
            <a:prstGeom prst="rect">
              <a:avLst/>
            </a:pr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25" name="Rectangle 36">
              <a:extLst>
                <a:ext uri="{FF2B5EF4-FFF2-40B4-BE49-F238E27FC236}">
                  <a16:creationId xmlns:a16="http://schemas.microsoft.com/office/drawing/2014/main" id="{97B32DFD-DAB3-4752-AF47-DFFD7A40B3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29696" y="4465638"/>
              <a:ext cx="881063" cy="26987"/>
            </a:xfrm>
            <a:prstGeom prst="rect">
              <a:avLst/>
            </a:pr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26" name="Rectangle 37">
              <a:extLst>
                <a:ext uri="{FF2B5EF4-FFF2-40B4-BE49-F238E27FC236}">
                  <a16:creationId xmlns:a16="http://schemas.microsoft.com/office/drawing/2014/main" id="{B45E471D-7AEF-4B08-8191-BCE24E103E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29696" y="4513263"/>
              <a:ext cx="881063" cy="28575"/>
            </a:xfrm>
            <a:prstGeom prst="rect">
              <a:avLst/>
            </a:pr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27" name="Rectangle 38">
              <a:extLst>
                <a:ext uri="{FF2B5EF4-FFF2-40B4-BE49-F238E27FC236}">
                  <a16:creationId xmlns:a16="http://schemas.microsoft.com/office/drawing/2014/main" id="{1392A943-49F2-4FFA-9E85-34642BFADA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78958" y="3860800"/>
              <a:ext cx="431800" cy="26987"/>
            </a:xfrm>
            <a:prstGeom prst="rect">
              <a:avLst/>
            </a:pr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28" name="Rectangle 39">
              <a:extLst>
                <a:ext uri="{FF2B5EF4-FFF2-40B4-BE49-F238E27FC236}">
                  <a16:creationId xmlns:a16="http://schemas.microsoft.com/office/drawing/2014/main" id="{F84F9ADA-0346-4488-8825-48102030E1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78958" y="3910013"/>
              <a:ext cx="431800" cy="26987"/>
            </a:xfrm>
            <a:prstGeom prst="rect">
              <a:avLst/>
            </a:pr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29" name="Rectangle 40">
              <a:extLst>
                <a:ext uri="{FF2B5EF4-FFF2-40B4-BE49-F238E27FC236}">
                  <a16:creationId xmlns:a16="http://schemas.microsoft.com/office/drawing/2014/main" id="{5B23812A-57A6-46B4-BF38-78238C2DE7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78958" y="3959225"/>
              <a:ext cx="431800" cy="26987"/>
            </a:xfrm>
            <a:prstGeom prst="rect">
              <a:avLst/>
            </a:pr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30" name="Rectangle 41">
              <a:extLst>
                <a:ext uri="{FF2B5EF4-FFF2-40B4-BE49-F238E27FC236}">
                  <a16:creationId xmlns:a16="http://schemas.microsoft.com/office/drawing/2014/main" id="{C9B33DC1-3991-4D11-B967-4119060DA6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78958" y="4008438"/>
              <a:ext cx="431800" cy="26987"/>
            </a:xfrm>
            <a:prstGeom prst="rect">
              <a:avLst/>
            </a:pr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31" name="Rectangle 42">
              <a:extLst>
                <a:ext uri="{FF2B5EF4-FFF2-40B4-BE49-F238E27FC236}">
                  <a16:creationId xmlns:a16="http://schemas.microsoft.com/office/drawing/2014/main" id="{B8296DE3-E222-4296-9ACE-151172F934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78958" y="4057650"/>
              <a:ext cx="431800" cy="28575"/>
            </a:xfrm>
            <a:prstGeom prst="rect">
              <a:avLst/>
            </a:pr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32" name="Rectangle 43">
              <a:extLst>
                <a:ext uri="{FF2B5EF4-FFF2-40B4-BE49-F238E27FC236}">
                  <a16:creationId xmlns:a16="http://schemas.microsoft.com/office/drawing/2014/main" id="{F0C1CAFE-9FC0-414F-8057-238B66DEE5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78958" y="4106863"/>
              <a:ext cx="431800" cy="26987"/>
            </a:xfrm>
            <a:prstGeom prst="rect">
              <a:avLst/>
            </a:pr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33" name="Rectangle 44">
              <a:extLst>
                <a:ext uri="{FF2B5EF4-FFF2-40B4-BE49-F238E27FC236}">
                  <a16:creationId xmlns:a16="http://schemas.microsoft.com/office/drawing/2014/main" id="{29787BC1-2342-4F74-8DE9-9E1E57C201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78958" y="4157663"/>
              <a:ext cx="431800" cy="26987"/>
            </a:xfrm>
            <a:prstGeom prst="rect">
              <a:avLst/>
            </a:pr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34" name="Rectangle 45">
              <a:extLst>
                <a:ext uri="{FF2B5EF4-FFF2-40B4-BE49-F238E27FC236}">
                  <a16:creationId xmlns:a16="http://schemas.microsoft.com/office/drawing/2014/main" id="{61573FDB-5B97-4378-A8BD-F4821BBA09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74258" y="4216400"/>
              <a:ext cx="433388" cy="338137"/>
            </a:xfrm>
            <a:prstGeom prst="rect">
              <a:avLst/>
            </a:prstGeom>
            <a:solidFill>
              <a:srgbClr val="F49880"/>
            </a:solidFill>
            <a:ln>
              <a:noFill/>
            </a:ln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35" name="Rectangle 46">
              <a:extLst>
                <a:ext uri="{FF2B5EF4-FFF2-40B4-BE49-F238E27FC236}">
                  <a16:creationId xmlns:a16="http://schemas.microsoft.com/office/drawing/2014/main" id="{A2894AF3-3DF7-4C35-8D3E-D353EB52A0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36221" y="4216400"/>
              <a:ext cx="436563" cy="338137"/>
            </a:xfrm>
            <a:prstGeom prst="rect">
              <a:avLst/>
            </a:prstGeom>
            <a:solidFill>
              <a:srgbClr val="9DC3E6"/>
            </a:solidFill>
            <a:ln>
              <a:noFill/>
            </a:ln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36" name="Rectangle 25">
              <a:extLst>
                <a:ext uri="{FF2B5EF4-FFF2-40B4-BE49-F238E27FC236}">
                  <a16:creationId xmlns:a16="http://schemas.microsoft.com/office/drawing/2014/main" id="{986D4956-2503-4F02-8077-83D98FAF2A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3283" y="3289300"/>
              <a:ext cx="2349501" cy="501651"/>
            </a:xfrm>
            <a:prstGeom prst="rect">
              <a:avLst/>
            </a:prstGeom>
            <a:solidFill>
              <a:srgbClr val="006699"/>
            </a:solidFill>
            <a:ln>
              <a:noFill/>
            </a:ln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 dirty="0"/>
            </a:p>
          </p:txBody>
        </p:sp>
      </p:grpSp>
      <p:sp>
        <p:nvSpPr>
          <p:cNvPr id="47" name="Freeform 80">
            <a:extLst>
              <a:ext uri="{FF2B5EF4-FFF2-40B4-BE49-F238E27FC236}">
                <a16:creationId xmlns:a16="http://schemas.microsoft.com/office/drawing/2014/main" id="{1E5C3865-7253-400D-8151-D4DAB460A028}"/>
              </a:ext>
            </a:extLst>
          </p:cNvPr>
          <p:cNvSpPr>
            <a:spLocks noEditPoints="1"/>
          </p:cNvSpPr>
          <p:nvPr/>
        </p:nvSpPr>
        <p:spPr bwMode="auto">
          <a:xfrm flipH="1">
            <a:off x="4608655" y="3362987"/>
            <a:ext cx="458986" cy="59194"/>
          </a:xfrm>
          <a:custGeom>
            <a:avLst/>
            <a:gdLst>
              <a:gd name="T0" fmla="*/ 471 w 514"/>
              <a:gd name="T1" fmla="*/ 9 h 76"/>
              <a:gd name="T2" fmla="*/ 465 w 514"/>
              <a:gd name="T3" fmla="*/ 10 h 76"/>
              <a:gd name="T4" fmla="*/ 461 w 514"/>
              <a:gd name="T5" fmla="*/ 12 h 76"/>
              <a:gd name="T6" fmla="*/ 456 w 514"/>
              <a:gd name="T7" fmla="*/ 17 h 76"/>
              <a:gd name="T8" fmla="*/ 452 w 514"/>
              <a:gd name="T9" fmla="*/ 21 h 76"/>
              <a:gd name="T10" fmla="*/ 449 w 514"/>
              <a:gd name="T11" fmla="*/ 26 h 76"/>
              <a:gd name="T12" fmla="*/ 447 w 514"/>
              <a:gd name="T13" fmla="*/ 32 h 76"/>
              <a:gd name="T14" fmla="*/ 446 w 514"/>
              <a:gd name="T15" fmla="*/ 38 h 76"/>
              <a:gd name="T16" fmla="*/ 447 w 514"/>
              <a:gd name="T17" fmla="*/ 44 h 76"/>
              <a:gd name="T18" fmla="*/ 449 w 514"/>
              <a:gd name="T19" fmla="*/ 50 h 76"/>
              <a:gd name="T20" fmla="*/ 452 w 514"/>
              <a:gd name="T21" fmla="*/ 55 h 76"/>
              <a:gd name="T22" fmla="*/ 456 w 514"/>
              <a:gd name="T23" fmla="*/ 60 h 76"/>
              <a:gd name="T24" fmla="*/ 461 w 514"/>
              <a:gd name="T25" fmla="*/ 63 h 76"/>
              <a:gd name="T26" fmla="*/ 466 w 514"/>
              <a:gd name="T27" fmla="*/ 65 h 76"/>
              <a:gd name="T28" fmla="*/ 472 w 514"/>
              <a:gd name="T29" fmla="*/ 68 h 76"/>
              <a:gd name="T30" fmla="*/ 478 w 514"/>
              <a:gd name="T31" fmla="*/ 68 h 76"/>
              <a:gd name="T32" fmla="*/ 484 w 514"/>
              <a:gd name="T33" fmla="*/ 66 h 76"/>
              <a:gd name="T34" fmla="*/ 490 w 514"/>
              <a:gd name="T35" fmla="*/ 64 h 76"/>
              <a:gd name="T36" fmla="*/ 494 w 514"/>
              <a:gd name="T37" fmla="*/ 61 h 76"/>
              <a:gd name="T38" fmla="*/ 499 w 514"/>
              <a:gd name="T39" fmla="*/ 57 h 76"/>
              <a:gd name="T40" fmla="*/ 502 w 514"/>
              <a:gd name="T41" fmla="*/ 52 h 76"/>
              <a:gd name="T42" fmla="*/ 505 w 514"/>
              <a:gd name="T43" fmla="*/ 47 h 76"/>
              <a:gd name="T44" fmla="*/ 506 w 514"/>
              <a:gd name="T45" fmla="*/ 41 h 76"/>
              <a:gd name="T46" fmla="*/ 506 w 514"/>
              <a:gd name="T47" fmla="*/ 35 h 76"/>
              <a:gd name="T48" fmla="*/ 505 w 514"/>
              <a:gd name="T49" fmla="*/ 28 h 76"/>
              <a:gd name="T50" fmla="*/ 502 w 514"/>
              <a:gd name="T51" fmla="*/ 24 h 76"/>
              <a:gd name="T52" fmla="*/ 499 w 514"/>
              <a:gd name="T53" fmla="*/ 18 h 76"/>
              <a:gd name="T54" fmla="*/ 494 w 514"/>
              <a:gd name="T55" fmla="*/ 15 h 76"/>
              <a:gd name="T56" fmla="*/ 489 w 514"/>
              <a:gd name="T57" fmla="*/ 11 h 76"/>
              <a:gd name="T58" fmla="*/ 484 w 514"/>
              <a:gd name="T59" fmla="*/ 9 h 76"/>
              <a:gd name="T60" fmla="*/ 478 w 514"/>
              <a:gd name="T61" fmla="*/ 8 h 76"/>
              <a:gd name="T62" fmla="*/ 439 w 514"/>
              <a:gd name="T63" fmla="*/ 28 h 76"/>
              <a:gd name="T64" fmla="*/ 443 w 514"/>
              <a:gd name="T65" fmla="*/ 21 h 76"/>
              <a:gd name="T66" fmla="*/ 446 w 514"/>
              <a:gd name="T67" fmla="*/ 15 h 76"/>
              <a:gd name="T68" fmla="*/ 452 w 514"/>
              <a:gd name="T69" fmla="*/ 10 h 76"/>
              <a:gd name="T70" fmla="*/ 457 w 514"/>
              <a:gd name="T71" fmla="*/ 6 h 76"/>
              <a:gd name="T72" fmla="*/ 464 w 514"/>
              <a:gd name="T73" fmla="*/ 2 h 76"/>
              <a:gd name="T74" fmla="*/ 472 w 514"/>
              <a:gd name="T75" fmla="*/ 0 h 76"/>
              <a:gd name="T76" fmla="*/ 480 w 514"/>
              <a:gd name="T77" fmla="*/ 0 h 76"/>
              <a:gd name="T78" fmla="*/ 488 w 514"/>
              <a:gd name="T79" fmla="*/ 2 h 76"/>
              <a:gd name="T80" fmla="*/ 494 w 514"/>
              <a:gd name="T81" fmla="*/ 5 h 76"/>
              <a:gd name="T82" fmla="*/ 500 w 514"/>
              <a:gd name="T83" fmla="*/ 9 h 76"/>
              <a:gd name="T84" fmla="*/ 506 w 514"/>
              <a:gd name="T85" fmla="*/ 15 h 76"/>
              <a:gd name="T86" fmla="*/ 509 w 514"/>
              <a:gd name="T87" fmla="*/ 20 h 76"/>
              <a:gd name="T88" fmla="*/ 512 w 514"/>
              <a:gd name="T89" fmla="*/ 27 h 76"/>
              <a:gd name="T90" fmla="*/ 514 w 514"/>
              <a:gd name="T91" fmla="*/ 35 h 76"/>
              <a:gd name="T92" fmla="*/ 514 w 514"/>
              <a:gd name="T93" fmla="*/ 43 h 76"/>
              <a:gd name="T94" fmla="*/ 511 w 514"/>
              <a:gd name="T95" fmla="*/ 51 h 76"/>
              <a:gd name="T96" fmla="*/ 508 w 514"/>
              <a:gd name="T97" fmla="*/ 57 h 76"/>
              <a:gd name="T98" fmla="*/ 503 w 514"/>
              <a:gd name="T99" fmla="*/ 63 h 76"/>
              <a:gd name="T100" fmla="*/ 498 w 514"/>
              <a:gd name="T101" fmla="*/ 69 h 76"/>
              <a:gd name="T102" fmla="*/ 492 w 514"/>
              <a:gd name="T103" fmla="*/ 72 h 76"/>
              <a:gd name="T104" fmla="*/ 484 w 514"/>
              <a:gd name="T105" fmla="*/ 74 h 76"/>
              <a:gd name="T106" fmla="*/ 476 w 514"/>
              <a:gd name="T107" fmla="*/ 76 h 76"/>
              <a:gd name="T108" fmla="*/ 469 w 514"/>
              <a:gd name="T109" fmla="*/ 74 h 76"/>
              <a:gd name="T110" fmla="*/ 462 w 514"/>
              <a:gd name="T111" fmla="*/ 72 h 76"/>
              <a:gd name="T112" fmla="*/ 455 w 514"/>
              <a:gd name="T113" fmla="*/ 69 h 76"/>
              <a:gd name="T114" fmla="*/ 449 w 514"/>
              <a:gd name="T115" fmla="*/ 64 h 76"/>
              <a:gd name="T116" fmla="*/ 445 w 514"/>
              <a:gd name="T117" fmla="*/ 59 h 76"/>
              <a:gd name="T118" fmla="*/ 441 w 514"/>
              <a:gd name="T119" fmla="*/ 52 h 76"/>
              <a:gd name="T120" fmla="*/ 439 w 514"/>
              <a:gd name="T121" fmla="*/ 44 h 76"/>
              <a:gd name="T122" fmla="*/ 299 w 514"/>
              <a:gd name="T123" fmla="*/ 34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14" h="76">
                <a:moveTo>
                  <a:pt x="16" y="34"/>
                </a:moveTo>
                <a:lnTo>
                  <a:pt x="16" y="42"/>
                </a:lnTo>
                <a:lnTo>
                  <a:pt x="0" y="42"/>
                </a:lnTo>
                <a:lnTo>
                  <a:pt x="0" y="34"/>
                </a:lnTo>
                <a:lnTo>
                  <a:pt x="16" y="34"/>
                </a:lnTo>
                <a:lnTo>
                  <a:pt x="16" y="34"/>
                </a:lnTo>
                <a:close/>
                <a:moveTo>
                  <a:pt x="476" y="8"/>
                </a:moveTo>
                <a:lnTo>
                  <a:pt x="476" y="8"/>
                </a:lnTo>
                <a:lnTo>
                  <a:pt x="475" y="8"/>
                </a:lnTo>
                <a:lnTo>
                  <a:pt x="475" y="8"/>
                </a:lnTo>
                <a:lnTo>
                  <a:pt x="475" y="8"/>
                </a:lnTo>
                <a:lnTo>
                  <a:pt x="475" y="8"/>
                </a:lnTo>
                <a:lnTo>
                  <a:pt x="475" y="8"/>
                </a:lnTo>
                <a:lnTo>
                  <a:pt x="475" y="8"/>
                </a:lnTo>
                <a:lnTo>
                  <a:pt x="474" y="8"/>
                </a:lnTo>
                <a:lnTo>
                  <a:pt x="474" y="8"/>
                </a:lnTo>
                <a:lnTo>
                  <a:pt x="474" y="8"/>
                </a:lnTo>
                <a:lnTo>
                  <a:pt x="474" y="8"/>
                </a:lnTo>
                <a:lnTo>
                  <a:pt x="474" y="8"/>
                </a:lnTo>
                <a:lnTo>
                  <a:pt x="474" y="8"/>
                </a:lnTo>
                <a:lnTo>
                  <a:pt x="473" y="8"/>
                </a:lnTo>
                <a:lnTo>
                  <a:pt x="473" y="8"/>
                </a:lnTo>
                <a:lnTo>
                  <a:pt x="473" y="8"/>
                </a:lnTo>
                <a:lnTo>
                  <a:pt x="473" y="8"/>
                </a:lnTo>
                <a:lnTo>
                  <a:pt x="473" y="8"/>
                </a:lnTo>
                <a:lnTo>
                  <a:pt x="473" y="8"/>
                </a:lnTo>
                <a:lnTo>
                  <a:pt x="472" y="8"/>
                </a:lnTo>
                <a:lnTo>
                  <a:pt x="472" y="8"/>
                </a:lnTo>
                <a:lnTo>
                  <a:pt x="472" y="8"/>
                </a:lnTo>
                <a:lnTo>
                  <a:pt x="472" y="8"/>
                </a:lnTo>
                <a:lnTo>
                  <a:pt x="472" y="8"/>
                </a:lnTo>
                <a:lnTo>
                  <a:pt x="472" y="9"/>
                </a:lnTo>
                <a:lnTo>
                  <a:pt x="471" y="9"/>
                </a:lnTo>
                <a:lnTo>
                  <a:pt x="471" y="9"/>
                </a:lnTo>
                <a:lnTo>
                  <a:pt x="471" y="9"/>
                </a:lnTo>
                <a:lnTo>
                  <a:pt x="471" y="9"/>
                </a:lnTo>
                <a:lnTo>
                  <a:pt x="471" y="9"/>
                </a:lnTo>
                <a:lnTo>
                  <a:pt x="471" y="9"/>
                </a:lnTo>
                <a:lnTo>
                  <a:pt x="470" y="9"/>
                </a:lnTo>
                <a:lnTo>
                  <a:pt x="470" y="9"/>
                </a:lnTo>
                <a:lnTo>
                  <a:pt x="470" y="9"/>
                </a:lnTo>
                <a:lnTo>
                  <a:pt x="470" y="9"/>
                </a:lnTo>
                <a:lnTo>
                  <a:pt x="470" y="9"/>
                </a:lnTo>
                <a:lnTo>
                  <a:pt x="470" y="9"/>
                </a:lnTo>
                <a:lnTo>
                  <a:pt x="470" y="9"/>
                </a:lnTo>
                <a:lnTo>
                  <a:pt x="469" y="9"/>
                </a:lnTo>
                <a:lnTo>
                  <a:pt x="469" y="9"/>
                </a:lnTo>
                <a:lnTo>
                  <a:pt x="469" y="9"/>
                </a:lnTo>
                <a:lnTo>
                  <a:pt x="469" y="9"/>
                </a:lnTo>
                <a:lnTo>
                  <a:pt x="469" y="9"/>
                </a:lnTo>
                <a:lnTo>
                  <a:pt x="469" y="9"/>
                </a:lnTo>
                <a:lnTo>
                  <a:pt x="467" y="9"/>
                </a:lnTo>
                <a:lnTo>
                  <a:pt x="467" y="9"/>
                </a:lnTo>
                <a:lnTo>
                  <a:pt x="467" y="9"/>
                </a:lnTo>
                <a:lnTo>
                  <a:pt x="467" y="9"/>
                </a:lnTo>
                <a:lnTo>
                  <a:pt x="467" y="9"/>
                </a:lnTo>
                <a:lnTo>
                  <a:pt x="467" y="9"/>
                </a:lnTo>
                <a:lnTo>
                  <a:pt x="467" y="10"/>
                </a:lnTo>
                <a:lnTo>
                  <a:pt x="466" y="10"/>
                </a:lnTo>
                <a:lnTo>
                  <a:pt x="466" y="10"/>
                </a:lnTo>
                <a:lnTo>
                  <a:pt x="466" y="10"/>
                </a:lnTo>
                <a:lnTo>
                  <a:pt x="466" y="10"/>
                </a:lnTo>
                <a:lnTo>
                  <a:pt x="466" y="10"/>
                </a:lnTo>
                <a:lnTo>
                  <a:pt x="466" y="10"/>
                </a:lnTo>
                <a:lnTo>
                  <a:pt x="465" y="10"/>
                </a:lnTo>
                <a:lnTo>
                  <a:pt x="465" y="10"/>
                </a:lnTo>
                <a:lnTo>
                  <a:pt x="465" y="10"/>
                </a:lnTo>
                <a:lnTo>
                  <a:pt x="465" y="10"/>
                </a:lnTo>
                <a:lnTo>
                  <a:pt x="465" y="10"/>
                </a:lnTo>
                <a:lnTo>
                  <a:pt x="465" y="10"/>
                </a:lnTo>
                <a:lnTo>
                  <a:pt x="465" y="10"/>
                </a:lnTo>
                <a:lnTo>
                  <a:pt x="464" y="10"/>
                </a:lnTo>
                <a:lnTo>
                  <a:pt x="464" y="10"/>
                </a:lnTo>
                <a:lnTo>
                  <a:pt x="464" y="10"/>
                </a:lnTo>
                <a:lnTo>
                  <a:pt x="464" y="11"/>
                </a:lnTo>
                <a:lnTo>
                  <a:pt x="464" y="11"/>
                </a:lnTo>
                <a:lnTo>
                  <a:pt x="464" y="11"/>
                </a:lnTo>
                <a:lnTo>
                  <a:pt x="464" y="11"/>
                </a:lnTo>
                <a:lnTo>
                  <a:pt x="463" y="11"/>
                </a:lnTo>
                <a:lnTo>
                  <a:pt x="463" y="11"/>
                </a:lnTo>
                <a:lnTo>
                  <a:pt x="463" y="11"/>
                </a:lnTo>
                <a:lnTo>
                  <a:pt x="463" y="11"/>
                </a:lnTo>
                <a:lnTo>
                  <a:pt x="463" y="11"/>
                </a:lnTo>
                <a:lnTo>
                  <a:pt x="463" y="11"/>
                </a:lnTo>
                <a:lnTo>
                  <a:pt x="463" y="11"/>
                </a:lnTo>
                <a:lnTo>
                  <a:pt x="462" y="11"/>
                </a:lnTo>
                <a:lnTo>
                  <a:pt x="462" y="11"/>
                </a:lnTo>
                <a:lnTo>
                  <a:pt x="462" y="11"/>
                </a:lnTo>
                <a:lnTo>
                  <a:pt x="462" y="12"/>
                </a:lnTo>
                <a:lnTo>
                  <a:pt x="462" y="12"/>
                </a:lnTo>
                <a:lnTo>
                  <a:pt x="462" y="12"/>
                </a:lnTo>
                <a:lnTo>
                  <a:pt x="462" y="12"/>
                </a:lnTo>
                <a:lnTo>
                  <a:pt x="461" y="12"/>
                </a:lnTo>
                <a:lnTo>
                  <a:pt x="461" y="12"/>
                </a:lnTo>
                <a:lnTo>
                  <a:pt x="461" y="12"/>
                </a:lnTo>
                <a:lnTo>
                  <a:pt x="461" y="12"/>
                </a:lnTo>
                <a:lnTo>
                  <a:pt x="461" y="12"/>
                </a:lnTo>
                <a:lnTo>
                  <a:pt x="461" y="12"/>
                </a:lnTo>
                <a:lnTo>
                  <a:pt x="461" y="12"/>
                </a:lnTo>
                <a:lnTo>
                  <a:pt x="459" y="12"/>
                </a:lnTo>
                <a:lnTo>
                  <a:pt x="459" y="14"/>
                </a:lnTo>
                <a:lnTo>
                  <a:pt x="459" y="14"/>
                </a:lnTo>
                <a:lnTo>
                  <a:pt x="459" y="14"/>
                </a:lnTo>
                <a:lnTo>
                  <a:pt x="459" y="14"/>
                </a:lnTo>
                <a:lnTo>
                  <a:pt x="459" y="14"/>
                </a:lnTo>
                <a:lnTo>
                  <a:pt x="459" y="14"/>
                </a:lnTo>
                <a:lnTo>
                  <a:pt x="459" y="14"/>
                </a:lnTo>
                <a:lnTo>
                  <a:pt x="458" y="14"/>
                </a:lnTo>
                <a:lnTo>
                  <a:pt x="458" y="14"/>
                </a:lnTo>
                <a:lnTo>
                  <a:pt x="458" y="14"/>
                </a:lnTo>
                <a:lnTo>
                  <a:pt x="458" y="14"/>
                </a:lnTo>
                <a:lnTo>
                  <a:pt x="458" y="15"/>
                </a:lnTo>
                <a:lnTo>
                  <a:pt x="458" y="15"/>
                </a:lnTo>
                <a:lnTo>
                  <a:pt x="458" y="15"/>
                </a:lnTo>
                <a:lnTo>
                  <a:pt x="458" y="15"/>
                </a:lnTo>
                <a:lnTo>
                  <a:pt x="457" y="15"/>
                </a:lnTo>
                <a:lnTo>
                  <a:pt x="457" y="15"/>
                </a:lnTo>
                <a:lnTo>
                  <a:pt x="457" y="15"/>
                </a:lnTo>
                <a:lnTo>
                  <a:pt x="457" y="15"/>
                </a:lnTo>
                <a:lnTo>
                  <a:pt x="457" y="15"/>
                </a:lnTo>
                <a:lnTo>
                  <a:pt x="457" y="15"/>
                </a:lnTo>
                <a:lnTo>
                  <a:pt x="457" y="16"/>
                </a:lnTo>
                <a:lnTo>
                  <a:pt x="457" y="16"/>
                </a:lnTo>
                <a:lnTo>
                  <a:pt x="456" y="16"/>
                </a:lnTo>
                <a:lnTo>
                  <a:pt x="456" y="16"/>
                </a:lnTo>
                <a:lnTo>
                  <a:pt x="456" y="16"/>
                </a:lnTo>
                <a:lnTo>
                  <a:pt x="456" y="16"/>
                </a:lnTo>
                <a:lnTo>
                  <a:pt x="456" y="16"/>
                </a:lnTo>
                <a:lnTo>
                  <a:pt x="456" y="16"/>
                </a:lnTo>
                <a:lnTo>
                  <a:pt x="456" y="16"/>
                </a:lnTo>
                <a:lnTo>
                  <a:pt x="456" y="16"/>
                </a:lnTo>
                <a:lnTo>
                  <a:pt x="456" y="17"/>
                </a:lnTo>
                <a:lnTo>
                  <a:pt x="455" y="17"/>
                </a:lnTo>
                <a:lnTo>
                  <a:pt x="455" y="17"/>
                </a:lnTo>
                <a:lnTo>
                  <a:pt x="455" y="17"/>
                </a:lnTo>
                <a:lnTo>
                  <a:pt x="455" y="17"/>
                </a:lnTo>
                <a:lnTo>
                  <a:pt x="455" y="17"/>
                </a:lnTo>
                <a:lnTo>
                  <a:pt x="455" y="17"/>
                </a:lnTo>
                <a:lnTo>
                  <a:pt x="455" y="17"/>
                </a:lnTo>
                <a:lnTo>
                  <a:pt x="455" y="17"/>
                </a:lnTo>
                <a:lnTo>
                  <a:pt x="455" y="18"/>
                </a:lnTo>
                <a:lnTo>
                  <a:pt x="454" y="18"/>
                </a:lnTo>
                <a:lnTo>
                  <a:pt x="454" y="18"/>
                </a:lnTo>
                <a:lnTo>
                  <a:pt x="454" y="18"/>
                </a:lnTo>
                <a:lnTo>
                  <a:pt x="454" y="18"/>
                </a:lnTo>
                <a:lnTo>
                  <a:pt x="454" y="18"/>
                </a:lnTo>
                <a:lnTo>
                  <a:pt x="454" y="18"/>
                </a:lnTo>
                <a:lnTo>
                  <a:pt x="454" y="18"/>
                </a:lnTo>
                <a:lnTo>
                  <a:pt x="454" y="19"/>
                </a:lnTo>
                <a:lnTo>
                  <a:pt x="454" y="19"/>
                </a:lnTo>
                <a:lnTo>
                  <a:pt x="453" y="19"/>
                </a:lnTo>
                <a:lnTo>
                  <a:pt x="453" y="19"/>
                </a:lnTo>
                <a:lnTo>
                  <a:pt x="453" y="19"/>
                </a:lnTo>
                <a:lnTo>
                  <a:pt x="453" y="19"/>
                </a:lnTo>
                <a:lnTo>
                  <a:pt x="453" y="19"/>
                </a:lnTo>
                <a:lnTo>
                  <a:pt x="453" y="19"/>
                </a:lnTo>
                <a:lnTo>
                  <a:pt x="453" y="20"/>
                </a:lnTo>
                <a:lnTo>
                  <a:pt x="453" y="20"/>
                </a:lnTo>
                <a:lnTo>
                  <a:pt x="453" y="20"/>
                </a:lnTo>
                <a:lnTo>
                  <a:pt x="453" y="20"/>
                </a:lnTo>
                <a:lnTo>
                  <a:pt x="452" y="20"/>
                </a:lnTo>
                <a:lnTo>
                  <a:pt x="452" y="20"/>
                </a:lnTo>
                <a:lnTo>
                  <a:pt x="452" y="20"/>
                </a:lnTo>
                <a:lnTo>
                  <a:pt x="452" y="20"/>
                </a:lnTo>
                <a:lnTo>
                  <a:pt x="452" y="21"/>
                </a:lnTo>
                <a:lnTo>
                  <a:pt x="452" y="21"/>
                </a:lnTo>
                <a:lnTo>
                  <a:pt x="452" y="21"/>
                </a:lnTo>
                <a:lnTo>
                  <a:pt x="452" y="21"/>
                </a:lnTo>
                <a:lnTo>
                  <a:pt x="452" y="21"/>
                </a:lnTo>
                <a:lnTo>
                  <a:pt x="452" y="21"/>
                </a:lnTo>
                <a:lnTo>
                  <a:pt x="452" y="21"/>
                </a:lnTo>
                <a:lnTo>
                  <a:pt x="452" y="21"/>
                </a:lnTo>
                <a:lnTo>
                  <a:pt x="450" y="23"/>
                </a:lnTo>
                <a:lnTo>
                  <a:pt x="450" y="23"/>
                </a:lnTo>
                <a:lnTo>
                  <a:pt x="450" y="23"/>
                </a:lnTo>
                <a:lnTo>
                  <a:pt x="450" y="23"/>
                </a:lnTo>
                <a:lnTo>
                  <a:pt x="450" y="23"/>
                </a:lnTo>
                <a:lnTo>
                  <a:pt x="450" y="23"/>
                </a:lnTo>
                <a:lnTo>
                  <a:pt x="450" y="23"/>
                </a:lnTo>
                <a:lnTo>
                  <a:pt x="450" y="24"/>
                </a:lnTo>
                <a:lnTo>
                  <a:pt x="450" y="24"/>
                </a:lnTo>
                <a:lnTo>
                  <a:pt x="450" y="24"/>
                </a:lnTo>
                <a:lnTo>
                  <a:pt x="450" y="24"/>
                </a:lnTo>
                <a:lnTo>
                  <a:pt x="450" y="24"/>
                </a:lnTo>
                <a:lnTo>
                  <a:pt x="449" y="24"/>
                </a:lnTo>
                <a:lnTo>
                  <a:pt x="449" y="24"/>
                </a:lnTo>
                <a:lnTo>
                  <a:pt x="449" y="25"/>
                </a:lnTo>
                <a:lnTo>
                  <a:pt x="449" y="25"/>
                </a:lnTo>
                <a:lnTo>
                  <a:pt x="449" y="25"/>
                </a:lnTo>
                <a:lnTo>
                  <a:pt x="449" y="25"/>
                </a:lnTo>
                <a:lnTo>
                  <a:pt x="449" y="25"/>
                </a:lnTo>
                <a:lnTo>
                  <a:pt x="449" y="25"/>
                </a:lnTo>
                <a:lnTo>
                  <a:pt x="449" y="25"/>
                </a:lnTo>
                <a:lnTo>
                  <a:pt x="449" y="26"/>
                </a:lnTo>
                <a:lnTo>
                  <a:pt x="449" y="26"/>
                </a:lnTo>
                <a:lnTo>
                  <a:pt x="449" y="26"/>
                </a:lnTo>
                <a:lnTo>
                  <a:pt x="449" y="26"/>
                </a:lnTo>
                <a:lnTo>
                  <a:pt x="449" y="26"/>
                </a:lnTo>
                <a:lnTo>
                  <a:pt x="449" y="26"/>
                </a:lnTo>
                <a:lnTo>
                  <a:pt x="448" y="26"/>
                </a:lnTo>
                <a:lnTo>
                  <a:pt x="448" y="27"/>
                </a:lnTo>
                <a:lnTo>
                  <a:pt x="448" y="27"/>
                </a:lnTo>
                <a:lnTo>
                  <a:pt x="448" y="27"/>
                </a:lnTo>
                <a:lnTo>
                  <a:pt x="448" y="27"/>
                </a:lnTo>
                <a:lnTo>
                  <a:pt x="448" y="27"/>
                </a:lnTo>
                <a:lnTo>
                  <a:pt x="448" y="27"/>
                </a:lnTo>
                <a:lnTo>
                  <a:pt x="448" y="27"/>
                </a:lnTo>
                <a:lnTo>
                  <a:pt x="448" y="28"/>
                </a:lnTo>
                <a:lnTo>
                  <a:pt x="448" y="28"/>
                </a:lnTo>
                <a:lnTo>
                  <a:pt x="448" y="28"/>
                </a:lnTo>
                <a:lnTo>
                  <a:pt x="448" y="28"/>
                </a:lnTo>
                <a:lnTo>
                  <a:pt x="448" y="28"/>
                </a:lnTo>
                <a:lnTo>
                  <a:pt x="448" y="28"/>
                </a:lnTo>
                <a:lnTo>
                  <a:pt x="448" y="29"/>
                </a:lnTo>
                <a:lnTo>
                  <a:pt x="448" y="29"/>
                </a:lnTo>
                <a:lnTo>
                  <a:pt x="448" y="29"/>
                </a:lnTo>
                <a:lnTo>
                  <a:pt x="448" y="29"/>
                </a:lnTo>
                <a:lnTo>
                  <a:pt x="447" y="29"/>
                </a:lnTo>
                <a:lnTo>
                  <a:pt x="447" y="29"/>
                </a:lnTo>
                <a:lnTo>
                  <a:pt x="447" y="30"/>
                </a:lnTo>
                <a:lnTo>
                  <a:pt x="447" y="30"/>
                </a:lnTo>
                <a:lnTo>
                  <a:pt x="447" y="30"/>
                </a:lnTo>
                <a:lnTo>
                  <a:pt x="447" y="30"/>
                </a:lnTo>
                <a:lnTo>
                  <a:pt x="447" y="30"/>
                </a:lnTo>
                <a:lnTo>
                  <a:pt x="447" y="30"/>
                </a:lnTo>
                <a:lnTo>
                  <a:pt x="447" y="30"/>
                </a:lnTo>
                <a:lnTo>
                  <a:pt x="447" y="32"/>
                </a:lnTo>
                <a:lnTo>
                  <a:pt x="447" y="32"/>
                </a:lnTo>
                <a:lnTo>
                  <a:pt x="447" y="32"/>
                </a:lnTo>
                <a:lnTo>
                  <a:pt x="447" y="32"/>
                </a:lnTo>
                <a:lnTo>
                  <a:pt x="447" y="32"/>
                </a:lnTo>
                <a:lnTo>
                  <a:pt x="447" y="32"/>
                </a:lnTo>
                <a:lnTo>
                  <a:pt x="447" y="33"/>
                </a:lnTo>
                <a:lnTo>
                  <a:pt x="447" y="33"/>
                </a:lnTo>
                <a:lnTo>
                  <a:pt x="447" y="33"/>
                </a:lnTo>
                <a:lnTo>
                  <a:pt x="447" y="33"/>
                </a:lnTo>
                <a:lnTo>
                  <a:pt x="447" y="33"/>
                </a:lnTo>
                <a:lnTo>
                  <a:pt x="447" y="33"/>
                </a:lnTo>
                <a:lnTo>
                  <a:pt x="447" y="34"/>
                </a:lnTo>
                <a:lnTo>
                  <a:pt x="447" y="34"/>
                </a:lnTo>
                <a:lnTo>
                  <a:pt x="447" y="34"/>
                </a:lnTo>
                <a:lnTo>
                  <a:pt x="447" y="34"/>
                </a:lnTo>
                <a:lnTo>
                  <a:pt x="447" y="34"/>
                </a:lnTo>
                <a:lnTo>
                  <a:pt x="447" y="34"/>
                </a:lnTo>
                <a:lnTo>
                  <a:pt x="447" y="35"/>
                </a:lnTo>
                <a:lnTo>
                  <a:pt x="447" y="35"/>
                </a:lnTo>
                <a:lnTo>
                  <a:pt x="447" y="35"/>
                </a:lnTo>
                <a:lnTo>
                  <a:pt x="447" y="35"/>
                </a:lnTo>
                <a:lnTo>
                  <a:pt x="447" y="35"/>
                </a:lnTo>
                <a:lnTo>
                  <a:pt x="447" y="35"/>
                </a:lnTo>
                <a:lnTo>
                  <a:pt x="447" y="36"/>
                </a:lnTo>
                <a:lnTo>
                  <a:pt x="446" y="36"/>
                </a:lnTo>
                <a:lnTo>
                  <a:pt x="446" y="36"/>
                </a:lnTo>
                <a:lnTo>
                  <a:pt x="446" y="36"/>
                </a:lnTo>
                <a:lnTo>
                  <a:pt x="446" y="36"/>
                </a:lnTo>
                <a:lnTo>
                  <a:pt x="446" y="36"/>
                </a:lnTo>
                <a:lnTo>
                  <a:pt x="446" y="37"/>
                </a:lnTo>
                <a:lnTo>
                  <a:pt x="446" y="37"/>
                </a:lnTo>
                <a:lnTo>
                  <a:pt x="446" y="37"/>
                </a:lnTo>
                <a:lnTo>
                  <a:pt x="446" y="37"/>
                </a:lnTo>
                <a:lnTo>
                  <a:pt x="446" y="37"/>
                </a:lnTo>
                <a:lnTo>
                  <a:pt x="446" y="37"/>
                </a:lnTo>
                <a:lnTo>
                  <a:pt x="446" y="38"/>
                </a:lnTo>
                <a:lnTo>
                  <a:pt x="446" y="38"/>
                </a:lnTo>
                <a:lnTo>
                  <a:pt x="446" y="38"/>
                </a:lnTo>
                <a:lnTo>
                  <a:pt x="446" y="38"/>
                </a:lnTo>
                <a:lnTo>
                  <a:pt x="446" y="38"/>
                </a:lnTo>
                <a:lnTo>
                  <a:pt x="446" y="38"/>
                </a:lnTo>
                <a:lnTo>
                  <a:pt x="446" y="39"/>
                </a:lnTo>
                <a:lnTo>
                  <a:pt x="446" y="39"/>
                </a:lnTo>
                <a:lnTo>
                  <a:pt x="446" y="39"/>
                </a:lnTo>
                <a:lnTo>
                  <a:pt x="446" y="39"/>
                </a:lnTo>
                <a:lnTo>
                  <a:pt x="446" y="39"/>
                </a:lnTo>
                <a:lnTo>
                  <a:pt x="446" y="39"/>
                </a:lnTo>
                <a:lnTo>
                  <a:pt x="447" y="41"/>
                </a:lnTo>
                <a:lnTo>
                  <a:pt x="447" y="41"/>
                </a:lnTo>
                <a:lnTo>
                  <a:pt x="447" y="41"/>
                </a:lnTo>
                <a:lnTo>
                  <a:pt x="447" y="41"/>
                </a:lnTo>
                <a:lnTo>
                  <a:pt x="447" y="41"/>
                </a:lnTo>
                <a:lnTo>
                  <a:pt x="447" y="41"/>
                </a:lnTo>
                <a:lnTo>
                  <a:pt x="447" y="42"/>
                </a:lnTo>
                <a:lnTo>
                  <a:pt x="447" y="42"/>
                </a:lnTo>
                <a:lnTo>
                  <a:pt x="447" y="42"/>
                </a:lnTo>
                <a:lnTo>
                  <a:pt x="447" y="42"/>
                </a:lnTo>
                <a:lnTo>
                  <a:pt x="447" y="42"/>
                </a:lnTo>
                <a:lnTo>
                  <a:pt x="447" y="42"/>
                </a:lnTo>
                <a:lnTo>
                  <a:pt x="447" y="43"/>
                </a:lnTo>
                <a:lnTo>
                  <a:pt x="447" y="43"/>
                </a:lnTo>
                <a:lnTo>
                  <a:pt x="447" y="43"/>
                </a:lnTo>
                <a:lnTo>
                  <a:pt x="447" y="43"/>
                </a:lnTo>
                <a:lnTo>
                  <a:pt x="447" y="43"/>
                </a:lnTo>
                <a:lnTo>
                  <a:pt x="447" y="43"/>
                </a:lnTo>
                <a:lnTo>
                  <a:pt x="447" y="44"/>
                </a:lnTo>
                <a:lnTo>
                  <a:pt x="447" y="44"/>
                </a:lnTo>
                <a:lnTo>
                  <a:pt x="447" y="44"/>
                </a:lnTo>
                <a:lnTo>
                  <a:pt x="447" y="44"/>
                </a:lnTo>
                <a:lnTo>
                  <a:pt x="447" y="44"/>
                </a:lnTo>
                <a:lnTo>
                  <a:pt x="447" y="44"/>
                </a:lnTo>
                <a:lnTo>
                  <a:pt x="447" y="44"/>
                </a:lnTo>
                <a:lnTo>
                  <a:pt x="447" y="45"/>
                </a:lnTo>
                <a:lnTo>
                  <a:pt x="447" y="45"/>
                </a:lnTo>
                <a:lnTo>
                  <a:pt x="447" y="45"/>
                </a:lnTo>
                <a:lnTo>
                  <a:pt x="447" y="45"/>
                </a:lnTo>
                <a:lnTo>
                  <a:pt x="447" y="45"/>
                </a:lnTo>
                <a:lnTo>
                  <a:pt x="447" y="45"/>
                </a:lnTo>
                <a:lnTo>
                  <a:pt x="447" y="46"/>
                </a:lnTo>
                <a:lnTo>
                  <a:pt x="447" y="46"/>
                </a:lnTo>
                <a:lnTo>
                  <a:pt x="447" y="46"/>
                </a:lnTo>
                <a:lnTo>
                  <a:pt x="448" y="46"/>
                </a:lnTo>
                <a:lnTo>
                  <a:pt x="448" y="46"/>
                </a:lnTo>
                <a:lnTo>
                  <a:pt x="448" y="46"/>
                </a:lnTo>
                <a:lnTo>
                  <a:pt x="448" y="47"/>
                </a:lnTo>
                <a:lnTo>
                  <a:pt x="448" y="47"/>
                </a:lnTo>
                <a:lnTo>
                  <a:pt x="448" y="47"/>
                </a:lnTo>
                <a:lnTo>
                  <a:pt x="448" y="47"/>
                </a:lnTo>
                <a:lnTo>
                  <a:pt x="448" y="47"/>
                </a:lnTo>
                <a:lnTo>
                  <a:pt x="448" y="47"/>
                </a:lnTo>
                <a:lnTo>
                  <a:pt x="448" y="47"/>
                </a:lnTo>
                <a:lnTo>
                  <a:pt x="448" y="48"/>
                </a:lnTo>
                <a:lnTo>
                  <a:pt x="448" y="48"/>
                </a:lnTo>
                <a:lnTo>
                  <a:pt x="448" y="48"/>
                </a:lnTo>
                <a:lnTo>
                  <a:pt x="448" y="48"/>
                </a:lnTo>
                <a:lnTo>
                  <a:pt x="448" y="48"/>
                </a:lnTo>
                <a:lnTo>
                  <a:pt x="448" y="48"/>
                </a:lnTo>
                <a:lnTo>
                  <a:pt x="448" y="48"/>
                </a:lnTo>
                <a:lnTo>
                  <a:pt x="448" y="50"/>
                </a:lnTo>
                <a:lnTo>
                  <a:pt x="449" y="50"/>
                </a:lnTo>
                <a:lnTo>
                  <a:pt x="449" y="50"/>
                </a:lnTo>
                <a:lnTo>
                  <a:pt x="449" y="50"/>
                </a:lnTo>
                <a:lnTo>
                  <a:pt x="449" y="50"/>
                </a:lnTo>
                <a:lnTo>
                  <a:pt x="449" y="50"/>
                </a:lnTo>
                <a:lnTo>
                  <a:pt x="449" y="51"/>
                </a:lnTo>
                <a:lnTo>
                  <a:pt x="449" y="51"/>
                </a:lnTo>
                <a:lnTo>
                  <a:pt x="449" y="51"/>
                </a:lnTo>
                <a:lnTo>
                  <a:pt x="449" y="51"/>
                </a:lnTo>
                <a:lnTo>
                  <a:pt x="449" y="51"/>
                </a:lnTo>
                <a:lnTo>
                  <a:pt x="449" y="51"/>
                </a:lnTo>
                <a:lnTo>
                  <a:pt x="449" y="51"/>
                </a:lnTo>
                <a:lnTo>
                  <a:pt x="449" y="52"/>
                </a:lnTo>
                <a:lnTo>
                  <a:pt x="449" y="52"/>
                </a:lnTo>
                <a:lnTo>
                  <a:pt x="449" y="52"/>
                </a:lnTo>
                <a:lnTo>
                  <a:pt x="450" y="52"/>
                </a:lnTo>
                <a:lnTo>
                  <a:pt x="450" y="52"/>
                </a:lnTo>
                <a:lnTo>
                  <a:pt x="450" y="52"/>
                </a:lnTo>
                <a:lnTo>
                  <a:pt x="450" y="52"/>
                </a:lnTo>
                <a:lnTo>
                  <a:pt x="450" y="53"/>
                </a:lnTo>
                <a:lnTo>
                  <a:pt x="450" y="53"/>
                </a:lnTo>
                <a:lnTo>
                  <a:pt x="450" y="53"/>
                </a:lnTo>
                <a:lnTo>
                  <a:pt x="450" y="53"/>
                </a:lnTo>
                <a:lnTo>
                  <a:pt x="450" y="53"/>
                </a:lnTo>
                <a:lnTo>
                  <a:pt x="450" y="53"/>
                </a:lnTo>
                <a:lnTo>
                  <a:pt x="450" y="53"/>
                </a:lnTo>
                <a:lnTo>
                  <a:pt x="450" y="53"/>
                </a:lnTo>
                <a:lnTo>
                  <a:pt x="452" y="54"/>
                </a:lnTo>
                <a:lnTo>
                  <a:pt x="452" y="54"/>
                </a:lnTo>
                <a:lnTo>
                  <a:pt x="452" y="54"/>
                </a:lnTo>
                <a:lnTo>
                  <a:pt x="452" y="54"/>
                </a:lnTo>
                <a:lnTo>
                  <a:pt x="452" y="54"/>
                </a:lnTo>
                <a:lnTo>
                  <a:pt x="452" y="54"/>
                </a:lnTo>
                <a:lnTo>
                  <a:pt x="452" y="54"/>
                </a:lnTo>
                <a:lnTo>
                  <a:pt x="452" y="55"/>
                </a:lnTo>
                <a:lnTo>
                  <a:pt x="452" y="55"/>
                </a:lnTo>
                <a:lnTo>
                  <a:pt x="452" y="55"/>
                </a:lnTo>
                <a:lnTo>
                  <a:pt x="452" y="55"/>
                </a:lnTo>
                <a:lnTo>
                  <a:pt x="452" y="55"/>
                </a:lnTo>
                <a:lnTo>
                  <a:pt x="453" y="55"/>
                </a:lnTo>
                <a:lnTo>
                  <a:pt x="453" y="55"/>
                </a:lnTo>
                <a:lnTo>
                  <a:pt x="453" y="55"/>
                </a:lnTo>
                <a:lnTo>
                  <a:pt x="453" y="56"/>
                </a:lnTo>
                <a:lnTo>
                  <a:pt x="453" y="56"/>
                </a:lnTo>
                <a:lnTo>
                  <a:pt x="453" y="56"/>
                </a:lnTo>
                <a:lnTo>
                  <a:pt x="453" y="56"/>
                </a:lnTo>
                <a:lnTo>
                  <a:pt x="453" y="56"/>
                </a:lnTo>
                <a:lnTo>
                  <a:pt x="453" y="56"/>
                </a:lnTo>
                <a:lnTo>
                  <a:pt x="453" y="56"/>
                </a:lnTo>
                <a:lnTo>
                  <a:pt x="454" y="56"/>
                </a:lnTo>
                <a:lnTo>
                  <a:pt x="454" y="57"/>
                </a:lnTo>
                <a:lnTo>
                  <a:pt x="454" y="57"/>
                </a:lnTo>
                <a:lnTo>
                  <a:pt x="454" y="57"/>
                </a:lnTo>
                <a:lnTo>
                  <a:pt x="454" y="57"/>
                </a:lnTo>
                <a:lnTo>
                  <a:pt x="454" y="57"/>
                </a:lnTo>
                <a:lnTo>
                  <a:pt x="454" y="57"/>
                </a:lnTo>
                <a:lnTo>
                  <a:pt x="454" y="57"/>
                </a:lnTo>
                <a:lnTo>
                  <a:pt x="454" y="57"/>
                </a:lnTo>
                <a:lnTo>
                  <a:pt x="455" y="57"/>
                </a:lnTo>
                <a:lnTo>
                  <a:pt x="455" y="59"/>
                </a:lnTo>
                <a:lnTo>
                  <a:pt x="455" y="59"/>
                </a:lnTo>
                <a:lnTo>
                  <a:pt x="455" y="59"/>
                </a:lnTo>
                <a:lnTo>
                  <a:pt x="455" y="59"/>
                </a:lnTo>
                <a:lnTo>
                  <a:pt x="455" y="59"/>
                </a:lnTo>
                <a:lnTo>
                  <a:pt x="455" y="59"/>
                </a:lnTo>
                <a:lnTo>
                  <a:pt x="455" y="59"/>
                </a:lnTo>
                <a:lnTo>
                  <a:pt x="455" y="59"/>
                </a:lnTo>
                <a:lnTo>
                  <a:pt x="456" y="60"/>
                </a:lnTo>
                <a:lnTo>
                  <a:pt x="456" y="60"/>
                </a:lnTo>
                <a:lnTo>
                  <a:pt x="456" y="60"/>
                </a:lnTo>
                <a:lnTo>
                  <a:pt x="456" y="60"/>
                </a:lnTo>
                <a:lnTo>
                  <a:pt x="456" y="60"/>
                </a:lnTo>
                <a:lnTo>
                  <a:pt x="456" y="60"/>
                </a:lnTo>
                <a:lnTo>
                  <a:pt x="456" y="60"/>
                </a:lnTo>
                <a:lnTo>
                  <a:pt x="456" y="60"/>
                </a:lnTo>
                <a:lnTo>
                  <a:pt x="456" y="60"/>
                </a:lnTo>
                <a:lnTo>
                  <a:pt x="457" y="60"/>
                </a:lnTo>
                <a:lnTo>
                  <a:pt x="457" y="61"/>
                </a:lnTo>
                <a:lnTo>
                  <a:pt x="457" y="61"/>
                </a:lnTo>
                <a:lnTo>
                  <a:pt x="457" y="61"/>
                </a:lnTo>
                <a:lnTo>
                  <a:pt x="457" y="61"/>
                </a:lnTo>
                <a:lnTo>
                  <a:pt x="457" y="61"/>
                </a:lnTo>
                <a:lnTo>
                  <a:pt x="457" y="61"/>
                </a:lnTo>
                <a:lnTo>
                  <a:pt x="457" y="61"/>
                </a:lnTo>
                <a:lnTo>
                  <a:pt x="458" y="61"/>
                </a:lnTo>
                <a:lnTo>
                  <a:pt x="458" y="61"/>
                </a:lnTo>
                <a:lnTo>
                  <a:pt x="458" y="61"/>
                </a:lnTo>
                <a:lnTo>
                  <a:pt x="458" y="62"/>
                </a:lnTo>
                <a:lnTo>
                  <a:pt x="458" y="62"/>
                </a:lnTo>
                <a:lnTo>
                  <a:pt x="458" y="62"/>
                </a:lnTo>
                <a:lnTo>
                  <a:pt x="458" y="62"/>
                </a:lnTo>
                <a:lnTo>
                  <a:pt x="458" y="62"/>
                </a:lnTo>
                <a:lnTo>
                  <a:pt x="459" y="62"/>
                </a:lnTo>
                <a:lnTo>
                  <a:pt x="459" y="62"/>
                </a:lnTo>
                <a:lnTo>
                  <a:pt x="459" y="62"/>
                </a:lnTo>
                <a:lnTo>
                  <a:pt x="459" y="62"/>
                </a:lnTo>
                <a:lnTo>
                  <a:pt x="459" y="62"/>
                </a:lnTo>
                <a:lnTo>
                  <a:pt x="459" y="62"/>
                </a:lnTo>
                <a:lnTo>
                  <a:pt x="459" y="63"/>
                </a:lnTo>
                <a:lnTo>
                  <a:pt x="459" y="63"/>
                </a:lnTo>
                <a:lnTo>
                  <a:pt x="461" y="63"/>
                </a:lnTo>
                <a:lnTo>
                  <a:pt x="461" y="63"/>
                </a:lnTo>
                <a:lnTo>
                  <a:pt x="461" y="63"/>
                </a:lnTo>
                <a:lnTo>
                  <a:pt x="461" y="63"/>
                </a:lnTo>
                <a:lnTo>
                  <a:pt x="461" y="63"/>
                </a:lnTo>
                <a:lnTo>
                  <a:pt x="461" y="63"/>
                </a:lnTo>
                <a:lnTo>
                  <a:pt x="461" y="63"/>
                </a:lnTo>
                <a:lnTo>
                  <a:pt x="462" y="63"/>
                </a:lnTo>
                <a:lnTo>
                  <a:pt x="462" y="63"/>
                </a:lnTo>
                <a:lnTo>
                  <a:pt x="462" y="63"/>
                </a:lnTo>
                <a:lnTo>
                  <a:pt x="462" y="64"/>
                </a:lnTo>
                <a:lnTo>
                  <a:pt x="462" y="64"/>
                </a:lnTo>
                <a:lnTo>
                  <a:pt x="462" y="64"/>
                </a:lnTo>
                <a:lnTo>
                  <a:pt x="462" y="64"/>
                </a:lnTo>
                <a:lnTo>
                  <a:pt x="463" y="64"/>
                </a:lnTo>
                <a:lnTo>
                  <a:pt x="463" y="64"/>
                </a:lnTo>
                <a:lnTo>
                  <a:pt x="463" y="64"/>
                </a:lnTo>
                <a:lnTo>
                  <a:pt x="463" y="64"/>
                </a:lnTo>
                <a:lnTo>
                  <a:pt x="463" y="64"/>
                </a:lnTo>
                <a:lnTo>
                  <a:pt x="463" y="64"/>
                </a:lnTo>
                <a:lnTo>
                  <a:pt x="463" y="64"/>
                </a:lnTo>
                <a:lnTo>
                  <a:pt x="464" y="64"/>
                </a:lnTo>
                <a:lnTo>
                  <a:pt x="464" y="64"/>
                </a:lnTo>
                <a:lnTo>
                  <a:pt x="464" y="65"/>
                </a:lnTo>
                <a:lnTo>
                  <a:pt x="464" y="65"/>
                </a:lnTo>
                <a:lnTo>
                  <a:pt x="464" y="65"/>
                </a:lnTo>
                <a:lnTo>
                  <a:pt x="464" y="65"/>
                </a:lnTo>
                <a:lnTo>
                  <a:pt x="464" y="65"/>
                </a:lnTo>
                <a:lnTo>
                  <a:pt x="465" y="65"/>
                </a:lnTo>
                <a:lnTo>
                  <a:pt x="465" y="65"/>
                </a:lnTo>
                <a:lnTo>
                  <a:pt x="465" y="65"/>
                </a:lnTo>
                <a:lnTo>
                  <a:pt x="465" y="65"/>
                </a:lnTo>
                <a:lnTo>
                  <a:pt x="465" y="65"/>
                </a:lnTo>
                <a:lnTo>
                  <a:pt x="465" y="65"/>
                </a:lnTo>
                <a:lnTo>
                  <a:pt x="465" y="65"/>
                </a:lnTo>
                <a:lnTo>
                  <a:pt x="466" y="65"/>
                </a:lnTo>
                <a:lnTo>
                  <a:pt x="466" y="65"/>
                </a:lnTo>
                <a:lnTo>
                  <a:pt x="466" y="65"/>
                </a:lnTo>
                <a:lnTo>
                  <a:pt x="466" y="65"/>
                </a:lnTo>
                <a:lnTo>
                  <a:pt x="466" y="65"/>
                </a:lnTo>
                <a:lnTo>
                  <a:pt x="466" y="66"/>
                </a:lnTo>
                <a:lnTo>
                  <a:pt x="467" y="66"/>
                </a:lnTo>
                <a:lnTo>
                  <a:pt x="467" y="66"/>
                </a:lnTo>
                <a:lnTo>
                  <a:pt x="467" y="66"/>
                </a:lnTo>
                <a:lnTo>
                  <a:pt x="467" y="66"/>
                </a:lnTo>
                <a:lnTo>
                  <a:pt x="467" y="66"/>
                </a:lnTo>
                <a:lnTo>
                  <a:pt x="467" y="66"/>
                </a:lnTo>
                <a:lnTo>
                  <a:pt x="467" y="66"/>
                </a:lnTo>
                <a:lnTo>
                  <a:pt x="469" y="66"/>
                </a:lnTo>
                <a:lnTo>
                  <a:pt x="469" y="66"/>
                </a:lnTo>
                <a:lnTo>
                  <a:pt x="469" y="66"/>
                </a:lnTo>
                <a:lnTo>
                  <a:pt x="469" y="66"/>
                </a:lnTo>
                <a:lnTo>
                  <a:pt x="469" y="66"/>
                </a:lnTo>
                <a:lnTo>
                  <a:pt x="469" y="66"/>
                </a:lnTo>
                <a:lnTo>
                  <a:pt x="470" y="66"/>
                </a:lnTo>
                <a:lnTo>
                  <a:pt x="470" y="66"/>
                </a:lnTo>
                <a:lnTo>
                  <a:pt x="470" y="66"/>
                </a:lnTo>
                <a:lnTo>
                  <a:pt x="470" y="66"/>
                </a:lnTo>
                <a:lnTo>
                  <a:pt x="470" y="66"/>
                </a:lnTo>
                <a:lnTo>
                  <a:pt x="470" y="66"/>
                </a:lnTo>
                <a:lnTo>
                  <a:pt x="470" y="66"/>
                </a:lnTo>
                <a:lnTo>
                  <a:pt x="471" y="66"/>
                </a:lnTo>
                <a:lnTo>
                  <a:pt x="471" y="66"/>
                </a:lnTo>
                <a:lnTo>
                  <a:pt x="471" y="66"/>
                </a:lnTo>
                <a:lnTo>
                  <a:pt x="471" y="68"/>
                </a:lnTo>
                <a:lnTo>
                  <a:pt x="471" y="68"/>
                </a:lnTo>
                <a:lnTo>
                  <a:pt x="471" y="68"/>
                </a:lnTo>
                <a:lnTo>
                  <a:pt x="472" y="68"/>
                </a:lnTo>
                <a:lnTo>
                  <a:pt x="472" y="68"/>
                </a:lnTo>
                <a:lnTo>
                  <a:pt x="472" y="68"/>
                </a:lnTo>
                <a:lnTo>
                  <a:pt x="472" y="68"/>
                </a:lnTo>
                <a:lnTo>
                  <a:pt x="472" y="68"/>
                </a:lnTo>
                <a:lnTo>
                  <a:pt x="472" y="68"/>
                </a:lnTo>
                <a:lnTo>
                  <a:pt x="473" y="68"/>
                </a:lnTo>
                <a:lnTo>
                  <a:pt x="473" y="68"/>
                </a:lnTo>
                <a:lnTo>
                  <a:pt x="473" y="68"/>
                </a:lnTo>
                <a:lnTo>
                  <a:pt x="473" y="68"/>
                </a:lnTo>
                <a:lnTo>
                  <a:pt x="473" y="68"/>
                </a:lnTo>
                <a:lnTo>
                  <a:pt x="473" y="68"/>
                </a:lnTo>
                <a:lnTo>
                  <a:pt x="474" y="68"/>
                </a:lnTo>
                <a:lnTo>
                  <a:pt x="474" y="68"/>
                </a:lnTo>
                <a:lnTo>
                  <a:pt x="474" y="68"/>
                </a:lnTo>
                <a:lnTo>
                  <a:pt x="474" y="68"/>
                </a:lnTo>
                <a:lnTo>
                  <a:pt x="474" y="68"/>
                </a:lnTo>
                <a:lnTo>
                  <a:pt x="474" y="68"/>
                </a:lnTo>
                <a:lnTo>
                  <a:pt x="475" y="68"/>
                </a:lnTo>
                <a:lnTo>
                  <a:pt x="475" y="68"/>
                </a:lnTo>
                <a:lnTo>
                  <a:pt x="475" y="68"/>
                </a:lnTo>
                <a:lnTo>
                  <a:pt x="475" y="68"/>
                </a:lnTo>
                <a:lnTo>
                  <a:pt x="475" y="68"/>
                </a:lnTo>
                <a:lnTo>
                  <a:pt x="475" y="68"/>
                </a:lnTo>
                <a:lnTo>
                  <a:pt x="476" y="68"/>
                </a:lnTo>
                <a:lnTo>
                  <a:pt x="476" y="68"/>
                </a:lnTo>
                <a:lnTo>
                  <a:pt x="476" y="68"/>
                </a:lnTo>
                <a:lnTo>
                  <a:pt x="476" y="68"/>
                </a:lnTo>
                <a:lnTo>
                  <a:pt x="476" y="68"/>
                </a:lnTo>
                <a:lnTo>
                  <a:pt x="476" y="68"/>
                </a:lnTo>
                <a:lnTo>
                  <a:pt x="478" y="68"/>
                </a:lnTo>
                <a:lnTo>
                  <a:pt x="478" y="68"/>
                </a:lnTo>
                <a:lnTo>
                  <a:pt x="478" y="68"/>
                </a:lnTo>
                <a:lnTo>
                  <a:pt x="478" y="68"/>
                </a:lnTo>
                <a:lnTo>
                  <a:pt x="478" y="68"/>
                </a:lnTo>
                <a:lnTo>
                  <a:pt x="478" y="68"/>
                </a:lnTo>
                <a:lnTo>
                  <a:pt x="479" y="68"/>
                </a:lnTo>
                <a:lnTo>
                  <a:pt x="479" y="68"/>
                </a:lnTo>
                <a:lnTo>
                  <a:pt x="479" y="68"/>
                </a:lnTo>
                <a:lnTo>
                  <a:pt x="479" y="68"/>
                </a:lnTo>
                <a:lnTo>
                  <a:pt x="479" y="68"/>
                </a:lnTo>
                <a:lnTo>
                  <a:pt x="479" y="68"/>
                </a:lnTo>
                <a:lnTo>
                  <a:pt x="480" y="68"/>
                </a:lnTo>
                <a:lnTo>
                  <a:pt x="480" y="68"/>
                </a:lnTo>
                <a:lnTo>
                  <a:pt x="480" y="68"/>
                </a:lnTo>
                <a:lnTo>
                  <a:pt x="480" y="68"/>
                </a:lnTo>
                <a:lnTo>
                  <a:pt x="480" y="68"/>
                </a:lnTo>
                <a:lnTo>
                  <a:pt x="480" y="68"/>
                </a:lnTo>
                <a:lnTo>
                  <a:pt x="481" y="68"/>
                </a:lnTo>
                <a:lnTo>
                  <a:pt x="481" y="68"/>
                </a:lnTo>
                <a:lnTo>
                  <a:pt x="481" y="68"/>
                </a:lnTo>
                <a:lnTo>
                  <a:pt x="481" y="68"/>
                </a:lnTo>
                <a:lnTo>
                  <a:pt x="481" y="68"/>
                </a:lnTo>
                <a:lnTo>
                  <a:pt x="481" y="68"/>
                </a:lnTo>
                <a:lnTo>
                  <a:pt x="482" y="66"/>
                </a:lnTo>
                <a:lnTo>
                  <a:pt x="482" y="66"/>
                </a:lnTo>
                <a:lnTo>
                  <a:pt x="482" y="66"/>
                </a:lnTo>
                <a:lnTo>
                  <a:pt x="482" y="66"/>
                </a:lnTo>
                <a:lnTo>
                  <a:pt x="482" y="66"/>
                </a:lnTo>
                <a:lnTo>
                  <a:pt x="482" y="66"/>
                </a:lnTo>
                <a:lnTo>
                  <a:pt x="483" y="66"/>
                </a:lnTo>
                <a:lnTo>
                  <a:pt x="483" y="66"/>
                </a:lnTo>
                <a:lnTo>
                  <a:pt x="483" y="66"/>
                </a:lnTo>
                <a:lnTo>
                  <a:pt x="483" y="66"/>
                </a:lnTo>
                <a:lnTo>
                  <a:pt x="483" y="66"/>
                </a:lnTo>
                <a:lnTo>
                  <a:pt x="483" y="66"/>
                </a:lnTo>
                <a:lnTo>
                  <a:pt x="484" y="66"/>
                </a:lnTo>
                <a:lnTo>
                  <a:pt x="484" y="66"/>
                </a:lnTo>
                <a:lnTo>
                  <a:pt x="484" y="66"/>
                </a:lnTo>
                <a:lnTo>
                  <a:pt x="484" y="66"/>
                </a:lnTo>
                <a:lnTo>
                  <a:pt x="484" y="66"/>
                </a:lnTo>
                <a:lnTo>
                  <a:pt x="484" y="66"/>
                </a:lnTo>
                <a:lnTo>
                  <a:pt x="484" y="66"/>
                </a:lnTo>
                <a:lnTo>
                  <a:pt x="485" y="66"/>
                </a:lnTo>
                <a:lnTo>
                  <a:pt x="485" y="66"/>
                </a:lnTo>
                <a:lnTo>
                  <a:pt x="485" y="66"/>
                </a:lnTo>
                <a:lnTo>
                  <a:pt x="485" y="66"/>
                </a:lnTo>
                <a:lnTo>
                  <a:pt x="485" y="66"/>
                </a:lnTo>
                <a:lnTo>
                  <a:pt x="485" y="65"/>
                </a:lnTo>
                <a:lnTo>
                  <a:pt x="487" y="65"/>
                </a:lnTo>
                <a:lnTo>
                  <a:pt x="487" y="65"/>
                </a:lnTo>
                <a:lnTo>
                  <a:pt x="487" y="65"/>
                </a:lnTo>
                <a:lnTo>
                  <a:pt x="487" y="65"/>
                </a:lnTo>
                <a:lnTo>
                  <a:pt x="487" y="65"/>
                </a:lnTo>
                <a:lnTo>
                  <a:pt x="487" y="65"/>
                </a:lnTo>
                <a:lnTo>
                  <a:pt x="487" y="65"/>
                </a:lnTo>
                <a:lnTo>
                  <a:pt x="488" y="65"/>
                </a:lnTo>
                <a:lnTo>
                  <a:pt x="488" y="65"/>
                </a:lnTo>
                <a:lnTo>
                  <a:pt x="488" y="65"/>
                </a:lnTo>
                <a:lnTo>
                  <a:pt x="488" y="65"/>
                </a:lnTo>
                <a:lnTo>
                  <a:pt x="488" y="65"/>
                </a:lnTo>
                <a:lnTo>
                  <a:pt x="488" y="65"/>
                </a:lnTo>
                <a:lnTo>
                  <a:pt x="488" y="65"/>
                </a:lnTo>
                <a:lnTo>
                  <a:pt x="489" y="65"/>
                </a:lnTo>
                <a:lnTo>
                  <a:pt x="489" y="65"/>
                </a:lnTo>
                <a:lnTo>
                  <a:pt x="489" y="64"/>
                </a:lnTo>
                <a:lnTo>
                  <a:pt x="489" y="64"/>
                </a:lnTo>
                <a:lnTo>
                  <a:pt x="489" y="64"/>
                </a:lnTo>
                <a:lnTo>
                  <a:pt x="489" y="64"/>
                </a:lnTo>
                <a:lnTo>
                  <a:pt x="489" y="64"/>
                </a:lnTo>
                <a:lnTo>
                  <a:pt x="490" y="64"/>
                </a:lnTo>
                <a:lnTo>
                  <a:pt x="490" y="64"/>
                </a:lnTo>
                <a:lnTo>
                  <a:pt x="490" y="64"/>
                </a:lnTo>
                <a:lnTo>
                  <a:pt x="490" y="64"/>
                </a:lnTo>
                <a:lnTo>
                  <a:pt x="490" y="64"/>
                </a:lnTo>
                <a:lnTo>
                  <a:pt x="490" y="64"/>
                </a:lnTo>
                <a:lnTo>
                  <a:pt x="490" y="64"/>
                </a:lnTo>
                <a:lnTo>
                  <a:pt x="491" y="64"/>
                </a:lnTo>
                <a:lnTo>
                  <a:pt x="491" y="63"/>
                </a:lnTo>
                <a:lnTo>
                  <a:pt x="491" y="63"/>
                </a:lnTo>
                <a:lnTo>
                  <a:pt x="491" y="63"/>
                </a:lnTo>
                <a:lnTo>
                  <a:pt x="491" y="63"/>
                </a:lnTo>
                <a:lnTo>
                  <a:pt x="491" y="63"/>
                </a:lnTo>
                <a:lnTo>
                  <a:pt x="491" y="63"/>
                </a:lnTo>
                <a:lnTo>
                  <a:pt x="492" y="63"/>
                </a:lnTo>
                <a:lnTo>
                  <a:pt x="492" y="63"/>
                </a:lnTo>
                <a:lnTo>
                  <a:pt x="492" y="63"/>
                </a:lnTo>
                <a:lnTo>
                  <a:pt x="492" y="63"/>
                </a:lnTo>
                <a:lnTo>
                  <a:pt x="492" y="63"/>
                </a:lnTo>
                <a:lnTo>
                  <a:pt x="492" y="63"/>
                </a:lnTo>
                <a:lnTo>
                  <a:pt x="492" y="62"/>
                </a:lnTo>
                <a:lnTo>
                  <a:pt x="493" y="62"/>
                </a:lnTo>
                <a:lnTo>
                  <a:pt x="493" y="62"/>
                </a:lnTo>
                <a:lnTo>
                  <a:pt x="493" y="62"/>
                </a:lnTo>
                <a:lnTo>
                  <a:pt x="493" y="62"/>
                </a:lnTo>
                <a:lnTo>
                  <a:pt x="493" y="62"/>
                </a:lnTo>
                <a:lnTo>
                  <a:pt x="493" y="62"/>
                </a:lnTo>
                <a:lnTo>
                  <a:pt x="493" y="62"/>
                </a:lnTo>
                <a:lnTo>
                  <a:pt x="493" y="62"/>
                </a:lnTo>
                <a:lnTo>
                  <a:pt x="494" y="62"/>
                </a:lnTo>
                <a:lnTo>
                  <a:pt x="494" y="62"/>
                </a:lnTo>
                <a:lnTo>
                  <a:pt x="494" y="61"/>
                </a:lnTo>
                <a:lnTo>
                  <a:pt x="494" y="61"/>
                </a:lnTo>
                <a:lnTo>
                  <a:pt x="494" y="61"/>
                </a:lnTo>
                <a:lnTo>
                  <a:pt x="494" y="61"/>
                </a:lnTo>
                <a:lnTo>
                  <a:pt x="494" y="61"/>
                </a:lnTo>
                <a:lnTo>
                  <a:pt x="494" y="61"/>
                </a:lnTo>
                <a:lnTo>
                  <a:pt x="496" y="61"/>
                </a:lnTo>
                <a:lnTo>
                  <a:pt x="496" y="61"/>
                </a:lnTo>
                <a:lnTo>
                  <a:pt x="496" y="61"/>
                </a:lnTo>
                <a:lnTo>
                  <a:pt x="496" y="61"/>
                </a:lnTo>
                <a:lnTo>
                  <a:pt x="496" y="60"/>
                </a:lnTo>
                <a:lnTo>
                  <a:pt x="496" y="60"/>
                </a:lnTo>
                <a:lnTo>
                  <a:pt x="496" y="60"/>
                </a:lnTo>
                <a:lnTo>
                  <a:pt x="496" y="60"/>
                </a:lnTo>
                <a:lnTo>
                  <a:pt x="497" y="60"/>
                </a:lnTo>
                <a:lnTo>
                  <a:pt x="497" y="60"/>
                </a:lnTo>
                <a:lnTo>
                  <a:pt x="497" y="60"/>
                </a:lnTo>
                <a:lnTo>
                  <a:pt x="497" y="60"/>
                </a:lnTo>
                <a:lnTo>
                  <a:pt x="497" y="60"/>
                </a:lnTo>
                <a:lnTo>
                  <a:pt x="497" y="60"/>
                </a:lnTo>
                <a:lnTo>
                  <a:pt x="497" y="59"/>
                </a:lnTo>
                <a:lnTo>
                  <a:pt x="497" y="59"/>
                </a:lnTo>
                <a:lnTo>
                  <a:pt x="497" y="59"/>
                </a:lnTo>
                <a:lnTo>
                  <a:pt x="498" y="59"/>
                </a:lnTo>
                <a:lnTo>
                  <a:pt x="498" y="59"/>
                </a:lnTo>
                <a:lnTo>
                  <a:pt x="498" y="59"/>
                </a:lnTo>
                <a:lnTo>
                  <a:pt x="498" y="59"/>
                </a:lnTo>
                <a:lnTo>
                  <a:pt x="498" y="59"/>
                </a:lnTo>
                <a:lnTo>
                  <a:pt x="498" y="57"/>
                </a:lnTo>
                <a:lnTo>
                  <a:pt x="498" y="57"/>
                </a:lnTo>
                <a:lnTo>
                  <a:pt x="498" y="57"/>
                </a:lnTo>
                <a:lnTo>
                  <a:pt x="498" y="57"/>
                </a:lnTo>
                <a:lnTo>
                  <a:pt x="499" y="57"/>
                </a:lnTo>
                <a:lnTo>
                  <a:pt x="499" y="57"/>
                </a:lnTo>
                <a:lnTo>
                  <a:pt x="499" y="57"/>
                </a:lnTo>
                <a:lnTo>
                  <a:pt x="499" y="57"/>
                </a:lnTo>
                <a:lnTo>
                  <a:pt x="499" y="57"/>
                </a:lnTo>
                <a:lnTo>
                  <a:pt x="499" y="56"/>
                </a:lnTo>
                <a:lnTo>
                  <a:pt x="499" y="56"/>
                </a:lnTo>
                <a:lnTo>
                  <a:pt x="499" y="56"/>
                </a:lnTo>
                <a:lnTo>
                  <a:pt x="499" y="56"/>
                </a:lnTo>
                <a:lnTo>
                  <a:pt x="499" y="56"/>
                </a:lnTo>
                <a:lnTo>
                  <a:pt x="500" y="56"/>
                </a:lnTo>
                <a:lnTo>
                  <a:pt x="500" y="56"/>
                </a:lnTo>
                <a:lnTo>
                  <a:pt x="500" y="56"/>
                </a:lnTo>
                <a:lnTo>
                  <a:pt x="500" y="55"/>
                </a:lnTo>
                <a:lnTo>
                  <a:pt x="500" y="55"/>
                </a:lnTo>
                <a:lnTo>
                  <a:pt x="500" y="55"/>
                </a:lnTo>
                <a:lnTo>
                  <a:pt x="500" y="55"/>
                </a:lnTo>
                <a:lnTo>
                  <a:pt x="500" y="55"/>
                </a:lnTo>
                <a:lnTo>
                  <a:pt x="500" y="55"/>
                </a:lnTo>
                <a:lnTo>
                  <a:pt x="500" y="55"/>
                </a:lnTo>
                <a:lnTo>
                  <a:pt x="500" y="55"/>
                </a:lnTo>
                <a:lnTo>
                  <a:pt x="501" y="54"/>
                </a:lnTo>
                <a:lnTo>
                  <a:pt x="501" y="54"/>
                </a:lnTo>
                <a:lnTo>
                  <a:pt x="501" y="54"/>
                </a:lnTo>
                <a:lnTo>
                  <a:pt x="501" y="54"/>
                </a:lnTo>
                <a:lnTo>
                  <a:pt x="501" y="54"/>
                </a:lnTo>
                <a:lnTo>
                  <a:pt x="501" y="54"/>
                </a:lnTo>
                <a:lnTo>
                  <a:pt x="501" y="54"/>
                </a:lnTo>
                <a:lnTo>
                  <a:pt x="501" y="53"/>
                </a:lnTo>
                <a:lnTo>
                  <a:pt x="501" y="53"/>
                </a:lnTo>
                <a:lnTo>
                  <a:pt x="501" y="53"/>
                </a:lnTo>
                <a:lnTo>
                  <a:pt x="501" y="53"/>
                </a:lnTo>
                <a:lnTo>
                  <a:pt x="502" y="53"/>
                </a:lnTo>
                <a:lnTo>
                  <a:pt x="502" y="53"/>
                </a:lnTo>
                <a:lnTo>
                  <a:pt x="502" y="53"/>
                </a:lnTo>
                <a:lnTo>
                  <a:pt x="502" y="53"/>
                </a:lnTo>
                <a:lnTo>
                  <a:pt x="502" y="52"/>
                </a:lnTo>
                <a:lnTo>
                  <a:pt x="502" y="52"/>
                </a:lnTo>
                <a:lnTo>
                  <a:pt x="502" y="52"/>
                </a:lnTo>
                <a:lnTo>
                  <a:pt x="502" y="52"/>
                </a:lnTo>
                <a:lnTo>
                  <a:pt x="502" y="52"/>
                </a:lnTo>
                <a:lnTo>
                  <a:pt x="502" y="52"/>
                </a:lnTo>
                <a:lnTo>
                  <a:pt x="502" y="52"/>
                </a:lnTo>
                <a:lnTo>
                  <a:pt x="502" y="51"/>
                </a:lnTo>
                <a:lnTo>
                  <a:pt x="502" y="51"/>
                </a:lnTo>
                <a:lnTo>
                  <a:pt x="502" y="51"/>
                </a:lnTo>
                <a:lnTo>
                  <a:pt x="503" y="51"/>
                </a:lnTo>
                <a:lnTo>
                  <a:pt x="503" y="51"/>
                </a:lnTo>
                <a:lnTo>
                  <a:pt x="503" y="51"/>
                </a:lnTo>
                <a:lnTo>
                  <a:pt x="503" y="51"/>
                </a:lnTo>
                <a:lnTo>
                  <a:pt x="503" y="50"/>
                </a:lnTo>
                <a:lnTo>
                  <a:pt x="503" y="50"/>
                </a:lnTo>
                <a:lnTo>
                  <a:pt x="503" y="50"/>
                </a:lnTo>
                <a:lnTo>
                  <a:pt x="503" y="50"/>
                </a:lnTo>
                <a:lnTo>
                  <a:pt x="503" y="50"/>
                </a:lnTo>
                <a:lnTo>
                  <a:pt x="503" y="50"/>
                </a:lnTo>
                <a:lnTo>
                  <a:pt x="503" y="48"/>
                </a:lnTo>
                <a:lnTo>
                  <a:pt x="503" y="48"/>
                </a:lnTo>
                <a:lnTo>
                  <a:pt x="503" y="48"/>
                </a:lnTo>
                <a:lnTo>
                  <a:pt x="503" y="48"/>
                </a:lnTo>
                <a:lnTo>
                  <a:pt x="503" y="48"/>
                </a:lnTo>
                <a:lnTo>
                  <a:pt x="505" y="48"/>
                </a:lnTo>
                <a:lnTo>
                  <a:pt x="505" y="48"/>
                </a:lnTo>
                <a:lnTo>
                  <a:pt x="505" y="47"/>
                </a:lnTo>
                <a:lnTo>
                  <a:pt x="505" y="47"/>
                </a:lnTo>
                <a:lnTo>
                  <a:pt x="505" y="47"/>
                </a:lnTo>
                <a:lnTo>
                  <a:pt x="505" y="47"/>
                </a:lnTo>
                <a:lnTo>
                  <a:pt x="505" y="47"/>
                </a:lnTo>
                <a:lnTo>
                  <a:pt x="505" y="47"/>
                </a:lnTo>
                <a:lnTo>
                  <a:pt x="505" y="47"/>
                </a:lnTo>
                <a:lnTo>
                  <a:pt x="505" y="46"/>
                </a:lnTo>
                <a:lnTo>
                  <a:pt x="505" y="46"/>
                </a:lnTo>
                <a:lnTo>
                  <a:pt x="505" y="46"/>
                </a:lnTo>
                <a:lnTo>
                  <a:pt x="505" y="46"/>
                </a:lnTo>
                <a:lnTo>
                  <a:pt x="505" y="46"/>
                </a:lnTo>
                <a:lnTo>
                  <a:pt x="505" y="46"/>
                </a:lnTo>
                <a:lnTo>
                  <a:pt x="505" y="45"/>
                </a:lnTo>
                <a:lnTo>
                  <a:pt x="505" y="45"/>
                </a:lnTo>
                <a:lnTo>
                  <a:pt x="505" y="45"/>
                </a:lnTo>
                <a:lnTo>
                  <a:pt x="505" y="45"/>
                </a:lnTo>
                <a:lnTo>
                  <a:pt x="505" y="45"/>
                </a:lnTo>
                <a:lnTo>
                  <a:pt x="505" y="45"/>
                </a:lnTo>
                <a:lnTo>
                  <a:pt x="505" y="44"/>
                </a:lnTo>
                <a:lnTo>
                  <a:pt x="506" y="44"/>
                </a:lnTo>
                <a:lnTo>
                  <a:pt x="506" y="44"/>
                </a:lnTo>
                <a:lnTo>
                  <a:pt x="506" y="44"/>
                </a:lnTo>
                <a:lnTo>
                  <a:pt x="506" y="44"/>
                </a:lnTo>
                <a:lnTo>
                  <a:pt x="506" y="44"/>
                </a:lnTo>
                <a:lnTo>
                  <a:pt x="506" y="44"/>
                </a:lnTo>
                <a:lnTo>
                  <a:pt x="506" y="43"/>
                </a:lnTo>
                <a:lnTo>
                  <a:pt x="506" y="43"/>
                </a:lnTo>
                <a:lnTo>
                  <a:pt x="506" y="43"/>
                </a:lnTo>
                <a:lnTo>
                  <a:pt x="506" y="43"/>
                </a:lnTo>
                <a:lnTo>
                  <a:pt x="506" y="43"/>
                </a:lnTo>
                <a:lnTo>
                  <a:pt x="506" y="43"/>
                </a:lnTo>
                <a:lnTo>
                  <a:pt x="506" y="42"/>
                </a:lnTo>
                <a:lnTo>
                  <a:pt x="506" y="42"/>
                </a:lnTo>
                <a:lnTo>
                  <a:pt x="506" y="42"/>
                </a:lnTo>
                <a:lnTo>
                  <a:pt x="506" y="42"/>
                </a:lnTo>
                <a:lnTo>
                  <a:pt x="506" y="42"/>
                </a:lnTo>
                <a:lnTo>
                  <a:pt x="506" y="42"/>
                </a:lnTo>
                <a:lnTo>
                  <a:pt x="506" y="41"/>
                </a:lnTo>
                <a:lnTo>
                  <a:pt x="506" y="41"/>
                </a:lnTo>
                <a:lnTo>
                  <a:pt x="506" y="41"/>
                </a:lnTo>
                <a:lnTo>
                  <a:pt x="506" y="41"/>
                </a:lnTo>
                <a:lnTo>
                  <a:pt x="506" y="41"/>
                </a:lnTo>
                <a:lnTo>
                  <a:pt x="506" y="41"/>
                </a:lnTo>
                <a:lnTo>
                  <a:pt x="506" y="39"/>
                </a:lnTo>
                <a:lnTo>
                  <a:pt x="506" y="39"/>
                </a:lnTo>
                <a:lnTo>
                  <a:pt x="506" y="39"/>
                </a:lnTo>
                <a:lnTo>
                  <a:pt x="506" y="39"/>
                </a:lnTo>
                <a:lnTo>
                  <a:pt x="506" y="39"/>
                </a:lnTo>
                <a:lnTo>
                  <a:pt x="506" y="39"/>
                </a:lnTo>
                <a:lnTo>
                  <a:pt x="506" y="38"/>
                </a:lnTo>
                <a:lnTo>
                  <a:pt x="506" y="38"/>
                </a:lnTo>
                <a:lnTo>
                  <a:pt x="506" y="38"/>
                </a:lnTo>
                <a:lnTo>
                  <a:pt x="506" y="38"/>
                </a:lnTo>
                <a:lnTo>
                  <a:pt x="506" y="38"/>
                </a:lnTo>
                <a:lnTo>
                  <a:pt x="506" y="38"/>
                </a:lnTo>
                <a:lnTo>
                  <a:pt x="506" y="37"/>
                </a:lnTo>
                <a:lnTo>
                  <a:pt x="506" y="37"/>
                </a:lnTo>
                <a:lnTo>
                  <a:pt x="506" y="37"/>
                </a:lnTo>
                <a:lnTo>
                  <a:pt x="506" y="37"/>
                </a:lnTo>
                <a:lnTo>
                  <a:pt x="506" y="37"/>
                </a:lnTo>
                <a:lnTo>
                  <a:pt x="506" y="37"/>
                </a:lnTo>
                <a:lnTo>
                  <a:pt x="506" y="36"/>
                </a:lnTo>
                <a:lnTo>
                  <a:pt x="506" y="36"/>
                </a:lnTo>
                <a:lnTo>
                  <a:pt x="506" y="36"/>
                </a:lnTo>
                <a:lnTo>
                  <a:pt x="506" y="36"/>
                </a:lnTo>
                <a:lnTo>
                  <a:pt x="506" y="36"/>
                </a:lnTo>
                <a:lnTo>
                  <a:pt x="506" y="36"/>
                </a:lnTo>
                <a:lnTo>
                  <a:pt x="506" y="35"/>
                </a:lnTo>
                <a:lnTo>
                  <a:pt x="506" y="35"/>
                </a:lnTo>
                <a:lnTo>
                  <a:pt x="506" y="35"/>
                </a:lnTo>
                <a:lnTo>
                  <a:pt x="506" y="35"/>
                </a:lnTo>
                <a:lnTo>
                  <a:pt x="506" y="35"/>
                </a:lnTo>
                <a:lnTo>
                  <a:pt x="506" y="35"/>
                </a:lnTo>
                <a:lnTo>
                  <a:pt x="506" y="34"/>
                </a:lnTo>
                <a:lnTo>
                  <a:pt x="506" y="34"/>
                </a:lnTo>
                <a:lnTo>
                  <a:pt x="506" y="34"/>
                </a:lnTo>
                <a:lnTo>
                  <a:pt x="506" y="34"/>
                </a:lnTo>
                <a:lnTo>
                  <a:pt x="506" y="34"/>
                </a:lnTo>
                <a:lnTo>
                  <a:pt x="506" y="34"/>
                </a:lnTo>
                <a:lnTo>
                  <a:pt x="506" y="33"/>
                </a:lnTo>
                <a:lnTo>
                  <a:pt x="506" y="33"/>
                </a:lnTo>
                <a:lnTo>
                  <a:pt x="506" y="33"/>
                </a:lnTo>
                <a:lnTo>
                  <a:pt x="506" y="33"/>
                </a:lnTo>
                <a:lnTo>
                  <a:pt x="506" y="33"/>
                </a:lnTo>
                <a:lnTo>
                  <a:pt x="506" y="33"/>
                </a:lnTo>
                <a:lnTo>
                  <a:pt x="506" y="32"/>
                </a:lnTo>
                <a:lnTo>
                  <a:pt x="506" y="32"/>
                </a:lnTo>
                <a:lnTo>
                  <a:pt x="506" y="32"/>
                </a:lnTo>
                <a:lnTo>
                  <a:pt x="506" y="32"/>
                </a:lnTo>
                <a:lnTo>
                  <a:pt x="506" y="32"/>
                </a:lnTo>
                <a:lnTo>
                  <a:pt x="505" y="32"/>
                </a:lnTo>
                <a:lnTo>
                  <a:pt x="505" y="30"/>
                </a:lnTo>
                <a:lnTo>
                  <a:pt x="505" y="30"/>
                </a:lnTo>
                <a:lnTo>
                  <a:pt x="505" y="30"/>
                </a:lnTo>
                <a:lnTo>
                  <a:pt x="505" y="30"/>
                </a:lnTo>
                <a:lnTo>
                  <a:pt x="505" y="30"/>
                </a:lnTo>
                <a:lnTo>
                  <a:pt x="505" y="30"/>
                </a:lnTo>
                <a:lnTo>
                  <a:pt x="505" y="30"/>
                </a:lnTo>
                <a:lnTo>
                  <a:pt x="505" y="29"/>
                </a:lnTo>
                <a:lnTo>
                  <a:pt x="505" y="29"/>
                </a:lnTo>
                <a:lnTo>
                  <a:pt x="505" y="29"/>
                </a:lnTo>
                <a:lnTo>
                  <a:pt x="505" y="29"/>
                </a:lnTo>
                <a:lnTo>
                  <a:pt x="505" y="29"/>
                </a:lnTo>
                <a:lnTo>
                  <a:pt x="505" y="29"/>
                </a:lnTo>
                <a:lnTo>
                  <a:pt x="505" y="28"/>
                </a:lnTo>
                <a:lnTo>
                  <a:pt x="505" y="28"/>
                </a:lnTo>
                <a:lnTo>
                  <a:pt x="505" y="28"/>
                </a:lnTo>
                <a:lnTo>
                  <a:pt x="505" y="28"/>
                </a:lnTo>
                <a:lnTo>
                  <a:pt x="505" y="28"/>
                </a:lnTo>
                <a:lnTo>
                  <a:pt x="505" y="28"/>
                </a:lnTo>
                <a:lnTo>
                  <a:pt x="505" y="27"/>
                </a:lnTo>
                <a:lnTo>
                  <a:pt x="505" y="27"/>
                </a:lnTo>
                <a:lnTo>
                  <a:pt x="503" y="27"/>
                </a:lnTo>
                <a:lnTo>
                  <a:pt x="503" y="27"/>
                </a:lnTo>
                <a:lnTo>
                  <a:pt x="503" y="27"/>
                </a:lnTo>
                <a:lnTo>
                  <a:pt x="503" y="27"/>
                </a:lnTo>
                <a:lnTo>
                  <a:pt x="503" y="27"/>
                </a:lnTo>
                <a:lnTo>
                  <a:pt x="503" y="26"/>
                </a:lnTo>
                <a:lnTo>
                  <a:pt x="503" y="26"/>
                </a:lnTo>
                <a:lnTo>
                  <a:pt x="503" y="26"/>
                </a:lnTo>
                <a:lnTo>
                  <a:pt x="503" y="26"/>
                </a:lnTo>
                <a:lnTo>
                  <a:pt x="503" y="26"/>
                </a:lnTo>
                <a:lnTo>
                  <a:pt x="503" y="26"/>
                </a:lnTo>
                <a:lnTo>
                  <a:pt x="503" y="26"/>
                </a:lnTo>
                <a:lnTo>
                  <a:pt x="503" y="25"/>
                </a:lnTo>
                <a:lnTo>
                  <a:pt x="503" y="25"/>
                </a:lnTo>
                <a:lnTo>
                  <a:pt x="503" y="25"/>
                </a:lnTo>
                <a:lnTo>
                  <a:pt x="502" y="25"/>
                </a:lnTo>
                <a:lnTo>
                  <a:pt x="502" y="25"/>
                </a:lnTo>
                <a:lnTo>
                  <a:pt x="502" y="25"/>
                </a:lnTo>
                <a:lnTo>
                  <a:pt x="502" y="25"/>
                </a:lnTo>
                <a:lnTo>
                  <a:pt x="502" y="24"/>
                </a:lnTo>
                <a:lnTo>
                  <a:pt x="502" y="24"/>
                </a:lnTo>
                <a:lnTo>
                  <a:pt x="502" y="24"/>
                </a:lnTo>
                <a:lnTo>
                  <a:pt x="502" y="24"/>
                </a:lnTo>
                <a:lnTo>
                  <a:pt x="502" y="24"/>
                </a:lnTo>
                <a:lnTo>
                  <a:pt x="502" y="24"/>
                </a:lnTo>
                <a:lnTo>
                  <a:pt x="502" y="24"/>
                </a:lnTo>
                <a:lnTo>
                  <a:pt x="502" y="23"/>
                </a:lnTo>
                <a:lnTo>
                  <a:pt x="502" y="23"/>
                </a:lnTo>
                <a:lnTo>
                  <a:pt x="502" y="23"/>
                </a:lnTo>
                <a:lnTo>
                  <a:pt x="501" y="23"/>
                </a:lnTo>
                <a:lnTo>
                  <a:pt x="501" y="23"/>
                </a:lnTo>
                <a:lnTo>
                  <a:pt x="501" y="23"/>
                </a:lnTo>
                <a:lnTo>
                  <a:pt x="501" y="23"/>
                </a:lnTo>
                <a:lnTo>
                  <a:pt x="501" y="21"/>
                </a:lnTo>
                <a:lnTo>
                  <a:pt x="501" y="21"/>
                </a:lnTo>
                <a:lnTo>
                  <a:pt x="501" y="21"/>
                </a:lnTo>
                <a:lnTo>
                  <a:pt x="501" y="21"/>
                </a:lnTo>
                <a:lnTo>
                  <a:pt x="501" y="21"/>
                </a:lnTo>
                <a:lnTo>
                  <a:pt x="501" y="21"/>
                </a:lnTo>
                <a:lnTo>
                  <a:pt x="501" y="21"/>
                </a:lnTo>
                <a:lnTo>
                  <a:pt x="500" y="21"/>
                </a:lnTo>
                <a:lnTo>
                  <a:pt x="500" y="20"/>
                </a:lnTo>
                <a:lnTo>
                  <a:pt x="500" y="20"/>
                </a:lnTo>
                <a:lnTo>
                  <a:pt x="500" y="20"/>
                </a:lnTo>
                <a:lnTo>
                  <a:pt x="500" y="20"/>
                </a:lnTo>
                <a:lnTo>
                  <a:pt x="500" y="20"/>
                </a:lnTo>
                <a:lnTo>
                  <a:pt x="500" y="20"/>
                </a:lnTo>
                <a:lnTo>
                  <a:pt x="500" y="20"/>
                </a:lnTo>
                <a:lnTo>
                  <a:pt x="500" y="20"/>
                </a:lnTo>
                <a:lnTo>
                  <a:pt x="500" y="19"/>
                </a:lnTo>
                <a:lnTo>
                  <a:pt x="500" y="19"/>
                </a:lnTo>
                <a:lnTo>
                  <a:pt x="499" y="19"/>
                </a:lnTo>
                <a:lnTo>
                  <a:pt x="499" y="19"/>
                </a:lnTo>
                <a:lnTo>
                  <a:pt x="499" y="19"/>
                </a:lnTo>
                <a:lnTo>
                  <a:pt x="499" y="19"/>
                </a:lnTo>
                <a:lnTo>
                  <a:pt x="499" y="19"/>
                </a:lnTo>
                <a:lnTo>
                  <a:pt x="499" y="19"/>
                </a:lnTo>
                <a:lnTo>
                  <a:pt x="499" y="18"/>
                </a:lnTo>
                <a:lnTo>
                  <a:pt x="499" y="18"/>
                </a:lnTo>
                <a:lnTo>
                  <a:pt x="499" y="18"/>
                </a:lnTo>
                <a:lnTo>
                  <a:pt x="499" y="18"/>
                </a:lnTo>
                <a:lnTo>
                  <a:pt x="498" y="18"/>
                </a:lnTo>
                <a:lnTo>
                  <a:pt x="498" y="18"/>
                </a:lnTo>
                <a:lnTo>
                  <a:pt x="498" y="18"/>
                </a:lnTo>
                <a:lnTo>
                  <a:pt x="498" y="18"/>
                </a:lnTo>
                <a:lnTo>
                  <a:pt x="498" y="17"/>
                </a:lnTo>
                <a:lnTo>
                  <a:pt x="498" y="17"/>
                </a:lnTo>
                <a:lnTo>
                  <a:pt x="498" y="17"/>
                </a:lnTo>
                <a:lnTo>
                  <a:pt x="498" y="17"/>
                </a:lnTo>
                <a:lnTo>
                  <a:pt x="498" y="17"/>
                </a:lnTo>
                <a:lnTo>
                  <a:pt x="497" y="17"/>
                </a:lnTo>
                <a:lnTo>
                  <a:pt x="497" y="17"/>
                </a:lnTo>
                <a:lnTo>
                  <a:pt x="497" y="17"/>
                </a:lnTo>
                <a:lnTo>
                  <a:pt x="497" y="17"/>
                </a:lnTo>
                <a:lnTo>
                  <a:pt x="497" y="16"/>
                </a:lnTo>
                <a:lnTo>
                  <a:pt x="497" y="16"/>
                </a:lnTo>
                <a:lnTo>
                  <a:pt x="497" y="16"/>
                </a:lnTo>
                <a:lnTo>
                  <a:pt x="497" y="16"/>
                </a:lnTo>
                <a:lnTo>
                  <a:pt x="497" y="16"/>
                </a:lnTo>
                <a:lnTo>
                  <a:pt x="496" y="16"/>
                </a:lnTo>
                <a:lnTo>
                  <a:pt x="496" y="16"/>
                </a:lnTo>
                <a:lnTo>
                  <a:pt x="496" y="16"/>
                </a:lnTo>
                <a:lnTo>
                  <a:pt x="496" y="16"/>
                </a:lnTo>
                <a:lnTo>
                  <a:pt x="496" y="16"/>
                </a:lnTo>
                <a:lnTo>
                  <a:pt x="496" y="15"/>
                </a:lnTo>
                <a:lnTo>
                  <a:pt x="496" y="15"/>
                </a:lnTo>
                <a:lnTo>
                  <a:pt x="496" y="15"/>
                </a:lnTo>
                <a:lnTo>
                  <a:pt x="494" y="15"/>
                </a:lnTo>
                <a:lnTo>
                  <a:pt x="494" y="15"/>
                </a:lnTo>
                <a:lnTo>
                  <a:pt x="494" y="15"/>
                </a:lnTo>
                <a:lnTo>
                  <a:pt x="494" y="15"/>
                </a:lnTo>
                <a:lnTo>
                  <a:pt x="494" y="15"/>
                </a:lnTo>
                <a:lnTo>
                  <a:pt x="494" y="15"/>
                </a:lnTo>
                <a:lnTo>
                  <a:pt x="494" y="15"/>
                </a:lnTo>
                <a:lnTo>
                  <a:pt x="494" y="14"/>
                </a:lnTo>
                <a:lnTo>
                  <a:pt x="493" y="14"/>
                </a:lnTo>
                <a:lnTo>
                  <a:pt x="493" y="14"/>
                </a:lnTo>
                <a:lnTo>
                  <a:pt x="493" y="14"/>
                </a:lnTo>
                <a:lnTo>
                  <a:pt x="493" y="14"/>
                </a:lnTo>
                <a:lnTo>
                  <a:pt x="493" y="14"/>
                </a:lnTo>
                <a:lnTo>
                  <a:pt x="493" y="14"/>
                </a:lnTo>
                <a:lnTo>
                  <a:pt x="493" y="14"/>
                </a:lnTo>
                <a:lnTo>
                  <a:pt x="493" y="14"/>
                </a:lnTo>
                <a:lnTo>
                  <a:pt x="492" y="14"/>
                </a:lnTo>
                <a:lnTo>
                  <a:pt x="492" y="14"/>
                </a:lnTo>
                <a:lnTo>
                  <a:pt x="492" y="12"/>
                </a:lnTo>
                <a:lnTo>
                  <a:pt x="492" y="12"/>
                </a:lnTo>
                <a:lnTo>
                  <a:pt x="492" y="12"/>
                </a:lnTo>
                <a:lnTo>
                  <a:pt x="492" y="12"/>
                </a:lnTo>
                <a:lnTo>
                  <a:pt x="492" y="12"/>
                </a:lnTo>
                <a:lnTo>
                  <a:pt x="491" y="12"/>
                </a:lnTo>
                <a:lnTo>
                  <a:pt x="491" y="12"/>
                </a:lnTo>
                <a:lnTo>
                  <a:pt x="491" y="12"/>
                </a:lnTo>
                <a:lnTo>
                  <a:pt x="491" y="12"/>
                </a:lnTo>
                <a:lnTo>
                  <a:pt x="491" y="12"/>
                </a:lnTo>
                <a:lnTo>
                  <a:pt x="491" y="12"/>
                </a:lnTo>
                <a:lnTo>
                  <a:pt x="491" y="12"/>
                </a:lnTo>
                <a:lnTo>
                  <a:pt x="490" y="11"/>
                </a:lnTo>
                <a:lnTo>
                  <a:pt x="490" y="11"/>
                </a:lnTo>
                <a:lnTo>
                  <a:pt x="490" y="11"/>
                </a:lnTo>
                <a:lnTo>
                  <a:pt x="490" y="11"/>
                </a:lnTo>
                <a:lnTo>
                  <a:pt x="490" y="11"/>
                </a:lnTo>
                <a:lnTo>
                  <a:pt x="490" y="11"/>
                </a:lnTo>
                <a:lnTo>
                  <a:pt x="490" y="11"/>
                </a:lnTo>
                <a:lnTo>
                  <a:pt x="489" y="11"/>
                </a:lnTo>
                <a:lnTo>
                  <a:pt x="489" y="11"/>
                </a:lnTo>
                <a:lnTo>
                  <a:pt x="489" y="11"/>
                </a:lnTo>
                <a:lnTo>
                  <a:pt x="489" y="11"/>
                </a:lnTo>
                <a:lnTo>
                  <a:pt x="489" y="11"/>
                </a:lnTo>
                <a:lnTo>
                  <a:pt x="489" y="11"/>
                </a:lnTo>
                <a:lnTo>
                  <a:pt x="489" y="11"/>
                </a:lnTo>
                <a:lnTo>
                  <a:pt x="488" y="10"/>
                </a:lnTo>
                <a:lnTo>
                  <a:pt x="488" y="10"/>
                </a:lnTo>
                <a:lnTo>
                  <a:pt x="488" y="10"/>
                </a:lnTo>
                <a:lnTo>
                  <a:pt x="488" y="10"/>
                </a:lnTo>
                <a:lnTo>
                  <a:pt x="488" y="10"/>
                </a:lnTo>
                <a:lnTo>
                  <a:pt x="488" y="10"/>
                </a:lnTo>
                <a:lnTo>
                  <a:pt x="488" y="10"/>
                </a:lnTo>
                <a:lnTo>
                  <a:pt x="487" y="10"/>
                </a:lnTo>
                <a:lnTo>
                  <a:pt x="487" y="10"/>
                </a:lnTo>
                <a:lnTo>
                  <a:pt x="487" y="10"/>
                </a:lnTo>
                <a:lnTo>
                  <a:pt x="487" y="10"/>
                </a:lnTo>
                <a:lnTo>
                  <a:pt x="487" y="10"/>
                </a:lnTo>
                <a:lnTo>
                  <a:pt x="487" y="10"/>
                </a:lnTo>
                <a:lnTo>
                  <a:pt x="487" y="10"/>
                </a:lnTo>
                <a:lnTo>
                  <a:pt x="485" y="10"/>
                </a:lnTo>
                <a:lnTo>
                  <a:pt x="485" y="10"/>
                </a:lnTo>
                <a:lnTo>
                  <a:pt x="485" y="10"/>
                </a:lnTo>
                <a:lnTo>
                  <a:pt x="485" y="9"/>
                </a:lnTo>
                <a:lnTo>
                  <a:pt x="485" y="9"/>
                </a:lnTo>
                <a:lnTo>
                  <a:pt x="485" y="9"/>
                </a:lnTo>
                <a:lnTo>
                  <a:pt x="484" y="9"/>
                </a:lnTo>
                <a:lnTo>
                  <a:pt x="484" y="9"/>
                </a:lnTo>
                <a:lnTo>
                  <a:pt x="484" y="9"/>
                </a:lnTo>
                <a:lnTo>
                  <a:pt x="484" y="9"/>
                </a:lnTo>
                <a:lnTo>
                  <a:pt x="484" y="9"/>
                </a:lnTo>
                <a:lnTo>
                  <a:pt x="484" y="9"/>
                </a:lnTo>
                <a:lnTo>
                  <a:pt x="484" y="9"/>
                </a:lnTo>
                <a:lnTo>
                  <a:pt x="483" y="9"/>
                </a:lnTo>
                <a:lnTo>
                  <a:pt x="483" y="9"/>
                </a:lnTo>
                <a:lnTo>
                  <a:pt x="483" y="9"/>
                </a:lnTo>
                <a:lnTo>
                  <a:pt x="483" y="9"/>
                </a:lnTo>
                <a:lnTo>
                  <a:pt x="483" y="9"/>
                </a:lnTo>
                <a:lnTo>
                  <a:pt x="483" y="9"/>
                </a:lnTo>
                <a:lnTo>
                  <a:pt x="482" y="9"/>
                </a:lnTo>
                <a:lnTo>
                  <a:pt x="482" y="9"/>
                </a:lnTo>
                <a:lnTo>
                  <a:pt x="482" y="9"/>
                </a:lnTo>
                <a:lnTo>
                  <a:pt x="482" y="9"/>
                </a:lnTo>
                <a:lnTo>
                  <a:pt x="482" y="9"/>
                </a:lnTo>
                <a:lnTo>
                  <a:pt x="482" y="9"/>
                </a:lnTo>
                <a:lnTo>
                  <a:pt x="481" y="9"/>
                </a:lnTo>
                <a:lnTo>
                  <a:pt x="481" y="9"/>
                </a:lnTo>
                <a:lnTo>
                  <a:pt x="481" y="9"/>
                </a:lnTo>
                <a:lnTo>
                  <a:pt x="481" y="9"/>
                </a:lnTo>
                <a:lnTo>
                  <a:pt x="481" y="8"/>
                </a:lnTo>
                <a:lnTo>
                  <a:pt x="481" y="8"/>
                </a:lnTo>
                <a:lnTo>
                  <a:pt x="480" y="8"/>
                </a:lnTo>
                <a:lnTo>
                  <a:pt x="480" y="8"/>
                </a:lnTo>
                <a:lnTo>
                  <a:pt x="480" y="8"/>
                </a:lnTo>
                <a:lnTo>
                  <a:pt x="480" y="8"/>
                </a:lnTo>
                <a:lnTo>
                  <a:pt x="480" y="8"/>
                </a:lnTo>
                <a:lnTo>
                  <a:pt x="480" y="8"/>
                </a:lnTo>
                <a:lnTo>
                  <a:pt x="479" y="8"/>
                </a:lnTo>
                <a:lnTo>
                  <a:pt x="479" y="8"/>
                </a:lnTo>
                <a:lnTo>
                  <a:pt x="479" y="8"/>
                </a:lnTo>
                <a:lnTo>
                  <a:pt x="479" y="8"/>
                </a:lnTo>
                <a:lnTo>
                  <a:pt x="479" y="8"/>
                </a:lnTo>
                <a:lnTo>
                  <a:pt x="479" y="8"/>
                </a:lnTo>
                <a:lnTo>
                  <a:pt x="478" y="8"/>
                </a:lnTo>
                <a:lnTo>
                  <a:pt x="478" y="8"/>
                </a:lnTo>
                <a:lnTo>
                  <a:pt x="478" y="8"/>
                </a:lnTo>
                <a:lnTo>
                  <a:pt x="478" y="8"/>
                </a:lnTo>
                <a:lnTo>
                  <a:pt x="478" y="8"/>
                </a:lnTo>
                <a:lnTo>
                  <a:pt x="478" y="8"/>
                </a:lnTo>
                <a:lnTo>
                  <a:pt x="476" y="8"/>
                </a:lnTo>
                <a:lnTo>
                  <a:pt x="476" y="8"/>
                </a:lnTo>
                <a:lnTo>
                  <a:pt x="476" y="8"/>
                </a:lnTo>
                <a:lnTo>
                  <a:pt x="476" y="8"/>
                </a:lnTo>
                <a:lnTo>
                  <a:pt x="476" y="8"/>
                </a:lnTo>
                <a:lnTo>
                  <a:pt x="476" y="8"/>
                </a:lnTo>
                <a:close/>
                <a:moveTo>
                  <a:pt x="439" y="34"/>
                </a:moveTo>
                <a:lnTo>
                  <a:pt x="439" y="34"/>
                </a:lnTo>
                <a:lnTo>
                  <a:pt x="439" y="34"/>
                </a:lnTo>
                <a:lnTo>
                  <a:pt x="439" y="34"/>
                </a:lnTo>
                <a:lnTo>
                  <a:pt x="439" y="33"/>
                </a:lnTo>
                <a:lnTo>
                  <a:pt x="439" y="33"/>
                </a:lnTo>
                <a:lnTo>
                  <a:pt x="439" y="33"/>
                </a:lnTo>
                <a:lnTo>
                  <a:pt x="439" y="33"/>
                </a:lnTo>
                <a:lnTo>
                  <a:pt x="439" y="32"/>
                </a:lnTo>
                <a:lnTo>
                  <a:pt x="439" y="32"/>
                </a:lnTo>
                <a:lnTo>
                  <a:pt x="439" y="32"/>
                </a:lnTo>
                <a:lnTo>
                  <a:pt x="439" y="32"/>
                </a:lnTo>
                <a:lnTo>
                  <a:pt x="439" y="32"/>
                </a:lnTo>
                <a:lnTo>
                  <a:pt x="439" y="30"/>
                </a:lnTo>
                <a:lnTo>
                  <a:pt x="439" y="30"/>
                </a:lnTo>
                <a:lnTo>
                  <a:pt x="439" y="30"/>
                </a:lnTo>
                <a:lnTo>
                  <a:pt x="439" y="30"/>
                </a:lnTo>
                <a:lnTo>
                  <a:pt x="439" y="30"/>
                </a:lnTo>
                <a:lnTo>
                  <a:pt x="439" y="29"/>
                </a:lnTo>
                <a:lnTo>
                  <a:pt x="439" y="29"/>
                </a:lnTo>
                <a:lnTo>
                  <a:pt x="439" y="29"/>
                </a:lnTo>
                <a:lnTo>
                  <a:pt x="439" y="29"/>
                </a:lnTo>
                <a:lnTo>
                  <a:pt x="439" y="29"/>
                </a:lnTo>
                <a:lnTo>
                  <a:pt x="439" y="28"/>
                </a:lnTo>
                <a:lnTo>
                  <a:pt x="439" y="28"/>
                </a:lnTo>
                <a:lnTo>
                  <a:pt x="440" y="28"/>
                </a:lnTo>
                <a:lnTo>
                  <a:pt x="440" y="28"/>
                </a:lnTo>
                <a:lnTo>
                  <a:pt x="440" y="28"/>
                </a:lnTo>
                <a:lnTo>
                  <a:pt x="440" y="27"/>
                </a:lnTo>
                <a:lnTo>
                  <a:pt x="440" y="27"/>
                </a:lnTo>
                <a:lnTo>
                  <a:pt x="440" y="27"/>
                </a:lnTo>
                <a:lnTo>
                  <a:pt x="440" y="27"/>
                </a:lnTo>
                <a:lnTo>
                  <a:pt x="440" y="27"/>
                </a:lnTo>
                <a:lnTo>
                  <a:pt x="440" y="26"/>
                </a:lnTo>
                <a:lnTo>
                  <a:pt x="440" y="26"/>
                </a:lnTo>
                <a:lnTo>
                  <a:pt x="440" y="26"/>
                </a:lnTo>
                <a:lnTo>
                  <a:pt x="440" y="26"/>
                </a:lnTo>
                <a:lnTo>
                  <a:pt x="440" y="26"/>
                </a:lnTo>
                <a:lnTo>
                  <a:pt x="440" y="25"/>
                </a:lnTo>
                <a:lnTo>
                  <a:pt x="440" y="25"/>
                </a:lnTo>
                <a:lnTo>
                  <a:pt x="440" y="25"/>
                </a:lnTo>
                <a:lnTo>
                  <a:pt x="441" y="25"/>
                </a:lnTo>
                <a:lnTo>
                  <a:pt x="441" y="25"/>
                </a:lnTo>
                <a:lnTo>
                  <a:pt x="441" y="24"/>
                </a:lnTo>
                <a:lnTo>
                  <a:pt x="441" y="24"/>
                </a:lnTo>
                <a:lnTo>
                  <a:pt x="441" y="24"/>
                </a:lnTo>
                <a:lnTo>
                  <a:pt x="441" y="24"/>
                </a:lnTo>
                <a:lnTo>
                  <a:pt x="441" y="24"/>
                </a:lnTo>
                <a:lnTo>
                  <a:pt x="441" y="24"/>
                </a:lnTo>
                <a:lnTo>
                  <a:pt x="441" y="23"/>
                </a:lnTo>
                <a:lnTo>
                  <a:pt x="441" y="23"/>
                </a:lnTo>
                <a:lnTo>
                  <a:pt x="441" y="23"/>
                </a:lnTo>
                <a:lnTo>
                  <a:pt x="441" y="23"/>
                </a:lnTo>
                <a:lnTo>
                  <a:pt x="441" y="23"/>
                </a:lnTo>
                <a:lnTo>
                  <a:pt x="443" y="21"/>
                </a:lnTo>
                <a:lnTo>
                  <a:pt x="443" y="21"/>
                </a:lnTo>
                <a:lnTo>
                  <a:pt x="443" y="21"/>
                </a:lnTo>
                <a:lnTo>
                  <a:pt x="443" y="21"/>
                </a:lnTo>
                <a:lnTo>
                  <a:pt x="443" y="21"/>
                </a:lnTo>
                <a:lnTo>
                  <a:pt x="443" y="21"/>
                </a:lnTo>
                <a:lnTo>
                  <a:pt x="443" y="20"/>
                </a:lnTo>
                <a:lnTo>
                  <a:pt x="443" y="20"/>
                </a:lnTo>
                <a:lnTo>
                  <a:pt x="443" y="20"/>
                </a:lnTo>
                <a:lnTo>
                  <a:pt x="443" y="20"/>
                </a:lnTo>
                <a:lnTo>
                  <a:pt x="443" y="20"/>
                </a:lnTo>
                <a:lnTo>
                  <a:pt x="444" y="19"/>
                </a:lnTo>
                <a:lnTo>
                  <a:pt x="444" y="19"/>
                </a:lnTo>
                <a:lnTo>
                  <a:pt x="444" y="19"/>
                </a:lnTo>
                <a:lnTo>
                  <a:pt x="444" y="19"/>
                </a:lnTo>
                <a:lnTo>
                  <a:pt x="444" y="19"/>
                </a:lnTo>
                <a:lnTo>
                  <a:pt x="444" y="19"/>
                </a:lnTo>
                <a:lnTo>
                  <a:pt x="444" y="18"/>
                </a:lnTo>
                <a:lnTo>
                  <a:pt x="444" y="18"/>
                </a:lnTo>
                <a:lnTo>
                  <a:pt x="444" y="18"/>
                </a:lnTo>
                <a:lnTo>
                  <a:pt x="444" y="18"/>
                </a:lnTo>
                <a:lnTo>
                  <a:pt x="445" y="18"/>
                </a:lnTo>
                <a:lnTo>
                  <a:pt x="445" y="18"/>
                </a:lnTo>
                <a:lnTo>
                  <a:pt x="445" y="17"/>
                </a:lnTo>
                <a:lnTo>
                  <a:pt x="445" y="17"/>
                </a:lnTo>
                <a:lnTo>
                  <a:pt x="445" y="17"/>
                </a:lnTo>
                <a:lnTo>
                  <a:pt x="445" y="17"/>
                </a:lnTo>
                <a:lnTo>
                  <a:pt x="445" y="17"/>
                </a:lnTo>
                <a:lnTo>
                  <a:pt x="445" y="17"/>
                </a:lnTo>
                <a:lnTo>
                  <a:pt x="445" y="16"/>
                </a:lnTo>
                <a:lnTo>
                  <a:pt x="446" y="16"/>
                </a:lnTo>
                <a:lnTo>
                  <a:pt x="446" y="16"/>
                </a:lnTo>
                <a:lnTo>
                  <a:pt x="446" y="16"/>
                </a:lnTo>
                <a:lnTo>
                  <a:pt x="446" y="16"/>
                </a:lnTo>
                <a:lnTo>
                  <a:pt x="446" y="16"/>
                </a:lnTo>
                <a:lnTo>
                  <a:pt x="446" y="15"/>
                </a:lnTo>
                <a:lnTo>
                  <a:pt x="446" y="15"/>
                </a:lnTo>
                <a:lnTo>
                  <a:pt x="446" y="15"/>
                </a:lnTo>
                <a:lnTo>
                  <a:pt x="447" y="15"/>
                </a:lnTo>
                <a:lnTo>
                  <a:pt x="447" y="15"/>
                </a:lnTo>
                <a:lnTo>
                  <a:pt x="447" y="15"/>
                </a:lnTo>
                <a:lnTo>
                  <a:pt x="447" y="14"/>
                </a:lnTo>
                <a:lnTo>
                  <a:pt x="447" y="14"/>
                </a:lnTo>
                <a:lnTo>
                  <a:pt x="447" y="14"/>
                </a:lnTo>
                <a:lnTo>
                  <a:pt x="447" y="14"/>
                </a:lnTo>
                <a:lnTo>
                  <a:pt x="447" y="14"/>
                </a:lnTo>
                <a:lnTo>
                  <a:pt x="448" y="14"/>
                </a:lnTo>
                <a:lnTo>
                  <a:pt x="448" y="14"/>
                </a:lnTo>
                <a:lnTo>
                  <a:pt x="448" y="12"/>
                </a:lnTo>
                <a:lnTo>
                  <a:pt x="448" y="12"/>
                </a:lnTo>
                <a:lnTo>
                  <a:pt x="448" y="12"/>
                </a:lnTo>
                <a:lnTo>
                  <a:pt x="448" y="12"/>
                </a:lnTo>
                <a:lnTo>
                  <a:pt x="448" y="12"/>
                </a:lnTo>
                <a:lnTo>
                  <a:pt x="448" y="12"/>
                </a:lnTo>
                <a:lnTo>
                  <a:pt x="449" y="12"/>
                </a:lnTo>
                <a:lnTo>
                  <a:pt x="449" y="11"/>
                </a:lnTo>
                <a:lnTo>
                  <a:pt x="449" y="11"/>
                </a:lnTo>
                <a:lnTo>
                  <a:pt x="449" y="11"/>
                </a:lnTo>
                <a:lnTo>
                  <a:pt x="449" y="11"/>
                </a:lnTo>
                <a:lnTo>
                  <a:pt x="449" y="11"/>
                </a:lnTo>
                <a:lnTo>
                  <a:pt x="449" y="11"/>
                </a:lnTo>
                <a:lnTo>
                  <a:pt x="450" y="11"/>
                </a:lnTo>
                <a:lnTo>
                  <a:pt x="450" y="10"/>
                </a:lnTo>
                <a:lnTo>
                  <a:pt x="450" y="10"/>
                </a:lnTo>
                <a:lnTo>
                  <a:pt x="450" y="10"/>
                </a:lnTo>
                <a:lnTo>
                  <a:pt x="450" y="10"/>
                </a:lnTo>
                <a:lnTo>
                  <a:pt x="450" y="10"/>
                </a:lnTo>
                <a:lnTo>
                  <a:pt x="452" y="10"/>
                </a:lnTo>
                <a:lnTo>
                  <a:pt x="452" y="10"/>
                </a:lnTo>
                <a:lnTo>
                  <a:pt x="452" y="9"/>
                </a:lnTo>
                <a:lnTo>
                  <a:pt x="452" y="9"/>
                </a:lnTo>
                <a:lnTo>
                  <a:pt x="452" y="9"/>
                </a:lnTo>
                <a:lnTo>
                  <a:pt x="452" y="9"/>
                </a:lnTo>
                <a:lnTo>
                  <a:pt x="452" y="9"/>
                </a:lnTo>
                <a:lnTo>
                  <a:pt x="453" y="9"/>
                </a:lnTo>
                <a:lnTo>
                  <a:pt x="453" y="9"/>
                </a:lnTo>
                <a:lnTo>
                  <a:pt x="453" y="9"/>
                </a:lnTo>
                <a:lnTo>
                  <a:pt x="453" y="8"/>
                </a:lnTo>
                <a:lnTo>
                  <a:pt x="453" y="8"/>
                </a:lnTo>
                <a:lnTo>
                  <a:pt x="453" y="8"/>
                </a:lnTo>
                <a:lnTo>
                  <a:pt x="454" y="8"/>
                </a:lnTo>
                <a:lnTo>
                  <a:pt x="454" y="8"/>
                </a:lnTo>
                <a:lnTo>
                  <a:pt x="454" y="8"/>
                </a:lnTo>
                <a:lnTo>
                  <a:pt x="454" y="8"/>
                </a:lnTo>
                <a:lnTo>
                  <a:pt x="454" y="8"/>
                </a:lnTo>
                <a:lnTo>
                  <a:pt x="454" y="7"/>
                </a:lnTo>
                <a:lnTo>
                  <a:pt x="454" y="7"/>
                </a:lnTo>
                <a:lnTo>
                  <a:pt x="455" y="7"/>
                </a:lnTo>
                <a:lnTo>
                  <a:pt x="455" y="7"/>
                </a:lnTo>
                <a:lnTo>
                  <a:pt x="455" y="7"/>
                </a:lnTo>
                <a:lnTo>
                  <a:pt x="455" y="7"/>
                </a:lnTo>
                <a:lnTo>
                  <a:pt x="455" y="7"/>
                </a:lnTo>
                <a:lnTo>
                  <a:pt x="455" y="7"/>
                </a:lnTo>
                <a:lnTo>
                  <a:pt x="456" y="7"/>
                </a:lnTo>
                <a:lnTo>
                  <a:pt x="456" y="6"/>
                </a:lnTo>
                <a:lnTo>
                  <a:pt x="456" y="6"/>
                </a:lnTo>
                <a:lnTo>
                  <a:pt x="456" y="6"/>
                </a:lnTo>
                <a:lnTo>
                  <a:pt x="456" y="6"/>
                </a:lnTo>
                <a:lnTo>
                  <a:pt x="456" y="6"/>
                </a:lnTo>
                <a:lnTo>
                  <a:pt x="457" y="6"/>
                </a:lnTo>
                <a:lnTo>
                  <a:pt x="457" y="6"/>
                </a:lnTo>
                <a:lnTo>
                  <a:pt x="457" y="6"/>
                </a:lnTo>
                <a:lnTo>
                  <a:pt x="457" y="6"/>
                </a:lnTo>
                <a:lnTo>
                  <a:pt x="457" y="5"/>
                </a:lnTo>
                <a:lnTo>
                  <a:pt x="458" y="5"/>
                </a:lnTo>
                <a:lnTo>
                  <a:pt x="458" y="5"/>
                </a:lnTo>
                <a:lnTo>
                  <a:pt x="458" y="5"/>
                </a:lnTo>
                <a:lnTo>
                  <a:pt x="458" y="5"/>
                </a:lnTo>
                <a:lnTo>
                  <a:pt x="458" y="5"/>
                </a:lnTo>
                <a:lnTo>
                  <a:pt x="458" y="5"/>
                </a:lnTo>
                <a:lnTo>
                  <a:pt x="459" y="5"/>
                </a:lnTo>
                <a:lnTo>
                  <a:pt x="459" y="5"/>
                </a:lnTo>
                <a:lnTo>
                  <a:pt x="459" y="5"/>
                </a:lnTo>
                <a:lnTo>
                  <a:pt x="459" y="5"/>
                </a:lnTo>
                <a:lnTo>
                  <a:pt x="459" y="3"/>
                </a:lnTo>
                <a:lnTo>
                  <a:pt x="461" y="3"/>
                </a:lnTo>
                <a:lnTo>
                  <a:pt x="461" y="3"/>
                </a:lnTo>
                <a:lnTo>
                  <a:pt x="461" y="3"/>
                </a:lnTo>
                <a:lnTo>
                  <a:pt x="461" y="3"/>
                </a:lnTo>
                <a:lnTo>
                  <a:pt x="461" y="3"/>
                </a:lnTo>
                <a:lnTo>
                  <a:pt x="461" y="3"/>
                </a:lnTo>
                <a:lnTo>
                  <a:pt x="462" y="3"/>
                </a:lnTo>
                <a:lnTo>
                  <a:pt x="462" y="3"/>
                </a:lnTo>
                <a:lnTo>
                  <a:pt x="462" y="3"/>
                </a:lnTo>
                <a:lnTo>
                  <a:pt x="462" y="3"/>
                </a:lnTo>
                <a:lnTo>
                  <a:pt x="462" y="3"/>
                </a:lnTo>
                <a:lnTo>
                  <a:pt x="463" y="2"/>
                </a:lnTo>
                <a:lnTo>
                  <a:pt x="463" y="2"/>
                </a:lnTo>
                <a:lnTo>
                  <a:pt x="463" y="2"/>
                </a:lnTo>
                <a:lnTo>
                  <a:pt x="463" y="2"/>
                </a:lnTo>
                <a:lnTo>
                  <a:pt x="463" y="2"/>
                </a:lnTo>
                <a:lnTo>
                  <a:pt x="464" y="2"/>
                </a:lnTo>
                <a:lnTo>
                  <a:pt x="464" y="2"/>
                </a:lnTo>
                <a:lnTo>
                  <a:pt x="464" y="2"/>
                </a:lnTo>
                <a:lnTo>
                  <a:pt x="464" y="2"/>
                </a:lnTo>
                <a:lnTo>
                  <a:pt x="464" y="2"/>
                </a:lnTo>
                <a:lnTo>
                  <a:pt x="464" y="2"/>
                </a:lnTo>
                <a:lnTo>
                  <a:pt x="465" y="2"/>
                </a:lnTo>
                <a:lnTo>
                  <a:pt x="465" y="2"/>
                </a:lnTo>
                <a:lnTo>
                  <a:pt x="465" y="2"/>
                </a:lnTo>
                <a:lnTo>
                  <a:pt x="465" y="2"/>
                </a:lnTo>
                <a:lnTo>
                  <a:pt x="465" y="1"/>
                </a:lnTo>
                <a:lnTo>
                  <a:pt x="466" y="1"/>
                </a:lnTo>
                <a:lnTo>
                  <a:pt x="466" y="1"/>
                </a:lnTo>
                <a:lnTo>
                  <a:pt x="466" y="1"/>
                </a:lnTo>
                <a:lnTo>
                  <a:pt x="466" y="1"/>
                </a:lnTo>
                <a:lnTo>
                  <a:pt x="466" y="1"/>
                </a:lnTo>
                <a:lnTo>
                  <a:pt x="467" y="1"/>
                </a:lnTo>
                <a:lnTo>
                  <a:pt x="467" y="1"/>
                </a:lnTo>
                <a:lnTo>
                  <a:pt x="467" y="1"/>
                </a:lnTo>
                <a:lnTo>
                  <a:pt x="467" y="1"/>
                </a:lnTo>
                <a:lnTo>
                  <a:pt x="467" y="1"/>
                </a:lnTo>
                <a:lnTo>
                  <a:pt x="469" y="1"/>
                </a:lnTo>
                <a:lnTo>
                  <a:pt x="469" y="1"/>
                </a:lnTo>
                <a:lnTo>
                  <a:pt x="469" y="1"/>
                </a:lnTo>
                <a:lnTo>
                  <a:pt x="469" y="1"/>
                </a:lnTo>
                <a:lnTo>
                  <a:pt x="469" y="1"/>
                </a:lnTo>
                <a:lnTo>
                  <a:pt x="470" y="1"/>
                </a:lnTo>
                <a:lnTo>
                  <a:pt x="470" y="1"/>
                </a:lnTo>
                <a:lnTo>
                  <a:pt x="470" y="1"/>
                </a:lnTo>
                <a:lnTo>
                  <a:pt x="470" y="1"/>
                </a:lnTo>
                <a:lnTo>
                  <a:pt x="471" y="1"/>
                </a:lnTo>
                <a:lnTo>
                  <a:pt x="471" y="1"/>
                </a:lnTo>
                <a:lnTo>
                  <a:pt x="471" y="0"/>
                </a:lnTo>
                <a:lnTo>
                  <a:pt x="471" y="0"/>
                </a:lnTo>
                <a:lnTo>
                  <a:pt x="471" y="0"/>
                </a:lnTo>
                <a:lnTo>
                  <a:pt x="472" y="0"/>
                </a:lnTo>
                <a:lnTo>
                  <a:pt x="472" y="0"/>
                </a:lnTo>
                <a:lnTo>
                  <a:pt x="472" y="0"/>
                </a:lnTo>
                <a:lnTo>
                  <a:pt x="472" y="0"/>
                </a:lnTo>
                <a:lnTo>
                  <a:pt x="472" y="0"/>
                </a:lnTo>
                <a:lnTo>
                  <a:pt x="473" y="0"/>
                </a:lnTo>
                <a:lnTo>
                  <a:pt x="473" y="0"/>
                </a:lnTo>
                <a:lnTo>
                  <a:pt x="473" y="0"/>
                </a:lnTo>
                <a:lnTo>
                  <a:pt x="473" y="0"/>
                </a:lnTo>
                <a:lnTo>
                  <a:pt x="473" y="0"/>
                </a:lnTo>
                <a:lnTo>
                  <a:pt x="474" y="0"/>
                </a:lnTo>
                <a:lnTo>
                  <a:pt x="474" y="0"/>
                </a:lnTo>
                <a:lnTo>
                  <a:pt x="474" y="0"/>
                </a:lnTo>
                <a:lnTo>
                  <a:pt x="474" y="0"/>
                </a:lnTo>
                <a:lnTo>
                  <a:pt x="475" y="0"/>
                </a:lnTo>
                <a:lnTo>
                  <a:pt x="475" y="0"/>
                </a:lnTo>
                <a:lnTo>
                  <a:pt x="475" y="0"/>
                </a:lnTo>
                <a:lnTo>
                  <a:pt x="475" y="0"/>
                </a:lnTo>
                <a:lnTo>
                  <a:pt x="475" y="0"/>
                </a:lnTo>
                <a:lnTo>
                  <a:pt x="476" y="0"/>
                </a:lnTo>
                <a:lnTo>
                  <a:pt x="476" y="0"/>
                </a:lnTo>
                <a:lnTo>
                  <a:pt x="476" y="0"/>
                </a:lnTo>
                <a:lnTo>
                  <a:pt x="476" y="0"/>
                </a:lnTo>
                <a:lnTo>
                  <a:pt x="476" y="0"/>
                </a:lnTo>
                <a:lnTo>
                  <a:pt x="478" y="0"/>
                </a:lnTo>
                <a:lnTo>
                  <a:pt x="478" y="0"/>
                </a:lnTo>
                <a:lnTo>
                  <a:pt x="478" y="0"/>
                </a:lnTo>
                <a:lnTo>
                  <a:pt x="478" y="0"/>
                </a:lnTo>
                <a:lnTo>
                  <a:pt x="479" y="0"/>
                </a:lnTo>
                <a:lnTo>
                  <a:pt x="479" y="0"/>
                </a:lnTo>
                <a:lnTo>
                  <a:pt x="479" y="0"/>
                </a:lnTo>
                <a:lnTo>
                  <a:pt x="479" y="0"/>
                </a:lnTo>
                <a:lnTo>
                  <a:pt x="479" y="0"/>
                </a:lnTo>
                <a:lnTo>
                  <a:pt x="480" y="0"/>
                </a:lnTo>
                <a:lnTo>
                  <a:pt x="480" y="0"/>
                </a:lnTo>
                <a:lnTo>
                  <a:pt x="480" y="0"/>
                </a:lnTo>
                <a:lnTo>
                  <a:pt x="480" y="0"/>
                </a:lnTo>
                <a:lnTo>
                  <a:pt x="480" y="0"/>
                </a:lnTo>
                <a:lnTo>
                  <a:pt x="481" y="0"/>
                </a:lnTo>
                <a:lnTo>
                  <a:pt x="481" y="0"/>
                </a:lnTo>
                <a:lnTo>
                  <a:pt x="481" y="0"/>
                </a:lnTo>
                <a:lnTo>
                  <a:pt x="481" y="0"/>
                </a:lnTo>
                <a:lnTo>
                  <a:pt x="481" y="0"/>
                </a:lnTo>
                <a:lnTo>
                  <a:pt x="482" y="0"/>
                </a:lnTo>
                <a:lnTo>
                  <a:pt x="482" y="1"/>
                </a:lnTo>
                <a:lnTo>
                  <a:pt x="482" y="1"/>
                </a:lnTo>
                <a:lnTo>
                  <a:pt x="482" y="1"/>
                </a:lnTo>
                <a:lnTo>
                  <a:pt x="482" y="1"/>
                </a:lnTo>
                <a:lnTo>
                  <a:pt x="483" y="1"/>
                </a:lnTo>
                <a:lnTo>
                  <a:pt x="483" y="1"/>
                </a:lnTo>
                <a:lnTo>
                  <a:pt x="483" y="1"/>
                </a:lnTo>
                <a:lnTo>
                  <a:pt x="483" y="1"/>
                </a:lnTo>
                <a:lnTo>
                  <a:pt x="484" y="1"/>
                </a:lnTo>
                <a:lnTo>
                  <a:pt x="484" y="1"/>
                </a:lnTo>
                <a:lnTo>
                  <a:pt x="484" y="1"/>
                </a:lnTo>
                <a:lnTo>
                  <a:pt x="484" y="1"/>
                </a:lnTo>
                <a:lnTo>
                  <a:pt x="484" y="1"/>
                </a:lnTo>
                <a:lnTo>
                  <a:pt x="485" y="1"/>
                </a:lnTo>
                <a:lnTo>
                  <a:pt x="485" y="1"/>
                </a:lnTo>
                <a:lnTo>
                  <a:pt x="485" y="1"/>
                </a:lnTo>
                <a:lnTo>
                  <a:pt x="485" y="1"/>
                </a:lnTo>
                <a:lnTo>
                  <a:pt x="485" y="1"/>
                </a:lnTo>
                <a:lnTo>
                  <a:pt x="487" y="1"/>
                </a:lnTo>
                <a:lnTo>
                  <a:pt x="487" y="1"/>
                </a:lnTo>
                <a:lnTo>
                  <a:pt x="487" y="1"/>
                </a:lnTo>
                <a:lnTo>
                  <a:pt x="487" y="1"/>
                </a:lnTo>
                <a:lnTo>
                  <a:pt x="487" y="2"/>
                </a:lnTo>
                <a:lnTo>
                  <a:pt x="488" y="2"/>
                </a:lnTo>
                <a:lnTo>
                  <a:pt x="488" y="2"/>
                </a:lnTo>
                <a:lnTo>
                  <a:pt x="488" y="2"/>
                </a:lnTo>
                <a:lnTo>
                  <a:pt x="488" y="2"/>
                </a:lnTo>
                <a:lnTo>
                  <a:pt x="488" y="2"/>
                </a:lnTo>
                <a:lnTo>
                  <a:pt x="488" y="2"/>
                </a:lnTo>
                <a:lnTo>
                  <a:pt x="489" y="2"/>
                </a:lnTo>
                <a:lnTo>
                  <a:pt x="489" y="2"/>
                </a:lnTo>
                <a:lnTo>
                  <a:pt x="489" y="2"/>
                </a:lnTo>
                <a:lnTo>
                  <a:pt x="489" y="2"/>
                </a:lnTo>
                <a:lnTo>
                  <a:pt x="489" y="2"/>
                </a:lnTo>
                <a:lnTo>
                  <a:pt x="490" y="2"/>
                </a:lnTo>
                <a:lnTo>
                  <a:pt x="490" y="2"/>
                </a:lnTo>
                <a:lnTo>
                  <a:pt x="490" y="2"/>
                </a:lnTo>
                <a:lnTo>
                  <a:pt x="490" y="3"/>
                </a:lnTo>
                <a:lnTo>
                  <a:pt x="490" y="3"/>
                </a:lnTo>
                <a:lnTo>
                  <a:pt x="491" y="3"/>
                </a:lnTo>
                <a:lnTo>
                  <a:pt x="491" y="3"/>
                </a:lnTo>
                <a:lnTo>
                  <a:pt x="491" y="3"/>
                </a:lnTo>
                <a:lnTo>
                  <a:pt x="491" y="3"/>
                </a:lnTo>
                <a:lnTo>
                  <a:pt x="491" y="3"/>
                </a:lnTo>
                <a:lnTo>
                  <a:pt x="492" y="3"/>
                </a:lnTo>
                <a:lnTo>
                  <a:pt x="492" y="3"/>
                </a:lnTo>
                <a:lnTo>
                  <a:pt x="492" y="3"/>
                </a:lnTo>
                <a:lnTo>
                  <a:pt x="492" y="3"/>
                </a:lnTo>
                <a:lnTo>
                  <a:pt x="492" y="3"/>
                </a:lnTo>
                <a:lnTo>
                  <a:pt x="492" y="5"/>
                </a:lnTo>
                <a:lnTo>
                  <a:pt x="493" y="5"/>
                </a:lnTo>
                <a:lnTo>
                  <a:pt x="493" y="5"/>
                </a:lnTo>
                <a:lnTo>
                  <a:pt x="493" y="5"/>
                </a:lnTo>
                <a:lnTo>
                  <a:pt x="493" y="5"/>
                </a:lnTo>
                <a:lnTo>
                  <a:pt x="493" y="5"/>
                </a:lnTo>
                <a:lnTo>
                  <a:pt x="494" y="5"/>
                </a:lnTo>
                <a:lnTo>
                  <a:pt x="494" y="5"/>
                </a:lnTo>
                <a:lnTo>
                  <a:pt x="494" y="5"/>
                </a:lnTo>
                <a:lnTo>
                  <a:pt x="494" y="5"/>
                </a:lnTo>
                <a:lnTo>
                  <a:pt x="494" y="5"/>
                </a:lnTo>
                <a:lnTo>
                  <a:pt x="494" y="6"/>
                </a:lnTo>
                <a:lnTo>
                  <a:pt x="496" y="6"/>
                </a:lnTo>
                <a:lnTo>
                  <a:pt x="496" y="6"/>
                </a:lnTo>
                <a:lnTo>
                  <a:pt x="496" y="6"/>
                </a:lnTo>
                <a:lnTo>
                  <a:pt x="496" y="6"/>
                </a:lnTo>
                <a:lnTo>
                  <a:pt x="496" y="6"/>
                </a:lnTo>
                <a:lnTo>
                  <a:pt x="496" y="6"/>
                </a:lnTo>
                <a:lnTo>
                  <a:pt x="497" y="6"/>
                </a:lnTo>
                <a:lnTo>
                  <a:pt x="497" y="6"/>
                </a:lnTo>
                <a:lnTo>
                  <a:pt x="497" y="7"/>
                </a:lnTo>
                <a:lnTo>
                  <a:pt x="497" y="7"/>
                </a:lnTo>
                <a:lnTo>
                  <a:pt x="497" y="7"/>
                </a:lnTo>
                <a:lnTo>
                  <a:pt x="497" y="7"/>
                </a:lnTo>
                <a:lnTo>
                  <a:pt x="498" y="7"/>
                </a:lnTo>
                <a:lnTo>
                  <a:pt x="498" y="7"/>
                </a:lnTo>
                <a:lnTo>
                  <a:pt x="498" y="7"/>
                </a:lnTo>
                <a:lnTo>
                  <a:pt x="498" y="7"/>
                </a:lnTo>
                <a:lnTo>
                  <a:pt x="498" y="7"/>
                </a:lnTo>
                <a:lnTo>
                  <a:pt x="498" y="8"/>
                </a:lnTo>
                <a:lnTo>
                  <a:pt x="499" y="8"/>
                </a:lnTo>
                <a:lnTo>
                  <a:pt x="499" y="8"/>
                </a:lnTo>
                <a:lnTo>
                  <a:pt x="499" y="8"/>
                </a:lnTo>
                <a:lnTo>
                  <a:pt x="499" y="8"/>
                </a:lnTo>
                <a:lnTo>
                  <a:pt x="499" y="8"/>
                </a:lnTo>
                <a:lnTo>
                  <a:pt x="499" y="8"/>
                </a:lnTo>
                <a:lnTo>
                  <a:pt x="500" y="8"/>
                </a:lnTo>
                <a:lnTo>
                  <a:pt x="500" y="9"/>
                </a:lnTo>
                <a:lnTo>
                  <a:pt x="500" y="9"/>
                </a:lnTo>
                <a:lnTo>
                  <a:pt x="500" y="9"/>
                </a:lnTo>
                <a:lnTo>
                  <a:pt x="500" y="9"/>
                </a:lnTo>
                <a:lnTo>
                  <a:pt x="500" y="9"/>
                </a:lnTo>
                <a:lnTo>
                  <a:pt x="500" y="9"/>
                </a:lnTo>
                <a:lnTo>
                  <a:pt x="501" y="9"/>
                </a:lnTo>
                <a:lnTo>
                  <a:pt x="501" y="9"/>
                </a:lnTo>
                <a:lnTo>
                  <a:pt x="501" y="10"/>
                </a:lnTo>
                <a:lnTo>
                  <a:pt x="501" y="10"/>
                </a:lnTo>
                <a:lnTo>
                  <a:pt x="501" y="10"/>
                </a:lnTo>
                <a:lnTo>
                  <a:pt x="501" y="10"/>
                </a:lnTo>
                <a:lnTo>
                  <a:pt x="502" y="10"/>
                </a:lnTo>
                <a:lnTo>
                  <a:pt x="502" y="10"/>
                </a:lnTo>
                <a:lnTo>
                  <a:pt x="502" y="10"/>
                </a:lnTo>
                <a:lnTo>
                  <a:pt x="502" y="11"/>
                </a:lnTo>
                <a:lnTo>
                  <a:pt x="502" y="11"/>
                </a:lnTo>
                <a:lnTo>
                  <a:pt x="502" y="11"/>
                </a:lnTo>
                <a:lnTo>
                  <a:pt x="502" y="11"/>
                </a:lnTo>
                <a:lnTo>
                  <a:pt x="503" y="11"/>
                </a:lnTo>
                <a:lnTo>
                  <a:pt x="503" y="11"/>
                </a:lnTo>
                <a:lnTo>
                  <a:pt x="503" y="11"/>
                </a:lnTo>
                <a:lnTo>
                  <a:pt x="503" y="12"/>
                </a:lnTo>
                <a:lnTo>
                  <a:pt x="503" y="12"/>
                </a:lnTo>
                <a:lnTo>
                  <a:pt x="503" y="12"/>
                </a:lnTo>
                <a:lnTo>
                  <a:pt x="503" y="12"/>
                </a:lnTo>
                <a:lnTo>
                  <a:pt x="505" y="12"/>
                </a:lnTo>
                <a:lnTo>
                  <a:pt x="505" y="12"/>
                </a:lnTo>
                <a:lnTo>
                  <a:pt x="505" y="12"/>
                </a:lnTo>
                <a:lnTo>
                  <a:pt x="505" y="14"/>
                </a:lnTo>
                <a:lnTo>
                  <a:pt x="505" y="14"/>
                </a:lnTo>
                <a:lnTo>
                  <a:pt x="505" y="14"/>
                </a:lnTo>
                <a:lnTo>
                  <a:pt x="505" y="14"/>
                </a:lnTo>
                <a:lnTo>
                  <a:pt x="505" y="14"/>
                </a:lnTo>
                <a:lnTo>
                  <a:pt x="506" y="14"/>
                </a:lnTo>
                <a:lnTo>
                  <a:pt x="506" y="14"/>
                </a:lnTo>
                <a:lnTo>
                  <a:pt x="506" y="15"/>
                </a:lnTo>
                <a:lnTo>
                  <a:pt x="506" y="15"/>
                </a:lnTo>
                <a:lnTo>
                  <a:pt x="506" y="15"/>
                </a:lnTo>
                <a:lnTo>
                  <a:pt x="506" y="15"/>
                </a:lnTo>
                <a:lnTo>
                  <a:pt x="506" y="15"/>
                </a:lnTo>
                <a:lnTo>
                  <a:pt x="506" y="15"/>
                </a:lnTo>
                <a:lnTo>
                  <a:pt x="507" y="16"/>
                </a:lnTo>
                <a:lnTo>
                  <a:pt x="507" y="16"/>
                </a:lnTo>
                <a:lnTo>
                  <a:pt x="507" y="16"/>
                </a:lnTo>
                <a:lnTo>
                  <a:pt x="507" y="16"/>
                </a:lnTo>
                <a:lnTo>
                  <a:pt x="507" y="16"/>
                </a:lnTo>
                <a:lnTo>
                  <a:pt x="507" y="16"/>
                </a:lnTo>
                <a:lnTo>
                  <a:pt x="507" y="17"/>
                </a:lnTo>
                <a:lnTo>
                  <a:pt x="507" y="17"/>
                </a:lnTo>
                <a:lnTo>
                  <a:pt x="507" y="17"/>
                </a:lnTo>
                <a:lnTo>
                  <a:pt x="508" y="17"/>
                </a:lnTo>
                <a:lnTo>
                  <a:pt x="508" y="17"/>
                </a:lnTo>
                <a:lnTo>
                  <a:pt x="508" y="17"/>
                </a:lnTo>
                <a:lnTo>
                  <a:pt x="508" y="18"/>
                </a:lnTo>
                <a:lnTo>
                  <a:pt x="508" y="18"/>
                </a:lnTo>
                <a:lnTo>
                  <a:pt x="508" y="18"/>
                </a:lnTo>
                <a:lnTo>
                  <a:pt x="508" y="18"/>
                </a:lnTo>
                <a:lnTo>
                  <a:pt x="508" y="18"/>
                </a:lnTo>
                <a:lnTo>
                  <a:pt x="508" y="18"/>
                </a:lnTo>
                <a:lnTo>
                  <a:pt x="509" y="19"/>
                </a:lnTo>
                <a:lnTo>
                  <a:pt x="509" y="19"/>
                </a:lnTo>
                <a:lnTo>
                  <a:pt x="509" y="19"/>
                </a:lnTo>
                <a:lnTo>
                  <a:pt x="509" y="19"/>
                </a:lnTo>
                <a:lnTo>
                  <a:pt x="509" y="19"/>
                </a:lnTo>
                <a:lnTo>
                  <a:pt x="509" y="19"/>
                </a:lnTo>
                <a:lnTo>
                  <a:pt x="509" y="20"/>
                </a:lnTo>
                <a:lnTo>
                  <a:pt x="509" y="20"/>
                </a:lnTo>
                <a:lnTo>
                  <a:pt x="509" y="20"/>
                </a:lnTo>
                <a:lnTo>
                  <a:pt x="509" y="20"/>
                </a:lnTo>
                <a:lnTo>
                  <a:pt x="510" y="20"/>
                </a:lnTo>
                <a:lnTo>
                  <a:pt x="510" y="21"/>
                </a:lnTo>
                <a:lnTo>
                  <a:pt x="510" y="21"/>
                </a:lnTo>
                <a:lnTo>
                  <a:pt x="510" y="21"/>
                </a:lnTo>
                <a:lnTo>
                  <a:pt x="510" y="21"/>
                </a:lnTo>
                <a:lnTo>
                  <a:pt x="510" y="21"/>
                </a:lnTo>
                <a:lnTo>
                  <a:pt x="510" y="21"/>
                </a:lnTo>
                <a:lnTo>
                  <a:pt x="510" y="23"/>
                </a:lnTo>
                <a:lnTo>
                  <a:pt x="510" y="23"/>
                </a:lnTo>
                <a:lnTo>
                  <a:pt x="510" y="23"/>
                </a:lnTo>
                <a:lnTo>
                  <a:pt x="510" y="23"/>
                </a:lnTo>
                <a:lnTo>
                  <a:pt x="510" y="23"/>
                </a:lnTo>
                <a:lnTo>
                  <a:pt x="511" y="24"/>
                </a:lnTo>
                <a:lnTo>
                  <a:pt x="511" y="24"/>
                </a:lnTo>
                <a:lnTo>
                  <a:pt x="511" y="24"/>
                </a:lnTo>
                <a:lnTo>
                  <a:pt x="511" y="24"/>
                </a:lnTo>
                <a:lnTo>
                  <a:pt x="511" y="24"/>
                </a:lnTo>
                <a:lnTo>
                  <a:pt x="511" y="24"/>
                </a:lnTo>
                <a:lnTo>
                  <a:pt x="511" y="25"/>
                </a:lnTo>
                <a:lnTo>
                  <a:pt x="511" y="25"/>
                </a:lnTo>
                <a:lnTo>
                  <a:pt x="511" y="25"/>
                </a:lnTo>
                <a:lnTo>
                  <a:pt x="511" y="25"/>
                </a:lnTo>
                <a:lnTo>
                  <a:pt x="511" y="25"/>
                </a:lnTo>
                <a:lnTo>
                  <a:pt x="511" y="26"/>
                </a:lnTo>
                <a:lnTo>
                  <a:pt x="511" y="26"/>
                </a:lnTo>
                <a:lnTo>
                  <a:pt x="512" y="26"/>
                </a:lnTo>
                <a:lnTo>
                  <a:pt x="512" y="26"/>
                </a:lnTo>
                <a:lnTo>
                  <a:pt x="512" y="26"/>
                </a:lnTo>
                <a:lnTo>
                  <a:pt x="512" y="27"/>
                </a:lnTo>
                <a:lnTo>
                  <a:pt x="512" y="27"/>
                </a:lnTo>
                <a:lnTo>
                  <a:pt x="512" y="27"/>
                </a:lnTo>
                <a:lnTo>
                  <a:pt x="512" y="27"/>
                </a:lnTo>
                <a:lnTo>
                  <a:pt x="512" y="27"/>
                </a:lnTo>
                <a:lnTo>
                  <a:pt x="512" y="28"/>
                </a:lnTo>
                <a:lnTo>
                  <a:pt x="512" y="28"/>
                </a:lnTo>
                <a:lnTo>
                  <a:pt x="512" y="28"/>
                </a:lnTo>
                <a:lnTo>
                  <a:pt x="512" y="28"/>
                </a:lnTo>
                <a:lnTo>
                  <a:pt x="512" y="28"/>
                </a:lnTo>
                <a:lnTo>
                  <a:pt x="512" y="29"/>
                </a:lnTo>
                <a:lnTo>
                  <a:pt x="512" y="29"/>
                </a:lnTo>
                <a:lnTo>
                  <a:pt x="512" y="29"/>
                </a:lnTo>
                <a:lnTo>
                  <a:pt x="512" y="29"/>
                </a:lnTo>
                <a:lnTo>
                  <a:pt x="512" y="29"/>
                </a:lnTo>
                <a:lnTo>
                  <a:pt x="512" y="30"/>
                </a:lnTo>
                <a:lnTo>
                  <a:pt x="514" y="30"/>
                </a:lnTo>
                <a:lnTo>
                  <a:pt x="514" y="30"/>
                </a:lnTo>
                <a:lnTo>
                  <a:pt x="514" y="30"/>
                </a:lnTo>
                <a:lnTo>
                  <a:pt x="514" y="30"/>
                </a:lnTo>
                <a:lnTo>
                  <a:pt x="514" y="32"/>
                </a:lnTo>
                <a:lnTo>
                  <a:pt x="514" y="32"/>
                </a:lnTo>
                <a:lnTo>
                  <a:pt x="514" y="32"/>
                </a:lnTo>
                <a:lnTo>
                  <a:pt x="514" y="32"/>
                </a:lnTo>
                <a:lnTo>
                  <a:pt x="514" y="32"/>
                </a:lnTo>
                <a:lnTo>
                  <a:pt x="514" y="33"/>
                </a:lnTo>
                <a:lnTo>
                  <a:pt x="514" y="33"/>
                </a:lnTo>
                <a:lnTo>
                  <a:pt x="514" y="33"/>
                </a:lnTo>
                <a:lnTo>
                  <a:pt x="514" y="33"/>
                </a:lnTo>
                <a:lnTo>
                  <a:pt x="514" y="34"/>
                </a:lnTo>
                <a:lnTo>
                  <a:pt x="514" y="34"/>
                </a:lnTo>
                <a:lnTo>
                  <a:pt x="514" y="34"/>
                </a:lnTo>
                <a:lnTo>
                  <a:pt x="514" y="34"/>
                </a:lnTo>
                <a:lnTo>
                  <a:pt x="514" y="34"/>
                </a:lnTo>
                <a:lnTo>
                  <a:pt x="514" y="35"/>
                </a:lnTo>
                <a:lnTo>
                  <a:pt x="514" y="35"/>
                </a:lnTo>
                <a:lnTo>
                  <a:pt x="514" y="35"/>
                </a:lnTo>
                <a:lnTo>
                  <a:pt x="514" y="35"/>
                </a:lnTo>
                <a:lnTo>
                  <a:pt x="514" y="35"/>
                </a:lnTo>
                <a:lnTo>
                  <a:pt x="514" y="36"/>
                </a:lnTo>
                <a:lnTo>
                  <a:pt x="514" y="36"/>
                </a:lnTo>
                <a:lnTo>
                  <a:pt x="514" y="36"/>
                </a:lnTo>
                <a:lnTo>
                  <a:pt x="514" y="36"/>
                </a:lnTo>
                <a:lnTo>
                  <a:pt x="514" y="36"/>
                </a:lnTo>
                <a:lnTo>
                  <a:pt x="514" y="37"/>
                </a:lnTo>
                <a:lnTo>
                  <a:pt x="514" y="37"/>
                </a:lnTo>
                <a:lnTo>
                  <a:pt x="514" y="37"/>
                </a:lnTo>
                <a:lnTo>
                  <a:pt x="514" y="37"/>
                </a:lnTo>
                <a:lnTo>
                  <a:pt x="514" y="38"/>
                </a:lnTo>
                <a:lnTo>
                  <a:pt x="514" y="38"/>
                </a:lnTo>
                <a:lnTo>
                  <a:pt x="514" y="38"/>
                </a:lnTo>
                <a:lnTo>
                  <a:pt x="514" y="38"/>
                </a:lnTo>
                <a:lnTo>
                  <a:pt x="514" y="38"/>
                </a:lnTo>
                <a:lnTo>
                  <a:pt x="514" y="39"/>
                </a:lnTo>
                <a:lnTo>
                  <a:pt x="514" y="39"/>
                </a:lnTo>
                <a:lnTo>
                  <a:pt x="514" y="39"/>
                </a:lnTo>
                <a:lnTo>
                  <a:pt x="514" y="39"/>
                </a:lnTo>
                <a:lnTo>
                  <a:pt x="514" y="39"/>
                </a:lnTo>
                <a:lnTo>
                  <a:pt x="514" y="41"/>
                </a:lnTo>
                <a:lnTo>
                  <a:pt x="514" y="41"/>
                </a:lnTo>
                <a:lnTo>
                  <a:pt x="514" y="41"/>
                </a:lnTo>
                <a:lnTo>
                  <a:pt x="514" y="41"/>
                </a:lnTo>
                <a:lnTo>
                  <a:pt x="514" y="42"/>
                </a:lnTo>
                <a:lnTo>
                  <a:pt x="514" y="42"/>
                </a:lnTo>
                <a:lnTo>
                  <a:pt x="514" y="42"/>
                </a:lnTo>
                <a:lnTo>
                  <a:pt x="514" y="42"/>
                </a:lnTo>
                <a:lnTo>
                  <a:pt x="514" y="42"/>
                </a:lnTo>
                <a:lnTo>
                  <a:pt x="514" y="43"/>
                </a:lnTo>
                <a:lnTo>
                  <a:pt x="514" y="43"/>
                </a:lnTo>
                <a:lnTo>
                  <a:pt x="514" y="43"/>
                </a:lnTo>
                <a:lnTo>
                  <a:pt x="514" y="43"/>
                </a:lnTo>
                <a:lnTo>
                  <a:pt x="514" y="43"/>
                </a:lnTo>
                <a:lnTo>
                  <a:pt x="514" y="44"/>
                </a:lnTo>
                <a:lnTo>
                  <a:pt x="514" y="44"/>
                </a:lnTo>
                <a:lnTo>
                  <a:pt x="514" y="44"/>
                </a:lnTo>
                <a:lnTo>
                  <a:pt x="514" y="44"/>
                </a:lnTo>
                <a:lnTo>
                  <a:pt x="514" y="44"/>
                </a:lnTo>
                <a:lnTo>
                  <a:pt x="514" y="45"/>
                </a:lnTo>
                <a:lnTo>
                  <a:pt x="514" y="45"/>
                </a:lnTo>
                <a:lnTo>
                  <a:pt x="514" y="45"/>
                </a:lnTo>
                <a:lnTo>
                  <a:pt x="514" y="45"/>
                </a:lnTo>
                <a:lnTo>
                  <a:pt x="512" y="45"/>
                </a:lnTo>
                <a:lnTo>
                  <a:pt x="512" y="46"/>
                </a:lnTo>
                <a:lnTo>
                  <a:pt x="512" y="46"/>
                </a:lnTo>
                <a:lnTo>
                  <a:pt x="512" y="46"/>
                </a:lnTo>
                <a:lnTo>
                  <a:pt x="512" y="46"/>
                </a:lnTo>
                <a:lnTo>
                  <a:pt x="512" y="46"/>
                </a:lnTo>
                <a:lnTo>
                  <a:pt x="512" y="47"/>
                </a:lnTo>
                <a:lnTo>
                  <a:pt x="512" y="47"/>
                </a:lnTo>
                <a:lnTo>
                  <a:pt x="512" y="47"/>
                </a:lnTo>
                <a:lnTo>
                  <a:pt x="512" y="47"/>
                </a:lnTo>
                <a:lnTo>
                  <a:pt x="512" y="47"/>
                </a:lnTo>
                <a:lnTo>
                  <a:pt x="512" y="48"/>
                </a:lnTo>
                <a:lnTo>
                  <a:pt x="512" y="48"/>
                </a:lnTo>
                <a:lnTo>
                  <a:pt x="512" y="48"/>
                </a:lnTo>
                <a:lnTo>
                  <a:pt x="512" y="48"/>
                </a:lnTo>
                <a:lnTo>
                  <a:pt x="512" y="48"/>
                </a:lnTo>
                <a:lnTo>
                  <a:pt x="512" y="50"/>
                </a:lnTo>
                <a:lnTo>
                  <a:pt x="512" y="50"/>
                </a:lnTo>
                <a:lnTo>
                  <a:pt x="512" y="50"/>
                </a:lnTo>
                <a:lnTo>
                  <a:pt x="511" y="50"/>
                </a:lnTo>
                <a:lnTo>
                  <a:pt x="511" y="50"/>
                </a:lnTo>
                <a:lnTo>
                  <a:pt x="511" y="51"/>
                </a:lnTo>
                <a:lnTo>
                  <a:pt x="511" y="51"/>
                </a:lnTo>
                <a:lnTo>
                  <a:pt x="511" y="51"/>
                </a:lnTo>
                <a:lnTo>
                  <a:pt x="511" y="51"/>
                </a:lnTo>
                <a:lnTo>
                  <a:pt x="511" y="51"/>
                </a:lnTo>
                <a:lnTo>
                  <a:pt x="511" y="52"/>
                </a:lnTo>
                <a:lnTo>
                  <a:pt x="511" y="52"/>
                </a:lnTo>
                <a:lnTo>
                  <a:pt x="511" y="52"/>
                </a:lnTo>
                <a:lnTo>
                  <a:pt x="511" y="52"/>
                </a:lnTo>
                <a:lnTo>
                  <a:pt x="511" y="52"/>
                </a:lnTo>
                <a:lnTo>
                  <a:pt x="511" y="53"/>
                </a:lnTo>
                <a:lnTo>
                  <a:pt x="510" y="53"/>
                </a:lnTo>
                <a:lnTo>
                  <a:pt x="510" y="53"/>
                </a:lnTo>
                <a:lnTo>
                  <a:pt x="510" y="53"/>
                </a:lnTo>
                <a:lnTo>
                  <a:pt x="510" y="53"/>
                </a:lnTo>
                <a:lnTo>
                  <a:pt x="510" y="53"/>
                </a:lnTo>
                <a:lnTo>
                  <a:pt x="510" y="54"/>
                </a:lnTo>
                <a:lnTo>
                  <a:pt x="510" y="54"/>
                </a:lnTo>
                <a:lnTo>
                  <a:pt x="510" y="54"/>
                </a:lnTo>
                <a:lnTo>
                  <a:pt x="510" y="54"/>
                </a:lnTo>
                <a:lnTo>
                  <a:pt x="510" y="54"/>
                </a:lnTo>
                <a:lnTo>
                  <a:pt x="510" y="55"/>
                </a:lnTo>
                <a:lnTo>
                  <a:pt x="510" y="55"/>
                </a:lnTo>
                <a:lnTo>
                  <a:pt x="509" y="55"/>
                </a:lnTo>
                <a:lnTo>
                  <a:pt x="509" y="55"/>
                </a:lnTo>
                <a:lnTo>
                  <a:pt x="509" y="55"/>
                </a:lnTo>
                <a:lnTo>
                  <a:pt x="509" y="55"/>
                </a:lnTo>
                <a:lnTo>
                  <a:pt x="509" y="56"/>
                </a:lnTo>
                <a:lnTo>
                  <a:pt x="509" y="56"/>
                </a:lnTo>
                <a:lnTo>
                  <a:pt x="509" y="56"/>
                </a:lnTo>
                <a:lnTo>
                  <a:pt x="509" y="56"/>
                </a:lnTo>
                <a:lnTo>
                  <a:pt x="509" y="56"/>
                </a:lnTo>
                <a:lnTo>
                  <a:pt x="509" y="57"/>
                </a:lnTo>
                <a:lnTo>
                  <a:pt x="508" y="57"/>
                </a:lnTo>
                <a:lnTo>
                  <a:pt x="508" y="57"/>
                </a:lnTo>
                <a:lnTo>
                  <a:pt x="508" y="57"/>
                </a:lnTo>
                <a:lnTo>
                  <a:pt x="508" y="57"/>
                </a:lnTo>
                <a:lnTo>
                  <a:pt x="508" y="57"/>
                </a:lnTo>
                <a:lnTo>
                  <a:pt x="508" y="59"/>
                </a:lnTo>
                <a:lnTo>
                  <a:pt x="508" y="59"/>
                </a:lnTo>
                <a:lnTo>
                  <a:pt x="508" y="59"/>
                </a:lnTo>
                <a:lnTo>
                  <a:pt x="508" y="59"/>
                </a:lnTo>
                <a:lnTo>
                  <a:pt x="507" y="59"/>
                </a:lnTo>
                <a:lnTo>
                  <a:pt x="507" y="59"/>
                </a:lnTo>
                <a:lnTo>
                  <a:pt x="507" y="60"/>
                </a:lnTo>
                <a:lnTo>
                  <a:pt x="507" y="60"/>
                </a:lnTo>
                <a:lnTo>
                  <a:pt x="507" y="60"/>
                </a:lnTo>
                <a:lnTo>
                  <a:pt x="507" y="60"/>
                </a:lnTo>
                <a:lnTo>
                  <a:pt x="507" y="60"/>
                </a:lnTo>
                <a:lnTo>
                  <a:pt x="507" y="60"/>
                </a:lnTo>
                <a:lnTo>
                  <a:pt x="507" y="61"/>
                </a:lnTo>
                <a:lnTo>
                  <a:pt x="506" y="61"/>
                </a:lnTo>
                <a:lnTo>
                  <a:pt x="506" y="61"/>
                </a:lnTo>
                <a:lnTo>
                  <a:pt x="506" y="61"/>
                </a:lnTo>
                <a:lnTo>
                  <a:pt x="506" y="61"/>
                </a:lnTo>
                <a:lnTo>
                  <a:pt x="506" y="61"/>
                </a:lnTo>
                <a:lnTo>
                  <a:pt x="506" y="61"/>
                </a:lnTo>
                <a:lnTo>
                  <a:pt x="506" y="62"/>
                </a:lnTo>
                <a:lnTo>
                  <a:pt x="506" y="62"/>
                </a:lnTo>
                <a:lnTo>
                  <a:pt x="505" y="62"/>
                </a:lnTo>
                <a:lnTo>
                  <a:pt x="505" y="62"/>
                </a:lnTo>
                <a:lnTo>
                  <a:pt x="505" y="62"/>
                </a:lnTo>
                <a:lnTo>
                  <a:pt x="505" y="62"/>
                </a:lnTo>
                <a:lnTo>
                  <a:pt x="505" y="63"/>
                </a:lnTo>
                <a:lnTo>
                  <a:pt x="505" y="63"/>
                </a:lnTo>
                <a:lnTo>
                  <a:pt x="505" y="63"/>
                </a:lnTo>
                <a:lnTo>
                  <a:pt x="505" y="63"/>
                </a:lnTo>
                <a:lnTo>
                  <a:pt x="503" y="63"/>
                </a:lnTo>
                <a:lnTo>
                  <a:pt x="503" y="63"/>
                </a:lnTo>
                <a:lnTo>
                  <a:pt x="503" y="63"/>
                </a:lnTo>
                <a:lnTo>
                  <a:pt x="503" y="64"/>
                </a:lnTo>
                <a:lnTo>
                  <a:pt x="503" y="64"/>
                </a:lnTo>
                <a:lnTo>
                  <a:pt x="503" y="64"/>
                </a:lnTo>
                <a:lnTo>
                  <a:pt x="503" y="64"/>
                </a:lnTo>
                <a:lnTo>
                  <a:pt x="502" y="64"/>
                </a:lnTo>
                <a:lnTo>
                  <a:pt x="502" y="64"/>
                </a:lnTo>
                <a:lnTo>
                  <a:pt x="502" y="64"/>
                </a:lnTo>
                <a:lnTo>
                  <a:pt x="502" y="65"/>
                </a:lnTo>
                <a:lnTo>
                  <a:pt x="502" y="65"/>
                </a:lnTo>
                <a:lnTo>
                  <a:pt x="502" y="65"/>
                </a:lnTo>
                <a:lnTo>
                  <a:pt x="502" y="65"/>
                </a:lnTo>
                <a:lnTo>
                  <a:pt x="501" y="65"/>
                </a:lnTo>
                <a:lnTo>
                  <a:pt x="501" y="65"/>
                </a:lnTo>
                <a:lnTo>
                  <a:pt x="501" y="65"/>
                </a:lnTo>
                <a:lnTo>
                  <a:pt x="501" y="66"/>
                </a:lnTo>
                <a:lnTo>
                  <a:pt x="501" y="66"/>
                </a:lnTo>
                <a:lnTo>
                  <a:pt x="501" y="66"/>
                </a:lnTo>
                <a:lnTo>
                  <a:pt x="500" y="66"/>
                </a:lnTo>
                <a:lnTo>
                  <a:pt x="500" y="66"/>
                </a:lnTo>
                <a:lnTo>
                  <a:pt x="500" y="66"/>
                </a:lnTo>
                <a:lnTo>
                  <a:pt x="500" y="66"/>
                </a:lnTo>
                <a:lnTo>
                  <a:pt x="500" y="66"/>
                </a:lnTo>
                <a:lnTo>
                  <a:pt x="500" y="68"/>
                </a:lnTo>
                <a:lnTo>
                  <a:pt x="500" y="68"/>
                </a:lnTo>
                <a:lnTo>
                  <a:pt x="499" y="68"/>
                </a:lnTo>
                <a:lnTo>
                  <a:pt x="499" y="68"/>
                </a:lnTo>
                <a:lnTo>
                  <a:pt x="499" y="68"/>
                </a:lnTo>
                <a:lnTo>
                  <a:pt x="499" y="68"/>
                </a:lnTo>
                <a:lnTo>
                  <a:pt x="499" y="68"/>
                </a:lnTo>
                <a:lnTo>
                  <a:pt x="499" y="68"/>
                </a:lnTo>
                <a:lnTo>
                  <a:pt x="498" y="69"/>
                </a:lnTo>
                <a:lnTo>
                  <a:pt x="498" y="69"/>
                </a:lnTo>
                <a:lnTo>
                  <a:pt x="498" y="69"/>
                </a:lnTo>
                <a:lnTo>
                  <a:pt x="498" y="69"/>
                </a:lnTo>
                <a:lnTo>
                  <a:pt x="498" y="69"/>
                </a:lnTo>
                <a:lnTo>
                  <a:pt x="498" y="69"/>
                </a:lnTo>
                <a:lnTo>
                  <a:pt x="497" y="69"/>
                </a:lnTo>
                <a:lnTo>
                  <a:pt x="497" y="69"/>
                </a:lnTo>
                <a:lnTo>
                  <a:pt x="497" y="69"/>
                </a:lnTo>
                <a:lnTo>
                  <a:pt x="497" y="70"/>
                </a:lnTo>
                <a:lnTo>
                  <a:pt x="497" y="70"/>
                </a:lnTo>
                <a:lnTo>
                  <a:pt x="497" y="70"/>
                </a:lnTo>
                <a:lnTo>
                  <a:pt x="496" y="70"/>
                </a:lnTo>
                <a:lnTo>
                  <a:pt x="496" y="70"/>
                </a:lnTo>
                <a:lnTo>
                  <a:pt x="496" y="70"/>
                </a:lnTo>
                <a:lnTo>
                  <a:pt x="496" y="70"/>
                </a:lnTo>
                <a:lnTo>
                  <a:pt x="496" y="70"/>
                </a:lnTo>
                <a:lnTo>
                  <a:pt x="496" y="70"/>
                </a:lnTo>
                <a:lnTo>
                  <a:pt x="494" y="71"/>
                </a:lnTo>
                <a:lnTo>
                  <a:pt x="494" y="71"/>
                </a:lnTo>
                <a:lnTo>
                  <a:pt x="494" y="71"/>
                </a:lnTo>
                <a:lnTo>
                  <a:pt x="494" y="71"/>
                </a:lnTo>
                <a:lnTo>
                  <a:pt x="494" y="71"/>
                </a:lnTo>
                <a:lnTo>
                  <a:pt x="494" y="71"/>
                </a:lnTo>
                <a:lnTo>
                  <a:pt x="493" y="71"/>
                </a:lnTo>
                <a:lnTo>
                  <a:pt x="493" y="71"/>
                </a:lnTo>
                <a:lnTo>
                  <a:pt x="493" y="71"/>
                </a:lnTo>
                <a:lnTo>
                  <a:pt x="493" y="71"/>
                </a:lnTo>
                <a:lnTo>
                  <a:pt x="493" y="71"/>
                </a:lnTo>
                <a:lnTo>
                  <a:pt x="492" y="72"/>
                </a:lnTo>
                <a:lnTo>
                  <a:pt x="492" y="72"/>
                </a:lnTo>
                <a:lnTo>
                  <a:pt x="492" y="72"/>
                </a:lnTo>
                <a:lnTo>
                  <a:pt x="492" y="72"/>
                </a:lnTo>
                <a:lnTo>
                  <a:pt x="492" y="72"/>
                </a:lnTo>
                <a:lnTo>
                  <a:pt x="492" y="72"/>
                </a:lnTo>
                <a:lnTo>
                  <a:pt x="491" y="72"/>
                </a:lnTo>
                <a:lnTo>
                  <a:pt x="491" y="72"/>
                </a:lnTo>
                <a:lnTo>
                  <a:pt x="491" y="72"/>
                </a:lnTo>
                <a:lnTo>
                  <a:pt x="491" y="72"/>
                </a:lnTo>
                <a:lnTo>
                  <a:pt x="491" y="72"/>
                </a:lnTo>
                <a:lnTo>
                  <a:pt x="490" y="72"/>
                </a:lnTo>
                <a:lnTo>
                  <a:pt x="490" y="73"/>
                </a:lnTo>
                <a:lnTo>
                  <a:pt x="490" y="73"/>
                </a:lnTo>
                <a:lnTo>
                  <a:pt x="490" y="73"/>
                </a:lnTo>
                <a:lnTo>
                  <a:pt x="490" y="73"/>
                </a:lnTo>
                <a:lnTo>
                  <a:pt x="489" y="73"/>
                </a:lnTo>
                <a:lnTo>
                  <a:pt x="489" y="73"/>
                </a:lnTo>
                <a:lnTo>
                  <a:pt x="489" y="73"/>
                </a:lnTo>
                <a:lnTo>
                  <a:pt x="489" y="73"/>
                </a:lnTo>
                <a:lnTo>
                  <a:pt x="489" y="73"/>
                </a:lnTo>
                <a:lnTo>
                  <a:pt x="488" y="73"/>
                </a:lnTo>
                <a:lnTo>
                  <a:pt x="488" y="73"/>
                </a:lnTo>
                <a:lnTo>
                  <a:pt x="488" y="73"/>
                </a:lnTo>
                <a:lnTo>
                  <a:pt x="488" y="73"/>
                </a:lnTo>
                <a:lnTo>
                  <a:pt x="488" y="73"/>
                </a:lnTo>
                <a:lnTo>
                  <a:pt x="488" y="74"/>
                </a:lnTo>
                <a:lnTo>
                  <a:pt x="487" y="74"/>
                </a:lnTo>
                <a:lnTo>
                  <a:pt x="487" y="74"/>
                </a:lnTo>
                <a:lnTo>
                  <a:pt x="487" y="74"/>
                </a:lnTo>
                <a:lnTo>
                  <a:pt x="487" y="74"/>
                </a:lnTo>
                <a:lnTo>
                  <a:pt x="487" y="74"/>
                </a:lnTo>
                <a:lnTo>
                  <a:pt x="485" y="74"/>
                </a:lnTo>
                <a:lnTo>
                  <a:pt x="485" y="74"/>
                </a:lnTo>
                <a:lnTo>
                  <a:pt x="485" y="74"/>
                </a:lnTo>
                <a:lnTo>
                  <a:pt x="485" y="74"/>
                </a:lnTo>
                <a:lnTo>
                  <a:pt x="485" y="74"/>
                </a:lnTo>
                <a:lnTo>
                  <a:pt x="484" y="74"/>
                </a:lnTo>
                <a:lnTo>
                  <a:pt x="484" y="74"/>
                </a:lnTo>
                <a:lnTo>
                  <a:pt x="484" y="74"/>
                </a:lnTo>
                <a:lnTo>
                  <a:pt x="484" y="74"/>
                </a:lnTo>
                <a:lnTo>
                  <a:pt x="484" y="74"/>
                </a:lnTo>
                <a:lnTo>
                  <a:pt x="483" y="74"/>
                </a:lnTo>
                <a:lnTo>
                  <a:pt x="483" y="74"/>
                </a:lnTo>
                <a:lnTo>
                  <a:pt x="483" y="74"/>
                </a:lnTo>
                <a:lnTo>
                  <a:pt x="483" y="74"/>
                </a:lnTo>
                <a:lnTo>
                  <a:pt x="482" y="74"/>
                </a:lnTo>
                <a:lnTo>
                  <a:pt x="482" y="74"/>
                </a:lnTo>
                <a:lnTo>
                  <a:pt x="482" y="76"/>
                </a:lnTo>
                <a:lnTo>
                  <a:pt x="482" y="76"/>
                </a:lnTo>
                <a:lnTo>
                  <a:pt x="482" y="76"/>
                </a:lnTo>
                <a:lnTo>
                  <a:pt x="481" y="76"/>
                </a:lnTo>
                <a:lnTo>
                  <a:pt x="481" y="76"/>
                </a:lnTo>
                <a:lnTo>
                  <a:pt x="481" y="76"/>
                </a:lnTo>
                <a:lnTo>
                  <a:pt x="481" y="76"/>
                </a:lnTo>
                <a:lnTo>
                  <a:pt x="481" y="76"/>
                </a:lnTo>
                <a:lnTo>
                  <a:pt x="480" y="76"/>
                </a:lnTo>
                <a:lnTo>
                  <a:pt x="480" y="76"/>
                </a:lnTo>
                <a:lnTo>
                  <a:pt x="480" y="76"/>
                </a:lnTo>
                <a:lnTo>
                  <a:pt x="480" y="76"/>
                </a:lnTo>
                <a:lnTo>
                  <a:pt x="480" y="76"/>
                </a:lnTo>
                <a:lnTo>
                  <a:pt x="479" y="76"/>
                </a:lnTo>
                <a:lnTo>
                  <a:pt x="479" y="76"/>
                </a:lnTo>
                <a:lnTo>
                  <a:pt x="479" y="76"/>
                </a:lnTo>
                <a:lnTo>
                  <a:pt x="479" y="76"/>
                </a:lnTo>
                <a:lnTo>
                  <a:pt x="479" y="76"/>
                </a:lnTo>
                <a:lnTo>
                  <a:pt x="478" y="76"/>
                </a:lnTo>
                <a:lnTo>
                  <a:pt x="478" y="76"/>
                </a:lnTo>
                <a:lnTo>
                  <a:pt x="478" y="76"/>
                </a:lnTo>
                <a:lnTo>
                  <a:pt x="478" y="76"/>
                </a:lnTo>
                <a:lnTo>
                  <a:pt x="476" y="76"/>
                </a:lnTo>
                <a:lnTo>
                  <a:pt x="476" y="76"/>
                </a:lnTo>
                <a:lnTo>
                  <a:pt x="476" y="76"/>
                </a:lnTo>
                <a:lnTo>
                  <a:pt x="476" y="76"/>
                </a:lnTo>
                <a:lnTo>
                  <a:pt x="476" y="76"/>
                </a:lnTo>
                <a:lnTo>
                  <a:pt x="475" y="76"/>
                </a:lnTo>
                <a:lnTo>
                  <a:pt x="475" y="76"/>
                </a:lnTo>
                <a:lnTo>
                  <a:pt x="475" y="76"/>
                </a:lnTo>
                <a:lnTo>
                  <a:pt x="475" y="76"/>
                </a:lnTo>
                <a:lnTo>
                  <a:pt x="475" y="76"/>
                </a:lnTo>
                <a:lnTo>
                  <a:pt x="474" y="76"/>
                </a:lnTo>
                <a:lnTo>
                  <a:pt x="474" y="76"/>
                </a:lnTo>
                <a:lnTo>
                  <a:pt x="474" y="76"/>
                </a:lnTo>
                <a:lnTo>
                  <a:pt x="474" y="76"/>
                </a:lnTo>
                <a:lnTo>
                  <a:pt x="473" y="76"/>
                </a:lnTo>
                <a:lnTo>
                  <a:pt x="473" y="76"/>
                </a:lnTo>
                <a:lnTo>
                  <a:pt x="473" y="76"/>
                </a:lnTo>
                <a:lnTo>
                  <a:pt x="473" y="76"/>
                </a:lnTo>
                <a:lnTo>
                  <a:pt x="473" y="76"/>
                </a:lnTo>
                <a:lnTo>
                  <a:pt x="472" y="76"/>
                </a:lnTo>
                <a:lnTo>
                  <a:pt x="472" y="76"/>
                </a:lnTo>
                <a:lnTo>
                  <a:pt x="472" y="76"/>
                </a:lnTo>
                <a:lnTo>
                  <a:pt x="472" y="76"/>
                </a:lnTo>
                <a:lnTo>
                  <a:pt x="472" y="76"/>
                </a:lnTo>
                <a:lnTo>
                  <a:pt x="471" y="76"/>
                </a:lnTo>
                <a:lnTo>
                  <a:pt x="471" y="76"/>
                </a:lnTo>
                <a:lnTo>
                  <a:pt x="471" y="76"/>
                </a:lnTo>
                <a:lnTo>
                  <a:pt x="471" y="76"/>
                </a:lnTo>
                <a:lnTo>
                  <a:pt x="471" y="76"/>
                </a:lnTo>
                <a:lnTo>
                  <a:pt x="470" y="74"/>
                </a:lnTo>
                <a:lnTo>
                  <a:pt x="470" y="74"/>
                </a:lnTo>
                <a:lnTo>
                  <a:pt x="470" y="74"/>
                </a:lnTo>
                <a:lnTo>
                  <a:pt x="470" y="74"/>
                </a:lnTo>
                <a:lnTo>
                  <a:pt x="469" y="74"/>
                </a:lnTo>
                <a:lnTo>
                  <a:pt x="469" y="74"/>
                </a:lnTo>
                <a:lnTo>
                  <a:pt x="469" y="74"/>
                </a:lnTo>
                <a:lnTo>
                  <a:pt x="469" y="74"/>
                </a:lnTo>
                <a:lnTo>
                  <a:pt x="469" y="74"/>
                </a:lnTo>
                <a:lnTo>
                  <a:pt x="467" y="74"/>
                </a:lnTo>
                <a:lnTo>
                  <a:pt x="467" y="74"/>
                </a:lnTo>
                <a:lnTo>
                  <a:pt x="467" y="74"/>
                </a:lnTo>
                <a:lnTo>
                  <a:pt x="467" y="74"/>
                </a:lnTo>
                <a:lnTo>
                  <a:pt x="467" y="74"/>
                </a:lnTo>
                <a:lnTo>
                  <a:pt x="466" y="74"/>
                </a:lnTo>
                <a:lnTo>
                  <a:pt x="466" y="74"/>
                </a:lnTo>
                <a:lnTo>
                  <a:pt x="466" y="74"/>
                </a:lnTo>
                <a:lnTo>
                  <a:pt x="466" y="74"/>
                </a:lnTo>
                <a:lnTo>
                  <a:pt x="466" y="74"/>
                </a:lnTo>
                <a:lnTo>
                  <a:pt x="465" y="74"/>
                </a:lnTo>
                <a:lnTo>
                  <a:pt x="465" y="74"/>
                </a:lnTo>
                <a:lnTo>
                  <a:pt x="465" y="74"/>
                </a:lnTo>
                <a:lnTo>
                  <a:pt x="465" y="73"/>
                </a:lnTo>
                <a:lnTo>
                  <a:pt x="465" y="73"/>
                </a:lnTo>
                <a:lnTo>
                  <a:pt x="464" y="73"/>
                </a:lnTo>
                <a:lnTo>
                  <a:pt x="464" y="73"/>
                </a:lnTo>
                <a:lnTo>
                  <a:pt x="464" y="73"/>
                </a:lnTo>
                <a:lnTo>
                  <a:pt x="464" y="73"/>
                </a:lnTo>
                <a:lnTo>
                  <a:pt x="464" y="73"/>
                </a:lnTo>
                <a:lnTo>
                  <a:pt x="464" y="73"/>
                </a:lnTo>
                <a:lnTo>
                  <a:pt x="463" y="73"/>
                </a:lnTo>
                <a:lnTo>
                  <a:pt x="463" y="73"/>
                </a:lnTo>
                <a:lnTo>
                  <a:pt x="463" y="73"/>
                </a:lnTo>
                <a:lnTo>
                  <a:pt x="463" y="73"/>
                </a:lnTo>
                <a:lnTo>
                  <a:pt x="463" y="73"/>
                </a:lnTo>
                <a:lnTo>
                  <a:pt x="462" y="73"/>
                </a:lnTo>
                <a:lnTo>
                  <a:pt x="462" y="72"/>
                </a:lnTo>
                <a:lnTo>
                  <a:pt x="462" y="72"/>
                </a:lnTo>
                <a:lnTo>
                  <a:pt x="462" y="72"/>
                </a:lnTo>
                <a:lnTo>
                  <a:pt x="462" y="72"/>
                </a:lnTo>
                <a:lnTo>
                  <a:pt x="461" y="72"/>
                </a:lnTo>
                <a:lnTo>
                  <a:pt x="461" y="72"/>
                </a:lnTo>
                <a:lnTo>
                  <a:pt x="461" y="72"/>
                </a:lnTo>
                <a:lnTo>
                  <a:pt x="461" y="72"/>
                </a:lnTo>
                <a:lnTo>
                  <a:pt x="461" y="72"/>
                </a:lnTo>
                <a:lnTo>
                  <a:pt x="461" y="72"/>
                </a:lnTo>
                <a:lnTo>
                  <a:pt x="459" y="72"/>
                </a:lnTo>
                <a:lnTo>
                  <a:pt x="459" y="72"/>
                </a:lnTo>
                <a:lnTo>
                  <a:pt x="459" y="71"/>
                </a:lnTo>
                <a:lnTo>
                  <a:pt x="459" y="71"/>
                </a:lnTo>
                <a:lnTo>
                  <a:pt x="459" y="71"/>
                </a:lnTo>
                <a:lnTo>
                  <a:pt x="458" y="71"/>
                </a:lnTo>
                <a:lnTo>
                  <a:pt x="458" y="71"/>
                </a:lnTo>
                <a:lnTo>
                  <a:pt x="458" y="71"/>
                </a:lnTo>
                <a:lnTo>
                  <a:pt x="458" y="71"/>
                </a:lnTo>
                <a:lnTo>
                  <a:pt x="458" y="71"/>
                </a:lnTo>
                <a:lnTo>
                  <a:pt x="458" y="71"/>
                </a:lnTo>
                <a:lnTo>
                  <a:pt x="457" y="71"/>
                </a:lnTo>
                <a:lnTo>
                  <a:pt x="457" y="71"/>
                </a:lnTo>
                <a:lnTo>
                  <a:pt x="457" y="70"/>
                </a:lnTo>
                <a:lnTo>
                  <a:pt x="457" y="70"/>
                </a:lnTo>
                <a:lnTo>
                  <a:pt x="457" y="70"/>
                </a:lnTo>
                <a:lnTo>
                  <a:pt x="456" y="70"/>
                </a:lnTo>
                <a:lnTo>
                  <a:pt x="456" y="70"/>
                </a:lnTo>
                <a:lnTo>
                  <a:pt x="456" y="70"/>
                </a:lnTo>
                <a:lnTo>
                  <a:pt x="456" y="70"/>
                </a:lnTo>
                <a:lnTo>
                  <a:pt x="456" y="70"/>
                </a:lnTo>
                <a:lnTo>
                  <a:pt x="456" y="70"/>
                </a:lnTo>
                <a:lnTo>
                  <a:pt x="455" y="69"/>
                </a:lnTo>
                <a:lnTo>
                  <a:pt x="455" y="69"/>
                </a:lnTo>
                <a:lnTo>
                  <a:pt x="455" y="69"/>
                </a:lnTo>
                <a:lnTo>
                  <a:pt x="455" y="69"/>
                </a:lnTo>
                <a:lnTo>
                  <a:pt x="455" y="69"/>
                </a:lnTo>
                <a:lnTo>
                  <a:pt x="455" y="69"/>
                </a:lnTo>
                <a:lnTo>
                  <a:pt x="454" y="69"/>
                </a:lnTo>
                <a:lnTo>
                  <a:pt x="454" y="69"/>
                </a:lnTo>
                <a:lnTo>
                  <a:pt x="454" y="69"/>
                </a:lnTo>
                <a:lnTo>
                  <a:pt x="454" y="68"/>
                </a:lnTo>
                <a:lnTo>
                  <a:pt x="454" y="68"/>
                </a:lnTo>
                <a:lnTo>
                  <a:pt x="454" y="68"/>
                </a:lnTo>
                <a:lnTo>
                  <a:pt x="454" y="68"/>
                </a:lnTo>
                <a:lnTo>
                  <a:pt x="453" y="68"/>
                </a:lnTo>
                <a:lnTo>
                  <a:pt x="453" y="68"/>
                </a:lnTo>
                <a:lnTo>
                  <a:pt x="453" y="68"/>
                </a:lnTo>
                <a:lnTo>
                  <a:pt x="453" y="68"/>
                </a:lnTo>
                <a:lnTo>
                  <a:pt x="453" y="66"/>
                </a:lnTo>
                <a:lnTo>
                  <a:pt x="453" y="66"/>
                </a:lnTo>
                <a:lnTo>
                  <a:pt x="452" y="66"/>
                </a:lnTo>
                <a:lnTo>
                  <a:pt x="452" y="66"/>
                </a:lnTo>
                <a:lnTo>
                  <a:pt x="452" y="66"/>
                </a:lnTo>
                <a:lnTo>
                  <a:pt x="452" y="66"/>
                </a:lnTo>
                <a:lnTo>
                  <a:pt x="452" y="66"/>
                </a:lnTo>
                <a:lnTo>
                  <a:pt x="452" y="66"/>
                </a:lnTo>
                <a:lnTo>
                  <a:pt x="452" y="65"/>
                </a:lnTo>
                <a:lnTo>
                  <a:pt x="450" y="65"/>
                </a:lnTo>
                <a:lnTo>
                  <a:pt x="450" y="65"/>
                </a:lnTo>
                <a:lnTo>
                  <a:pt x="450" y="65"/>
                </a:lnTo>
                <a:lnTo>
                  <a:pt x="450" y="65"/>
                </a:lnTo>
                <a:lnTo>
                  <a:pt x="450" y="65"/>
                </a:lnTo>
                <a:lnTo>
                  <a:pt x="450" y="65"/>
                </a:lnTo>
                <a:lnTo>
                  <a:pt x="449" y="64"/>
                </a:lnTo>
                <a:lnTo>
                  <a:pt x="449" y="64"/>
                </a:lnTo>
                <a:lnTo>
                  <a:pt x="449" y="64"/>
                </a:lnTo>
                <a:lnTo>
                  <a:pt x="449" y="64"/>
                </a:lnTo>
                <a:lnTo>
                  <a:pt x="449" y="64"/>
                </a:lnTo>
                <a:lnTo>
                  <a:pt x="449" y="64"/>
                </a:lnTo>
                <a:lnTo>
                  <a:pt x="449" y="64"/>
                </a:lnTo>
                <a:lnTo>
                  <a:pt x="448" y="63"/>
                </a:lnTo>
                <a:lnTo>
                  <a:pt x="448" y="63"/>
                </a:lnTo>
                <a:lnTo>
                  <a:pt x="448" y="63"/>
                </a:lnTo>
                <a:lnTo>
                  <a:pt x="448" y="63"/>
                </a:lnTo>
                <a:lnTo>
                  <a:pt x="448" y="63"/>
                </a:lnTo>
                <a:lnTo>
                  <a:pt x="448" y="63"/>
                </a:lnTo>
                <a:lnTo>
                  <a:pt x="448" y="63"/>
                </a:lnTo>
                <a:lnTo>
                  <a:pt x="448" y="62"/>
                </a:lnTo>
                <a:lnTo>
                  <a:pt x="447" y="62"/>
                </a:lnTo>
                <a:lnTo>
                  <a:pt x="447" y="62"/>
                </a:lnTo>
                <a:lnTo>
                  <a:pt x="447" y="62"/>
                </a:lnTo>
                <a:lnTo>
                  <a:pt x="447" y="62"/>
                </a:lnTo>
                <a:lnTo>
                  <a:pt x="447" y="62"/>
                </a:lnTo>
                <a:lnTo>
                  <a:pt x="447" y="61"/>
                </a:lnTo>
                <a:lnTo>
                  <a:pt x="447" y="61"/>
                </a:lnTo>
                <a:lnTo>
                  <a:pt x="447" y="61"/>
                </a:lnTo>
                <a:lnTo>
                  <a:pt x="446" y="61"/>
                </a:lnTo>
                <a:lnTo>
                  <a:pt x="446" y="61"/>
                </a:lnTo>
                <a:lnTo>
                  <a:pt x="446" y="61"/>
                </a:lnTo>
                <a:lnTo>
                  <a:pt x="446" y="61"/>
                </a:lnTo>
                <a:lnTo>
                  <a:pt x="446" y="60"/>
                </a:lnTo>
                <a:lnTo>
                  <a:pt x="446" y="60"/>
                </a:lnTo>
                <a:lnTo>
                  <a:pt x="446" y="60"/>
                </a:lnTo>
                <a:lnTo>
                  <a:pt x="446" y="60"/>
                </a:lnTo>
                <a:lnTo>
                  <a:pt x="445" y="60"/>
                </a:lnTo>
                <a:lnTo>
                  <a:pt x="445" y="60"/>
                </a:lnTo>
                <a:lnTo>
                  <a:pt x="445" y="59"/>
                </a:lnTo>
                <a:lnTo>
                  <a:pt x="445" y="59"/>
                </a:lnTo>
                <a:lnTo>
                  <a:pt x="445" y="59"/>
                </a:lnTo>
                <a:lnTo>
                  <a:pt x="445" y="59"/>
                </a:lnTo>
                <a:lnTo>
                  <a:pt x="445" y="59"/>
                </a:lnTo>
                <a:lnTo>
                  <a:pt x="445" y="59"/>
                </a:lnTo>
                <a:lnTo>
                  <a:pt x="445" y="57"/>
                </a:lnTo>
                <a:lnTo>
                  <a:pt x="444" y="57"/>
                </a:lnTo>
                <a:lnTo>
                  <a:pt x="444" y="57"/>
                </a:lnTo>
                <a:lnTo>
                  <a:pt x="444" y="57"/>
                </a:lnTo>
                <a:lnTo>
                  <a:pt x="444" y="57"/>
                </a:lnTo>
                <a:lnTo>
                  <a:pt x="444" y="57"/>
                </a:lnTo>
                <a:lnTo>
                  <a:pt x="444" y="56"/>
                </a:lnTo>
                <a:lnTo>
                  <a:pt x="444" y="56"/>
                </a:lnTo>
                <a:lnTo>
                  <a:pt x="444" y="56"/>
                </a:lnTo>
                <a:lnTo>
                  <a:pt x="444" y="56"/>
                </a:lnTo>
                <a:lnTo>
                  <a:pt x="444" y="56"/>
                </a:lnTo>
                <a:lnTo>
                  <a:pt x="443" y="55"/>
                </a:lnTo>
                <a:lnTo>
                  <a:pt x="443" y="55"/>
                </a:lnTo>
                <a:lnTo>
                  <a:pt x="443" y="55"/>
                </a:lnTo>
                <a:lnTo>
                  <a:pt x="443" y="55"/>
                </a:lnTo>
                <a:lnTo>
                  <a:pt x="443" y="55"/>
                </a:lnTo>
                <a:lnTo>
                  <a:pt x="443" y="55"/>
                </a:lnTo>
                <a:lnTo>
                  <a:pt x="443" y="54"/>
                </a:lnTo>
                <a:lnTo>
                  <a:pt x="443" y="54"/>
                </a:lnTo>
                <a:lnTo>
                  <a:pt x="443" y="54"/>
                </a:lnTo>
                <a:lnTo>
                  <a:pt x="443" y="54"/>
                </a:lnTo>
                <a:lnTo>
                  <a:pt x="443" y="54"/>
                </a:lnTo>
                <a:lnTo>
                  <a:pt x="441" y="53"/>
                </a:lnTo>
                <a:lnTo>
                  <a:pt x="441" y="53"/>
                </a:lnTo>
                <a:lnTo>
                  <a:pt x="441" y="53"/>
                </a:lnTo>
                <a:lnTo>
                  <a:pt x="441" y="53"/>
                </a:lnTo>
                <a:lnTo>
                  <a:pt x="441" y="53"/>
                </a:lnTo>
                <a:lnTo>
                  <a:pt x="441" y="53"/>
                </a:lnTo>
                <a:lnTo>
                  <a:pt x="441" y="52"/>
                </a:lnTo>
                <a:lnTo>
                  <a:pt x="441" y="52"/>
                </a:lnTo>
                <a:lnTo>
                  <a:pt x="441" y="52"/>
                </a:lnTo>
                <a:lnTo>
                  <a:pt x="441" y="52"/>
                </a:lnTo>
                <a:lnTo>
                  <a:pt x="441" y="52"/>
                </a:lnTo>
                <a:lnTo>
                  <a:pt x="441" y="51"/>
                </a:lnTo>
                <a:lnTo>
                  <a:pt x="441" y="51"/>
                </a:lnTo>
                <a:lnTo>
                  <a:pt x="440" y="51"/>
                </a:lnTo>
                <a:lnTo>
                  <a:pt x="440" y="51"/>
                </a:lnTo>
                <a:lnTo>
                  <a:pt x="440" y="51"/>
                </a:lnTo>
                <a:lnTo>
                  <a:pt x="440" y="50"/>
                </a:lnTo>
                <a:lnTo>
                  <a:pt x="440" y="50"/>
                </a:lnTo>
                <a:lnTo>
                  <a:pt x="440" y="50"/>
                </a:lnTo>
                <a:lnTo>
                  <a:pt x="440" y="50"/>
                </a:lnTo>
                <a:lnTo>
                  <a:pt x="440" y="50"/>
                </a:lnTo>
                <a:lnTo>
                  <a:pt x="440" y="48"/>
                </a:lnTo>
                <a:lnTo>
                  <a:pt x="440" y="48"/>
                </a:lnTo>
                <a:lnTo>
                  <a:pt x="440" y="48"/>
                </a:lnTo>
                <a:lnTo>
                  <a:pt x="440" y="48"/>
                </a:lnTo>
                <a:lnTo>
                  <a:pt x="440" y="48"/>
                </a:lnTo>
                <a:lnTo>
                  <a:pt x="440" y="47"/>
                </a:lnTo>
                <a:lnTo>
                  <a:pt x="440" y="47"/>
                </a:lnTo>
                <a:lnTo>
                  <a:pt x="440" y="47"/>
                </a:lnTo>
                <a:lnTo>
                  <a:pt x="439" y="47"/>
                </a:lnTo>
                <a:lnTo>
                  <a:pt x="439" y="47"/>
                </a:lnTo>
                <a:lnTo>
                  <a:pt x="439" y="46"/>
                </a:lnTo>
                <a:lnTo>
                  <a:pt x="439" y="46"/>
                </a:lnTo>
                <a:lnTo>
                  <a:pt x="439" y="46"/>
                </a:lnTo>
                <a:lnTo>
                  <a:pt x="439" y="46"/>
                </a:lnTo>
                <a:lnTo>
                  <a:pt x="439" y="46"/>
                </a:lnTo>
                <a:lnTo>
                  <a:pt x="439" y="45"/>
                </a:lnTo>
                <a:lnTo>
                  <a:pt x="439" y="45"/>
                </a:lnTo>
                <a:lnTo>
                  <a:pt x="439" y="45"/>
                </a:lnTo>
                <a:lnTo>
                  <a:pt x="439" y="45"/>
                </a:lnTo>
                <a:lnTo>
                  <a:pt x="439" y="45"/>
                </a:lnTo>
                <a:lnTo>
                  <a:pt x="439" y="44"/>
                </a:lnTo>
                <a:lnTo>
                  <a:pt x="439" y="44"/>
                </a:lnTo>
                <a:lnTo>
                  <a:pt x="439" y="44"/>
                </a:lnTo>
                <a:lnTo>
                  <a:pt x="439" y="44"/>
                </a:lnTo>
                <a:lnTo>
                  <a:pt x="439" y="44"/>
                </a:lnTo>
                <a:lnTo>
                  <a:pt x="439" y="43"/>
                </a:lnTo>
                <a:lnTo>
                  <a:pt x="439" y="43"/>
                </a:lnTo>
                <a:lnTo>
                  <a:pt x="439" y="43"/>
                </a:lnTo>
                <a:lnTo>
                  <a:pt x="439" y="43"/>
                </a:lnTo>
                <a:lnTo>
                  <a:pt x="439" y="43"/>
                </a:lnTo>
                <a:lnTo>
                  <a:pt x="439" y="42"/>
                </a:lnTo>
                <a:lnTo>
                  <a:pt x="439" y="42"/>
                </a:lnTo>
                <a:lnTo>
                  <a:pt x="439" y="42"/>
                </a:lnTo>
                <a:lnTo>
                  <a:pt x="425" y="42"/>
                </a:lnTo>
                <a:lnTo>
                  <a:pt x="425" y="34"/>
                </a:lnTo>
                <a:lnTo>
                  <a:pt x="439" y="34"/>
                </a:lnTo>
                <a:lnTo>
                  <a:pt x="439" y="34"/>
                </a:lnTo>
                <a:close/>
                <a:moveTo>
                  <a:pt x="393" y="34"/>
                </a:moveTo>
                <a:lnTo>
                  <a:pt x="393" y="42"/>
                </a:lnTo>
                <a:lnTo>
                  <a:pt x="377" y="42"/>
                </a:lnTo>
                <a:lnTo>
                  <a:pt x="377" y="34"/>
                </a:lnTo>
                <a:lnTo>
                  <a:pt x="393" y="34"/>
                </a:lnTo>
                <a:lnTo>
                  <a:pt x="393" y="34"/>
                </a:lnTo>
                <a:close/>
                <a:moveTo>
                  <a:pt x="346" y="34"/>
                </a:moveTo>
                <a:lnTo>
                  <a:pt x="346" y="42"/>
                </a:lnTo>
                <a:lnTo>
                  <a:pt x="330" y="42"/>
                </a:lnTo>
                <a:lnTo>
                  <a:pt x="330" y="34"/>
                </a:lnTo>
                <a:lnTo>
                  <a:pt x="346" y="34"/>
                </a:lnTo>
                <a:lnTo>
                  <a:pt x="346" y="34"/>
                </a:lnTo>
                <a:close/>
                <a:moveTo>
                  <a:pt x="299" y="34"/>
                </a:moveTo>
                <a:lnTo>
                  <a:pt x="299" y="42"/>
                </a:lnTo>
                <a:lnTo>
                  <a:pt x="283" y="42"/>
                </a:lnTo>
                <a:lnTo>
                  <a:pt x="283" y="34"/>
                </a:lnTo>
                <a:lnTo>
                  <a:pt x="299" y="34"/>
                </a:lnTo>
                <a:lnTo>
                  <a:pt x="299" y="34"/>
                </a:lnTo>
                <a:close/>
                <a:moveTo>
                  <a:pt x="251" y="34"/>
                </a:moveTo>
                <a:lnTo>
                  <a:pt x="251" y="42"/>
                </a:lnTo>
                <a:lnTo>
                  <a:pt x="235" y="42"/>
                </a:lnTo>
                <a:lnTo>
                  <a:pt x="235" y="34"/>
                </a:lnTo>
                <a:lnTo>
                  <a:pt x="251" y="34"/>
                </a:lnTo>
                <a:lnTo>
                  <a:pt x="251" y="34"/>
                </a:lnTo>
                <a:close/>
                <a:moveTo>
                  <a:pt x="204" y="34"/>
                </a:moveTo>
                <a:lnTo>
                  <a:pt x="204" y="42"/>
                </a:lnTo>
                <a:lnTo>
                  <a:pt x="189" y="42"/>
                </a:lnTo>
                <a:lnTo>
                  <a:pt x="189" y="34"/>
                </a:lnTo>
                <a:lnTo>
                  <a:pt x="204" y="34"/>
                </a:lnTo>
                <a:lnTo>
                  <a:pt x="204" y="34"/>
                </a:lnTo>
                <a:close/>
                <a:moveTo>
                  <a:pt x="158" y="34"/>
                </a:moveTo>
                <a:lnTo>
                  <a:pt x="158" y="42"/>
                </a:lnTo>
                <a:lnTo>
                  <a:pt x="142" y="42"/>
                </a:lnTo>
                <a:lnTo>
                  <a:pt x="142" y="34"/>
                </a:lnTo>
                <a:lnTo>
                  <a:pt x="158" y="34"/>
                </a:lnTo>
                <a:lnTo>
                  <a:pt x="158" y="34"/>
                </a:lnTo>
                <a:close/>
                <a:moveTo>
                  <a:pt x="110" y="34"/>
                </a:moveTo>
                <a:lnTo>
                  <a:pt x="110" y="42"/>
                </a:lnTo>
                <a:lnTo>
                  <a:pt x="95" y="42"/>
                </a:lnTo>
                <a:lnTo>
                  <a:pt x="95" y="34"/>
                </a:lnTo>
                <a:lnTo>
                  <a:pt x="110" y="34"/>
                </a:lnTo>
                <a:lnTo>
                  <a:pt x="110" y="34"/>
                </a:lnTo>
                <a:close/>
                <a:moveTo>
                  <a:pt x="63" y="34"/>
                </a:moveTo>
                <a:lnTo>
                  <a:pt x="63" y="42"/>
                </a:lnTo>
                <a:lnTo>
                  <a:pt x="47" y="42"/>
                </a:lnTo>
                <a:lnTo>
                  <a:pt x="47" y="34"/>
                </a:lnTo>
                <a:lnTo>
                  <a:pt x="63" y="34"/>
                </a:lnTo>
                <a:close/>
              </a:path>
            </a:pathLst>
          </a:custGeom>
          <a:solidFill>
            <a:srgbClr val="8497B0"/>
          </a:solidFill>
          <a:ln>
            <a:solidFill>
              <a:srgbClr val="FFC000"/>
            </a:solidFill>
          </a:ln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1013"/>
          </a:p>
        </p:txBody>
      </p:sp>
      <p:sp>
        <p:nvSpPr>
          <p:cNvPr id="48" name="Freeform 81">
            <a:extLst>
              <a:ext uri="{FF2B5EF4-FFF2-40B4-BE49-F238E27FC236}">
                <a16:creationId xmlns:a16="http://schemas.microsoft.com/office/drawing/2014/main" id="{E42A7D01-C27B-4C21-9A78-5DE4A6C8E2E1}"/>
              </a:ext>
            </a:extLst>
          </p:cNvPr>
          <p:cNvSpPr>
            <a:spLocks noEditPoints="1"/>
          </p:cNvSpPr>
          <p:nvPr/>
        </p:nvSpPr>
        <p:spPr bwMode="auto">
          <a:xfrm>
            <a:off x="1983139" y="4979377"/>
            <a:ext cx="709254" cy="496078"/>
          </a:xfrm>
          <a:custGeom>
            <a:avLst/>
            <a:gdLst>
              <a:gd name="T0" fmla="*/ 603 w 670"/>
              <a:gd name="T1" fmla="*/ 43 h 313"/>
              <a:gd name="T2" fmla="*/ 604 w 670"/>
              <a:gd name="T3" fmla="*/ 48 h 313"/>
              <a:gd name="T4" fmla="*/ 608 w 670"/>
              <a:gd name="T5" fmla="*/ 54 h 313"/>
              <a:gd name="T6" fmla="*/ 611 w 670"/>
              <a:gd name="T7" fmla="*/ 58 h 313"/>
              <a:gd name="T8" fmla="*/ 616 w 670"/>
              <a:gd name="T9" fmla="*/ 63 h 313"/>
              <a:gd name="T10" fmla="*/ 621 w 670"/>
              <a:gd name="T11" fmla="*/ 65 h 313"/>
              <a:gd name="T12" fmla="*/ 627 w 670"/>
              <a:gd name="T13" fmla="*/ 66 h 313"/>
              <a:gd name="T14" fmla="*/ 634 w 670"/>
              <a:gd name="T15" fmla="*/ 67 h 313"/>
              <a:gd name="T16" fmla="*/ 640 w 670"/>
              <a:gd name="T17" fmla="*/ 66 h 313"/>
              <a:gd name="T18" fmla="*/ 646 w 670"/>
              <a:gd name="T19" fmla="*/ 64 h 313"/>
              <a:gd name="T20" fmla="*/ 650 w 670"/>
              <a:gd name="T21" fmla="*/ 61 h 313"/>
              <a:gd name="T22" fmla="*/ 655 w 670"/>
              <a:gd name="T23" fmla="*/ 56 h 313"/>
              <a:gd name="T24" fmla="*/ 658 w 670"/>
              <a:gd name="T25" fmla="*/ 52 h 313"/>
              <a:gd name="T26" fmla="*/ 661 w 670"/>
              <a:gd name="T27" fmla="*/ 45 h 313"/>
              <a:gd name="T28" fmla="*/ 662 w 670"/>
              <a:gd name="T29" fmla="*/ 39 h 313"/>
              <a:gd name="T30" fmla="*/ 662 w 670"/>
              <a:gd name="T31" fmla="*/ 32 h 313"/>
              <a:gd name="T32" fmla="*/ 659 w 670"/>
              <a:gd name="T33" fmla="*/ 27 h 313"/>
              <a:gd name="T34" fmla="*/ 657 w 670"/>
              <a:gd name="T35" fmla="*/ 21 h 313"/>
              <a:gd name="T36" fmla="*/ 653 w 670"/>
              <a:gd name="T37" fmla="*/ 17 h 313"/>
              <a:gd name="T38" fmla="*/ 648 w 670"/>
              <a:gd name="T39" fmla="*/ 12 h 313"/>
              <a:gd name="T40" fmla="*/ 643 w 670"/>
              <a:gd name="T41" fmla="*/ 10 h 313"/>
              <a:gd name="T42" fmla="*/ 637 w 670"/>
              <a:gd name="T43" fmla="*/ 8 h 313"/>
              <a:gd name="T44" fmla="*/ 630 w 670"/>
              <a:gd name="T45" fmla="*/ 8 h 313"/>
              <a:gd name="T46" fmla="*/ 625 w 670"/>
              <a:gd name="T47" fmla="*/ 9 h 313"/>
              <a:gd name="T48" fmla="*/ 619 w 670"/>
              <a:gd name="T49" fmla="*/ 11 h 313"/>
              <a:gd name="T50" fmla="*/ 613 w 670"/>
              <a:gd name="T51" fmla="*/ 14 h 313"/>
              <a:gd name="T52" fmla="*/ 609 w 670"/>
              <a:gd name="T53" fmla="*/ 19 h 313"/>
              <a:gd name="T54" fmla="*/ 605 w 670"/>
              <a:gd name="T55" fmla="*/ 23 h 313"/>
              <a:gd name="T56" fmla="*/ 603 w 670"/>
              <a:gd name="T57" fmla="*/ 29 h 313"/>
              <a:gd name="T58" fmla="*/ 602 w 670"/>
              <a:gd name="T59" fmla="*/ 36 h 313"/>
              <a:gd name="T60" fmla="*/ 627 w 670"/>
              <a:gd name="T61" fmla="*/ 75 h 313"/>
              <a:gd name="T62" fmla="*/ 619 w 670"/>
              <a:gd name="T63" fmla="*/ 73 h 313"/>
              <a:gd name="T64" fmla="*/ 612 w 670"/>
              <a:gd name="T65" fmla="*/ 70 h 313"/>
              <a:gd name="T66" fmla="*/ 607 w 670"/>
              <a:gd name="T67" fmla="*/ 65 h 313"/>
              <a:gd name="T68" fmla="*/ 601 w 670"/>
              <a:gd name="T69" fmla="*/ 59 h 313"/>
              <a:gd name="T70" fmla="*/ 598 w 670"/>
              <a:gd name="T71" fmla="*/ 53 h 313"/>
              <a:gd name="T72" fmla="*/ 595 w 670"/>
              <a:gd name="T73" fmla="*/ 45 h 313"/>
              <a:gd name="T74" fmla="*/ 594 w 670"/>
              <a:gd name="T75" fmla="*/ 37 h 313"/>
              <a:gd name="T76" fmla="*/ 595 w 670"/>
              <a:gd name="T77" fmla="*/ 29 h 313"/>
              <a:gd name="T78" fmla="*/ 598 w 670"/>
              <a:gd name="T79" fmla="*/ 21 h 313"/>
              <a:gd name="T80" fmla="*/ 602 w 670"/>
              <a:gd name="T81" fmla="*/ 14 h 313"/>
              <a:gd name="T82" fmla="*/ 608 w 670"/>
              <a:gd name="T83" fmla="*/ 9 h 313"/>
              <a:gd name="T84" fmla="*/ 613 w 670"/>
              <a:gd name="T85" fmla="*/ 4 h 313"/>
              <a:gd name="T86" fmla="*/ 620 w 670"/>
              <a:gd name="T87" fmla="*/ 2 h 313"/>
              <a:gd name="T88" fmla="*/ 628 w 670"/>
              <a:gd name="T89" fmla="*/ 0 h 313"/>
              <a:gd name="T90" fmla="*/ 637 w 670"/>
              <a:gd name="T91" fmla="*/ 0 h 313"/>
              <a:gd name="T92" fmla="*/ 644 w 670"/>
              <a:gd name="T93" fmla="*/ 2 h 313"/>
              <a:gd name="T94" fmla="*/ 652 w 670"/>
              <a:gd name="T95" fmla="*/ 5 h 313"/>
              <a:gd name="T96" fmla="*/ 657 w 670"/>
              <a:gd name="T97" fmla="*/ 10 h 313"/>
              <a:gd name="T98" fmla="*/ 663 w 670"/>
              <a:gd name="T99" fmla="*/ 15 h 313"/>
              <a:gd name="T100" fmla="*/ 666 w 670"/>
              <a:gd name="T101" fmla="*/ 22 h 313"/>
              <a:gd name="T102" fmla="*/ 668 w 670"/>
              <a:gd name="T103" fmla="*/ 30 h 313"/>
              <a:gd name="T104" fmla="*/ 670 w 670"/>
              <a:gd name="T105" fmla="*/ 38 h 313"/>
              <a:gd name="T106" fmla="*/ 668 w 670"/>
              <a:gd name="T107" fmla="*/ 46 h 313"/>
              <a:gd name="T108" fmla="*/ 666 w 670"/>
              <a:gd name="T109" fmla="*/ 53 h 313"/>
              <a:gd name="T110" fmla="*/ 662 w 670"/>
              <a:gd name="T111" fmla="*/ 59 h 313"/>
              <a:gd name="T112" fmla="*/ 657 w 670"/>
              <a:gd name="T113" fmla="*/ 65 h 313"/>
              <a:gd name="T114" fmla="*/ 650 w 670"/>
              <a:gd name="T115" fmla="*/ 70 h 313"/>
              <a:gd name="T116" fmla="*/ 644 w 670"/>
              <a:gd name="T117" fmla="*/ 73 h 313"/>
              <a:gd name="T118" fmla="*/ 636 w 670"/>
              <a:gd name="T119" fmla="*/ 75 h 313"/>
              <a:gd name="T120" fmla="*/ 628 w 670"/>
              <a:gd name="T121" fmla="*/ 188 h 313"/>
              <a:gd name="T122" fmla="*/ 486 w 670"/>
              <a:gd name="T123" fmla="*/ 313 h 313"/>
              <a:gd name="T124" fmla="*/ 251 w 670"/>
              <a:gd name="T125" fmla="*/ 305 h 3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70" h="313">
                <a:moveTo>
                  <a:pt x="15" y="305"/>
                </a:moveTo>
                <a:lnTo>
                  <a:pt x="15" y="313"/>
                </a:lnTo>
                <a:lnTo>
                  <a:pt x="0" y="313"/>
                </a:lnTo>
                <a:lnTo>
                  <a:pt x="0" y="305"/>
                </a:lnTo>
                <a:lnTo>
                  <a:pt x="15" y="305"/>
                </a:lnTo>
                <a:lnTo>
                  <a:pt x="15" y="305"/>
                </a:lnTo>
                <a:close/>
                <a:moveTo>
                  <a:pt x="602" y="37"/>
                </a:moveTo>
                <a:lnTo>
                  <a:pt x="602" y="38"/>
                </a:lnTo>
                <a:lnTo>
                  <a:pt x="602" y="38"/>
                </a:lnTo>
                <a:lnTo>
                  <a:pt x="602" y="38"/>
                </a:lnTo>
                <a:lnTo>
                  <a:pt x="602" y="38"/>
                </a:lnTo>
                <a:lnTo>
                  <a:pt x="602" y="38"/>
                </a:lnTo>
                <a:lnTo>
                  <a:pt x="602" y="38"/>
                </a:lnTo>
                <a:lnTo>
                  <a:pt x="602" y="39"/>
                </a:lnTo>
                <a:lnTo>
                  <a:pt x="602" y="39"/>
                </a:lnTo>
                <a:lnTo>
                  <a:pt x="602" y="39"/>
                </a:lnTo>
                <a:lnTo>
                  <a:pt x="602" y="39"/>
                </a:lnTo>
                <a:lnTo>
                  <a:pt x="602" y="39"/>
                </a:lnTo>
                <a:lnTo>
                  <a:pt x="602" y="39"/>
                </a:lnTo>
                <a:lnTo>
                  <a:pt x="602" y="40"/>
                </a:lnTo>
                <a:lnTo>
                  <a:pt x="602" y="40"/>
                </a:lnTo>
                <a:lnTo>
                  <a:pt x="602" y="40"/>
                </a:lnTo>
                <a:lnTo>
                  <a:pt x="602" y="40"/>
                </a:lnTo>
                <a:lnTo>
                  <a:pt x="602" y="40"/>
                </a:lnTo>
                <a:lnTo>
                  <a:pt x="602" y="40"/>
                </a:lnTo>
                <a:lnTo>
                  <a:pt x="602" y="41"/>
                </a:lnTo>
                <a:lnTo>
                  <a:pt x="602" y="41"/>
                </a:lnTo>
                <a:lnTo>
                  <a:pt x="602" y="41"/>
                </a:lnTo>
                <a:lnTo>
                  <a:pt x="602" y="41"/>
                </a:lnTo>
                <a:lnTo>
                  <a:pt x="602" y="41"/>
                </a:lnTo>
                <a:lnTo>
                  <a:pt x="602" y="41"/>
                </a:lnTo>
                <a:lnTo>
                  <a:pt x="603" y="43"/>
                </a:lnTo>
                <a:lnTo>
                  <a:pt x="603" y="43"/>
                </a:lnTo>
                <a:lnTo>
                  <a:pt x="603" y="43"/>
                </a:lnTo>
                <a:lnTo>
                  <a:pt x="603" y="43"/>
                </a:lnTo>
                <a:lnTo>
                  <a:pt x="603" y="43"/>
                </a:lnTo>
                <a:lnTo>
                  <a:pt x="603" y="43"/>
                </a:lnTo>
                <a:lnTo>
                  <a:pt x="603" y="44"/>
                </a:lnTo>
                <a:lnTo>
                  <a:pt x="603" y="44"/>
                </a:lnTo>
                <a:lnTo>
                  <a:pt x="603" y="44"/>
                </a:lnTo>
                <a:lnTo>
                  <a:pt x="603" y="44"/>
                </a:lnTo>
                <a:lnTo>
                  <a:pt x="603" y="44"/>
                </a:lnTo>
                <a:lnTo>
                  <a:pt x="603" y="44"/>
                </a:lnTo>
                <a:lnTo>
                  <a:pt x="603" y="45"/>
                </a:lnTo>
                <a:lnTo>
                  <a:pt x="603" y="45"/>
                </a:lnTo>
                <a:lnTo>
                  <a:pt x="603" y="45"/>
                </a:lnTo>
                <a:lnTo>
                  <a:pt x="603" y="45"/>
                </a:lnTo>
                <a:lnTo>
                  <a:pt x="603" y="45"/>
                </a:lnTo>
                <a:lnTo>
                  <a:pt x="603" y="45"/>
                </a:lnTo>
                <a:lnTo>
                  <a:pt x="603" y="45"/>
                </a:lnTo>
                <a:lnTo>
                  <a:pt x="603" y="46"/>
                </a:lnTo>
                <a:lnTo>
                  <a:pt x="603" y="46"/>
                </a:lnTo>
                <a:lnTo>
                  <a:pt x="603" y="46"/>
                </a:lnTo>
                <a:lnTo>
                  <a:pt x="603" y="46"/>
                </a:lnTo>
                <a:lnTo>
                  <a:pt x="603" y="46"/>
                </a:lnTo>
                <a:lnTo>
                  <a:pt x="603" y="46"/>
                </a:lnTo>
                <a:lnTo>
                  <a:pt x="603" y="47"/>
                </a:lnTo>
                <a:lnTo>
                  <a:pt x="604" y="47"/>
                </a:lnTo>
                <a:lnTo>
                  <a:pt x="604" y="47"/>
                </a:lnTo>
                <a:lnTo>
                  <a:pt x="604" y="47"/>
                </a:lnTo>
                <a:lnTo>
                  <a:pt x="604" y="47"/>
                </a:lnTo>
                <a:lnTo>
                  <a:pt x="604" y="47"/>
                </a:lnTo>
                <a:lnTo>
                  <a:pt x="604" y="47"/>
                </a:lnTo>
                <a:lnTo>
                  <a:pt x="604" y="48"/>
                </a:lnTo>
                <a:lnTo>
                  <a:pt x="604" y="48"/>
                </a:lnTo>
                <a:lnTo>
                  <a:pt x="604" y="48"/>
                </a:lnTo>
                <a:lnTo>
                  <a:pt x="604" y="48"/>
                </a:lnTo>
                <a:lnTo>
                  <a:pt x="604" y="48"/>
                </a:lnTo>
                <a:lnTo>
                  <a:pt x="604" y="48"/>
                </a:lnTo>
                <a:lnTo>
                  <a:pt x="604" y="49"/>
                </a:lnTo>
                <a:lnTo>
                  <a:pt x="604" y="49"/>
                </a:lnTo>
                <a:lnTo>
                  <a:pt x="604" y="49"/>
                </a:lnTo>
                <a:lnTo>
                  <a:pt x="604" y="49"/>
                </a:lnTo>
                <a:lnTo>
                  <a:pt x="604" y="49"/>
                </a:lnTo>
                <a:lnTo>
                  <a:pt x="605" y="49"/>
                </a:lnTo>
                <a:lnTo>
                  <a:pt x="605" y="49"/>
                </a:lnTo>
                <a:lnTo>
                  <a:pt x="605" y="50"/>
                </a:lnTo>
                <a:lnTo>
                  <a:pt x="605" y="50"/>
                </a:lnTo>
                <a:lnTo>
                  <a:pt x="605" y="50"/>
                </a:lnTo>
                <a:lnTo>
                  <a:pt x="605" y="50"/>
                </a:lnTo>
                <a:lnTo>
                  <a:pt x="605" y="50"/>
                </a:lnTo>
                <a:lnTo>
                  <a:pt x="605" y="50"/>
                </a:lnTo>
                <a:lnTo>
                  <a:pt x="605" y="50"/>
                </a:lnTo>
                <a:lnTo>
                  <a:pt x="605" y="52"/>
                </a:lnTo>
                <a:lnTo>
                  <a:pt x="605" y="52"/>
                </a:lnTo>
                <a:lnTo>
                  <a:pt x="605" y="52"/>
                </a:lnTo>
                <a:lnTo>
                  <a:pt x="605" y="52"/>
                </a:lnTo>
                <a:lnTo>
                  <a:pt x="605" y="52"/>
                </a:lnTo>
                <a:lnTo>
                  <a:pt x="607" y="52"/>
                </a:lnTo>
                <a:lnTo>
                  <a:pt x="607" y="52"/>
                </a:lnTo>
                <a:lnTo>
                  <a:pt x="607" y="53"/>
                </a:lnTo>
                <a:lnTo>
                  <a:pt x="607" y="53"/>
                </a:lnTo>
                <a:lnTo>
                  <a:pt x="607" y="53"/>
                </a:lnTo>
                <a:lnTo>
                  <a:pt x="607" y="53"/>
                </a:lnTo>
                <a:lnTo>
                  <a:pt x="607" y="53"/>
                </a:lnTo>
                <a:lnTo>
                  <a:pt x="607" y="53"/>
                </a:lnTo>
                <a:lnTo>
                  <a:pt x="607" y="53"/>
                </a:lnTo>
                <a:lnTo>
                  <a:pt x="607" y="53"/>
                </a:lnTo>
                <a:lnTo>
                  <a:pt x="607" y="54"/>
                </a:lnTo>
                <a:lnTo>
                  <a:pt x="607" y="54"/>
                </a:lnTo>
                <a:lnTo>
                  <a:pt x="608" y="54"/>
                </a:lnTo>
                <a:lnTo>
                  <a:pt x="608" y="54"/>
                </a:lnTo>
                <a:lnTo>
                  <a:pt x="608" y="54"/>
                </a:lnTo>
                <a:lnTo>
                  <a:pt x="608" y="54"/>
                </a:lnTo>
                <a:lnTo>
                  <a:pt x="608" y="54"/>
                </a:lnTo>
                <a:lnTo>
                  <a:pt x="608" y="55"/>
                </a:lnTo>
                <a:lnTo>
                  <a:pt x="608" y="55"/>
                </a:lnTo>
                <a:lnTo>
                  <a:pt x="608" y="55"/>
                </a:lnTo>
                <a:lnTo>
                  <a:pt x="608" y="55"/>
                </a:lnTo>
                <a:lnTo>
                  <a:pt x="608" y="55"/>
                </a:lnTo>
                <a:lnTo>
                  <a:pt x="608" y="55"/>
                </a:lnTo>
                <a:lnTo>
                  <a:pt x="609" y="55"/>
                </a:lnTo>
                <a:lnTo>
                  <a:pt x="609" y="55"/>
                </a:lnTo>
                <a:lnTo>
                  <a:pt x="609" y="56"/>
                </a:lnTo>
                <a:lnTo>
                  <a:pt x="609" y="56"/>
                </a:lnTo>
                <a:lnTo>
                  <a:pt x="609" y="56"/>
                </a:lnTo>
                <a:lnTo>
                  <a:pt x="609" y="56"/>
                </a:lnTo>
                <a:lnTo>
                  <a:pt x="609" y="56"/>
                </a:lnTo>
                <a:lnTo>
                  <a:pt x="609" y="56"/>
                </a:lnTo>
                <a:lnTo>
                  <a:pt x="609" y="56"/>
                </a:lnTo>
                <a:lnTo>
                  <a:pt x="609" y="56"/>
                </a:lnTo>
                <a:lnTo>
                  <a:pt x="610" y="57"/>
                </a:lnTo>
                <a:lnTo>
                  <a:pt x="610" y="57"/>
                </a:lnTo>
                <a:lnTo>
                  <a:pt x="610" y="57"/>
                </a:lnTo>
                <a:lnTo>
                  <a:pt x="610" y="57"/>
                </a:lnTo>
                <a:lnTo>
                  <a:pt x="610" y="57"/>
                </a:lnTo>
                <a:lnTo>
                  <a:pt x="610" y="57"/>
                </a:lnTo>
                <a:lnTo>
                  <a:pt x="610" y="57"/>
                </a:lnTo>
                <a:lnTo>
                  <a:pt x="610" y="57"/>
                </a:lnTo>
                <a:lnTo>
                  <a:pt x="610" y="57"/>
                </a:lnTo>
                <a:lnTo>
                  <a:pt x="610" y="58"/>
                </a:lnTo>
                <a:lnTo>
                  <a:pt x="611" y="58"/>
                </a:lnTo>
                <a:lnTo>
                  <a:pt x="611" y="58"/>
                </a:lnTo>
                <a:lnTo>
                  <a:pt x="611" y="58"/>
                </a:lnTo>
                <a:lnTo>
                  <a:pt x="611" y="58"/>
                </a:lnTo>
                <a:lnTo>
                  <a:pt x="611" y="58"/>
                </a:lnTo>
                <a:lnTo>
                  <a:pt x="611" y="58"/>
                </a:lnTo>
                <a:lnTo>
                  <a:pt x="611" y="58"/>
                </a:lnTo>
                <a:lnTo>
                  <a:pt x="611" y="58"/>
                </a:lnTo>
                <a:lnTo>
                  <a:pt x="611" y="59"/>
                </a:lnTo>
                <a:lnTo>
                  <a:pt x="612" y="59"/>
                </a:lnTo>
                <a:lnTo>
                  <a:pt x="612" y="59"/>
                </a:lnTo>
                <a:lnTo>
                  <a:pt x="612" y="59"/>
                </a:lnTo>
                <a:lnTo>
                  <a:pt x="612" y="59"/>
                </a:lnTo>
                <a:lnTo>
                  <a:pt x="612" y="59"/>
                </a:lnTo>
                <a:lnTo>
                  <a:pt x="612" y="59"/>
                </a:lnTo>
                <a:lnTo>
                  <a:pt x="612" y="59"/>
                </a:lnTo>
                <a:lnTo>
                  <a:pt x="612" y="59"/>
                </a:lnTo>
                <a:lnTo>
                  <a:pt x="613" y="61"/>
                </a:lnTo>
                <a:lnTo>
                  <a:pt x="613" y="61"/>
                </a:lnTo>
                <a:lnTo>
                  <a:pt x="613" y="61"/>
                </a:lnTo>
                <a:lnTo>
                  <a:pt x="613" y="61"/>
                </a:lnTo>
                <a:lnTo>
                  <a:pt x="613" y="61"/>
                </a:lnTo>
                <a:lnTo>
                  <a:pt x="613" y="61"/>
                </a:lnTo>
                <a:lnTo>
                  <a:pt x="613" y="61"/>
                </a:lnTo>
                <a:lnTo>
                  <a:pt x="613" y="61"/>
                </a:lnTo>
                <a:lnTo>
                  <a:pt x="614" y="61"/>
                </a:lnTo>
                <a:lnTo>
                  <a:pt x="614" y="61"/>
                </a:lnTo>
                <a:lnTo>
                  <a:pt x="614" y="62"/>
                </a:lnTo>
                <a:lnTo>
                  <a:pt x="614" y="62"/>
                </a:lnTo>
                <a:lnTo>
                  <a:pt x="614" y="62"/>
                </a:lnTo>
                <a:lnTo>
                  <a:pt x="614" y="62"/>
                </a:lnTo>
                <a:lnTo>
                  <a:pt x="614" y="62"/>
                </a:lnTo>
                <a:lnTo>
                  <a:pt x="614" y="62"/>
                </a:lnTo>
                <a:lnTo>
                  <a:pt x="616" y="62"/>
                </a:lnTo>
                <a:lnTo>
                  <a:pt x="616" y="62"/>
                </a:lnTo>
                <a:lnTo>
                  <a:pt x="616" y="62"/>
                </a:lnTo>
                <a:lnTo>
                  <a:pt x="616" y="62"/>
                </a:lnTo>
                <a:lnTo>
                  <a:pt x="616" y="62"/>
                </a:lnTo>
                <a:lnTo>
                  <a:pt x="616" y="63"/>
                </a:lnTo>
                <a:lnTo>
                  <a:pt x="616" y="63"/>
                </a:lnTo>
                <a:lnTo>
                  <a:pt x="616" y="63"/>
                </a:lnTo>
                <a:lnTo>
                  <a:pt x="617" y="63"/>
                </a:lnTo>
                <a:lnTo>
                  <a:pt x="617" y="63"/>
                </a:lnTo>
                <a:lnTo>
                  <a:pt x="617" y="63"/>
                </a:lnTo>
                <a:lnTo>
                  <a:pt x="617" y="63"/>
                </a:lnTo>
                <a:lnTo>
                  <a:pt x="617" y="63"/>
                </a:lnTo>
                <a:lnTo>
                  <a:pt x="617" y="63"/>
                </a:lnTo>
                <a:lnTo>
                  <a:pt x="617" y="63"/>
                </a:lnTo>
                <a:lnTo>
                  <a:pt x="618" y="63"/>
                </a:lnTo>
                <a:lnTo>
                  <a:pt x="618" y="63"/>
                </a:lnTo>
                <a:lnTo>
                  <a:pt x="618" y="64"/>
                </a:lnTo>
                <a:lnTo>
                  <a:pt x="618" y="64"/>
                </a:lnTo>
                <a:lnTo>
                  <a:pt x="618" y="64"/>
                </a:lnTo>
                <a:lnTo>
                  <a:pt x="618" y="64"/>
                </a:lnTo>
                <a:lnTo>
                  <a:pt x="618" y="64"/>
                </a:lnTo>
                <a:lnTo>
                  <a:pt x="619" y="64"/>
                </a:lnTo>
                <a:lnTo>
                  <a:pt x="619" y="64"/>
                </a:lnTo>
                <a:lnTo>
                  <a:pt x="619" y="64"/>
                </a:lnTo>
                <a:lnTo>
                  <a:pt x="619" y="64"/>
                </a:lnTo>
                <a:lnTo>
                  <a:pt x="619" y="64"/>
                </a:lnTo>
                <a:lnTo>
                  <a:pt x="619" y="64"/>
                </a:lnTo>
                <a:lnTo>
                  <a:pt x="619" y="64"/>
                </a:lnTo>
                <a:lnTo>
                  <a:pt x="620" y="64"/>
                </a:lnTo>
                <a:lnTo>
                  <a:pt x="620" y="64"/>
                </a:lnTo>
                <a:lnTo>
                  <a:pt x="620" y="65"/>
                </a:lnTo>
                <a:lnTo>
                  <a:pt x="620" y="65"/>
                </a:lnTo>
                <a:lnTo>
                  <a:pt x="620" y="65"/>
                </a:lnTo>
                <a:lnTo>
                  <a:pt x="620" y="65"/>
                </a:lnTo>
                <a:lnTo>
                  <a:pt x="620" y="65"/>
                </a:lnTo>
                <a:lnTo>
                  <a:pt x="621" y="65"/>
                </a:lnTo>
                <a:lnTo>
                  <a:pt x="621" y="65"/>
                </a:lnTo>
                <a:lnTo>
                  <a:pt x="621" y="65"/>
                </a:lnTo>
                <a:lnTo>
                  <a:pt x="621" y="65"/>
                </a:lnTo>
                <a:lnTo>
                  <a:pt x="621" y="65"/>
                </a:lnTo>
                <a:lnTo>
                  <a:pt x="621" y="65"/>
                </a:lnTo>
                <a:lnTo>
                  <a:pt x="622" y="65"/>
                </a:lnTo>
                <a:lnTo>
                  <a:pt x="622" y="65"/>
                </a:lnTo>
                <a:lnTo>
                  <a:pt x="622" y="65"/>
                </a:lnTo>
                <a:lnTo>
                  <a:pt x="622" y="65"/>
                </a:lnTo>
                <a:lnTo>
                  <a:pt x="622" y="65"/>
                </a:lnTo>
                <a:lnTo>
                  <a:pt x="622" y="65"/>
                </a:lnTo>
                <a:lnTo>
                  <a:pt x="622" y="65"/>
                </a:lnTo>
                <a:lnTo>
                  <a:pt x="623" y="66"/>
                </a:lnTo>
                <a:lnTo>
                  <a:pt x="623" y="66"/>
                </a:lnTo>
                <a:lnTo>
                  <a:pt x="623" y="66"/>
                </a:lnTo>
                <a:lnTo>
                  <a:pt x="623" y="66"/>
                </a:lnTo>
                <a:lnTo>
                  <a:pt x="623" y="66"/>
                </a:lnTo>
                <a:lnTo>
                  <a:pt x="623" y="66"/>
                </a:lnTo>
                <a:lnTo>
                  <a:pt x="625" y="66"/>
                </a:lnTo>
                <a:lnTo>
                  <a:pt x="625" y="66"/>
                </a:lnTo>
                <a:lnTo>
                  <a:pt x="625" y="66"/>
                </a:lnTo>
                <a:lnTo>
                  <a:pt x="625" y="66"/>
                </a:lnTo>
                <a:lnTo>
                  <a:pt x="625" y="66"/>
                </a:lnTo>
                <a:lnTo>
                  <a:pt x="625" y="66"/>
                </a:lnTo>
                <a:lnTo>
                  <a:pt x="625" y="66"/>
                </a:lnTo>
                <a:lnTo>
                  <a:pt x="626" y="66"/>
                </a:lnTo>
                <a:lnTo>
                  <a:pt x="626" y="66"/>
                </a:lnTo>
                <a:lnTo>
                  <a:pt x="626" y="66"/>
                </a:lnTo>
                <a:lnTo>
                  <a:pt x="626" y="66"/>
                </a:lnTo>
                <a:lnTo>
                  <a:pt x="626" y="66"/>
                </a:lnTo>
                <a:lnTo>
                  <a:pt x="626" y="66"/>
                </a:lnTo>
                <a:lnTo>
                  <a:pt x="627" y="66"/>
                </a:lnTo>
                <a:lnTo>
                  <a:pt x="627" y="66"/>
                </a:lnTo>
                <a:lnTo>
                  <a:pt x="627" y="66"/>
                </a:lnTo>
                <a:lnTo>
                  <a:pt x="627" y="66"/>
                </a:lnTo>
                <a:lnTo>
                  <a:pt x="627" y="66"/>
                </a:lnTo>
                <a:lnTo>
                  <a:pt x="627" y="66"/>
                </a:lnTo>
                <a:lnTo>
                  <a:pt x="628" y="66"/>
                </a:lnTo>
                <a:lnTo>
                  <a:pt x="628" y="67"/>
                </a:lnTo>
                <a:lnTo>
                  <a:pt x="628" y="67"/>
                </a:lnTo>
                <a:lnTo>
                  <a:pt x="628" y="67"/>
                </a:lnTo>
                <a:lnTo>
                  <a:pt x="628" y="67"/>
                </a:lnTo>
                <a:lnTo>
                  <a:pt x="628" y="67"/>
                </a:lnTo>
                <a:lnTo>
                  <a:pt x="629" y="67"/>
                </a:lnTo>
                <a:lnTo>
                  <a:pt x="629" y="67"/>
                </a:lnTo>
                <a:lnTo>
                  <a:pt x="629" y="67"/>
                </a:lnTo>
                <a:lnTo>
                  <a:pt x="629" y="67"/>
                </a:lnTo>
                <a:lnTo>
                  <a:pt x="629" y="67"/>
                </a:lnTo>
                <a:lnTo>
                  <a:pt x="629" y="67"/>
                </a:lnTo>
                <a:lnTo>
                  <a:pt x="630" y="67"/>
                </a:lnTo>
                <a:lnTo>
                  <a:pt x="630" y="67"/>
                </a:lnTo>
                <a:lnTo>
                  <a:pt x="630" y="67"/>
                </a:lnTo>
                <a:lnTo>
                  <a:pt x="630" y="67"/>
                </a:lnTo>
                <a:lnTo>
                  <a:pt x="630" y="67"/>
                </a:lnTo>
                <a:lnTo>
                  <a:pt x="630" y="67"/>
                </a:lnTo>
                <a:lnTo>
                  <a:pt x="631" y="67"/>
                </a:lnTo>
                <a:lnTo>
                  <a:pt x="631" y="67"/>
                </a:lnTo>
                <a:lnTo>
                  <a:pt x="631" y="67"/>
                </a:lnTo>
                <a:lnTo>
                  <a:pt x="631" y="67"/>
                </a:lnTo>
                <a:lnTo>
                  <a:pt x="631" y="67"/>
                </a:lnTo>
                <a:lnTo>
                  <a:pt x="631" y="67"/>
                </a:lnTo>
                <a:lnTo>
                  <a:pt x="632" y="67"/>
                </a:lnTo>
                <a:lnTo>
                  <a:pt x="632" y="67"/>
                </a:lnTo>
                <a:lnTo>
                  <a:pt x="632" y="67"/>
                </a:lnTo>
                <a:lnTo>
                  <a:pt x="632" y="67"/>
                </a:lnTo>
                <a:lnTo>
                  <a:pt x="632" y="67"/>
                </a:lnTo>
                <a:lnTo>
                  <a:pt x="632" y="67"/>
                </a:lnTo>
                <a:lnTo>
                  <a:pt x="634" y="67"/>
                </a:lnTo>
                <a:lnTo>
                  <a:pt x="634" y="67"/>
                </a:lnTo>
                <a:lnTo>
                  <a:pt x="634" y="67"/>
                </a:lnTo>
                <a:lnTo>
                  <a:pt x="634" y="67"/>
                </a:lnTo>
                <a:lnTo>
                  <a:pt x="634" y="67"/>
                </a:lnTo>
                <a:lnTo>
                  <a:pt x="634" y="67"/>
                </a:lnTo>
                <a:lnTo>
                  <a:pt x="635" y="67"/>
                </a:lnTo>
                <a:lnTo>
                  <a:pt x="635" y="67"/>
                </a:lnTo>
                <a:lnTo>
                  <a:pt x="635" y="67"/>
                </a:lnTo>
                <a:lnTo>
                  <a:pt x="635" y="67"/>
                </a:lnTo>
                <a:lnTo>
                  <a:pt x="635" y="67"/>
                </a:lnTo>
                <a:lnTo>
                  <a:pt x="635" y="67"/>
                </a:lnTo>
                <a:lnTo>
                  <a:pt x="636" y="67"/>
                </a:lnTo>
                <a:lnTo>
                  <a:pt x="636" y="67"/>
                </a:lnTo>
                <a:lnTo>
                  <a:pt x="636" y="67"/>
                </a:lnTo>
                <a:lnTo>
                  <a:pt x="636" y="67"/>
                </a:lnTo>
                <a:lnTo>
                  <a:pt x="636" y="67"/>
                </a:lnTo>
                <a:lnTo>
                  <a:pt x="636" y="67"/>
                </a:lnTo>
                <a:lnTo>
                  <a:pt x="637" y="66"/>
                </a:lnTo>
                <a:lnTo>
                  <a:pt x="637" y="66"/>
                </a:lnTo>
                <a:lnTo>
                  <a:pt x="637" y="66"/>
                </a:lnTo>
                <a:lnTo>
                  <a:pt x="637" y="66"/>
                </a:lnTo>
                <a:lnTo>
                  <a:pt x="637" y="66"/>
                </a:lnTo>
                <a:lnTo>
                  <a:pt x="637" y="66"/>
                </a:lnTo>
                <a:lnTo>
                  <a:pt x="638" y="66"/>
                </a:lnTo>
                <a:lnTo>
                  <a:pt x="638" y="66"/>
                </a:lnTo>
                <a:lnTo>
                  <a:pt x="638" y="66"/>
                </a:lnTo>
                <a:lnTo>
                  <a:pt x="638" y="66"/>
                </a:lnTo>
                <a:lnTo>
                  <a:pt x="638" y="66"/>
                </a:lnTo>
                <a:lnTo>
                  <a:pt x="638" y="66"/>
                </a:lnTo>
                <a:lnTo>
                  <a:pt x="639" y="66"/>
                </a:lnTo>
                <a:lnTo>
                  <a:pt x="639" y="66"/>
                </a:lnTo>
                <a:lnTo>
                  <a:pt x="639" y="66"/>
                </a:lnTo>
                <a:lnTo>
                  <a:pt x="639" y="66"/>
                </a:lnTo>
                <a:lnTo>
                  <a:pt x="639" y="66"/>
                </a:lnTo>
                <a:lnTo>
                  <a:pt x="639" y="66"/>
                </a:lnTo>
                <a:lnTo>
                  <a:pt x="639" y="66"/>
                </a:lnTo>
                <a:lnTo>
                  <a:pt x="640" y="66"/>
                </a:lnTo>
                <a:lnTo>
                  <a:pt x="640" y="66"/>
                </a:lnTo>
                <a:lnTo>
                  <a:pt x="640" y="66"/>
                </a:lnTo>
                <a:lnTo>
                  <a:pt x="640" y="66"/>
                </a:lnTo>
                <a:lnTo>
                  <a:pt x="640" y="66"/>
                </a:lnTo>
                <a:lnTo>
                  <a:pt x="640" y="66"/>
                </a:lnTo>
                <a:lnTo>
                  <a:pt x="641" y="66"/>
                </a:lnTo>
                <a:lnTo>
                  <a:pt x="641" y="66"/>
                </a:lnTo>
                <a:lnTo>
                  <a:pt x="641" y="65"/>
                </a:lnTo>
                <a:lnTo>
                  <a:pt x="641" y="65"/>
                </a:lnTo>
                <a:lnTo>
                  <a:pt x="641" y="65"/>
                </a:lnTo>
                <a:lnTo>
                  <a:pt x="641" y="65"/>
                </a:lnTo>
                <a:lnTo>
                  <a:pt x="641" y="65"/>
                </a:lnTo>
                <a:lnTo>
                  <a:pt x="643" y="65"/>
                </a:lnTo>
                <a:lnTo>
                  <a:pt x="643" y="65"/>
                </a:lnTo>
                <a:lnTo>
                  <a:pt x="643" y="65"/>
                </a:lnTo>
                <a:lnTo>
                  <a:pt x="643" y="65"/>
                </a:lnTo>
                <a:lnTo>
                  <a:pt x="643" y="65"/>
                </a:lnTo>
                <a:lnTo>
                  <a:pt x="643" y="65"/>
                </a:lnTo>
                <a:lnTo>
                  <a:pt x="644" y="65"/>
                </a:lnTo>
                <a:lnTo>
                  <a:pt x="644" y="65"/>
                </a:lnTo>
                <a:lnTo>
                  <a:pt x="644" y="65"/>
                </a:lnTo>
                <a:lnTo>
                  <a:pt x="644" y="65"/>
                </a:lnTo>
                <a:lnTo>
                  <a:pt x="644" y="65"/>
                </a:lnTo>
                <a:lnTo>
                  <a:pt x="644" y="65"/>
                </a:lnTo>
                <a:lnTo>
                  <a:pt x="644" y="64"/>
                </a:lnTo>
                <a:lnTo>
                  <a:pt x="645" y="64"/>
                </a:lnTo>
                <a:lnTo>
                  <a:pt x="645" y="64"/>
                </a:lnTo>
                <a:lnTo>
                  <a:pt x="645" y="64"/>
                </a:lnTo>
                <a:lnTo>
                  <a:pt x="645" y="64"/>
                </a:lnTo>
                <a:lnTo>
                  <a:pt x="645" y="64"/>
                </a:lnTo>
                <a:lnTo>
                  <a:pt x="645" y="64"/>
                </a:lnTo>
                <a:lnTo>
                  <a:pt x="645" y="64"/>
                </a:lnTo>
                <a:lnTo>
                  <a:pt x="646" y="64"/>
                </a:lnTo>
                <a:lnTo>
                  <a:pt x="646" y="64"/>
                </a:lnTo>
                <a:lnTo>
                  <a:pt x="646" y="64"/>
                </a:lnTo>
                <a:lnTo>
                  <a:pt x="646" y="64"/>
                </a:lnTo>
                <a:lnTo>
                  <a:pt x="646" y="64"/>
                </a:lnTo>
                <a:lnTo>
                  <a:pt x="646" y="64"/>
                </a:lnTo>
                <a:lnTo>
                  <a:pt x="646" y="63"/>
                </a:lnTo>
                <a:lnTo>
                  <a:pt x="647" y="63"/>
                </a:lnTo>
                <a:lnTo>
                  <a:pt x="647" y="63"/>
                </a:lnTo>
                <a:lnTo>
                  <a:pt x="647" y="63"/>
                </a:lnTo>
                <a:lnTo>
                  <a:pt x="647" y="63"/>
                </a:lnTo>
                <a:lnTo>
                  <a:pt x="647" y="63"/>
                </a:lnTo>
                <a:lnTo>
                  <a:pt x="647" y="63"/>
                </a:lnTo>
                <a:lnTo>
                  <a:pt x="647" y="63"/>
                </a:lnTo>
                <a:lnTo>
                  <a:pt x="647" y="63"/>
                </a:lnTo>
                <a:lnTo>
                  <a:pt x="648" y="63"/>
                </a:lnTo>
                <a:lnTo>
                  <a:pt x="648" y="63"/>
                </a:lnTo>
                <a:lnTo>
                  <a:pt x="648" y="63"/>
                </a:lnTo>
                <a:lnTo>
                  <a:pt x="648" y="62"/>
                </a:lnTo>
                <a:lnTo>
                  <a:pt x="648" y="62"/>
                </a:lnTo>
                <a:lnTo>
                  <a:pt x="648" y="62"/>
                </a:lnTo>
                <a:lnTo>
                  <a:pt x="648" y="62"/>
                </a:lnTo>
                <a:lnTo>
                  <a:pt x="649" y="62"/>
                </a:lnTo>
                <a:lnTo>
                  <a:pt x="649" y="62"/>
                </a:lnTo>
                <a:lnTo>
                  <a:pt x="649" y="62"/>
                </a:lnTo>
                <a:lnTo>
                  <a:pt x="649" y="62"/>
                </a:lnTo>
                <a:lnTo>
                  <a:pt x="649" y="62"/>
                </a:lnTo>
                <a:lnTo>
                  <a:pt x="649" y="62"/>
                </a:lnTo>
                <a:lnTo>
                  <a:pt x="649" y="62"/>
                </a:lnTo>
                <a:lnTo>
                  <a:pt x="649" y="61"/>
                </a:lnTo>
                <a:lnTo>
                  <a:pt x="650" y="61"/>
                </a:lnTo>
                <a:lnTo>
                  <a:pt x="650" y="61"/>
                </a:lnTo>
                <a:lnTo>
                  <a:pt x="650" y="61"/>
                </a:lnTo>
                <a:lnTo>
                  <a:pt x="650" y="61"/>
                </a:lnTo>
                <a:lnTo>
                  <a:pt x="650" y="61"/>
                </a:lnTo>
                <a:lnTo>
                  <a:pt x="650" y="61"/>
                </a:lnTo>
                <a:lnTo>
                  <a:pt x="650" y="61"/>
                </a:lnTo>
                <a:lnTo>
                  <a:pt x="650" y="61"/>
                </a:lnTo>
                <a:lnTo>
                  <a:pt x="652" y="61"/>
                </a:lnTo>
                <a:lnTo>
                  <a:pt x="652" y="59"/>
                </a:lnTo>
                <a:lnTo>
                  <a:pt x="652" y="59"/>
                </a:lnTo>
                <a:lnTo>
                  <a:pt x="652" y="59"/>
                </a:lnTo>
                <a:lnTo>
                  <a:pt x="652" y="59"/>
                </a:lnTo>
                <a:lnTo>
                  <a:pt x="652" y="59"/>
                </a:lnTo>
                <a:lnTo>
                  <a:pt x="652" y="59"/>
                </a:lnTo>
                <a:lnTo>
                  <a:pt x="652" y="59"/>
                </a:lnTo>
                <a:lnTo>
                  <a:pt x="653" y="59"/>
                </a:lnTo>
                <a:lnTo>
                  <a:pt x="653" y="59"/>
                </a:lnTo>
                <a:lnTo>
                  <a:pt x="653" y="58"/>
                </a:lnTo>
                <a:lnTo>
                  <a:pt x="653" y="58"/>
                </a:lnTo>
                <a:lnTo>
                  <a:pt x="653" y="58"/>
                </a:lnTo>
                <a:lnTo>
                  <a:pt x="653" y="58"/>
                </a:lnTo>
                <a:lnTo>
                  <a:pt x="653" y="58"/>
                </a:lnTo>
                <a:lnTo>
                  <a:pt x="653" y="58"/>
                </a:lnTo>
                <a:lnTo>
                  <a:pt x="653" y="58"/>
                </a:lnTo>
                <a:lnTo>
                  <a:pt x="654" y="58"/>
                </a:lnTo>
                <a:lnTo>
                  <a:pt x="654" y="58"/>
                </a:lnTo>
                <a:lnTo>
                  <a:pt x="654" y="57"/>
                </a:lnTo>
                <a:lnTo>
                  <a:pt x="654" y="57"/>
                </a:lnTo>
                <a:lnTo>
                  <a:pt x="654" y="57"/>
                </a:lnTo>
                <a:lnTo>
                  <a:pt x="654" y="57"/>
                </a:lnTo>
                <a:lnTo>
                  <a:pt x="654" y="57"/>
                </a:lnTo>
                <a:lnTo>
                  <a:pt x="654" y="57"/>
                </a:lnTo>
                <a:lnTo>
                  <a:pt x="654" y="57"/>
                </a:lnTo>
                <a:lnTo>
                  <a:pt x="654" y="57"/>
                </a:lnTo>
                <a:lnTo>
                  <a:pt x="655" y="57"/>
                </a:lnTo>
                <a:lnTo>
                  <a:pt x="655" y="56"/>
                </a:lnTo>
                <a:lnTo>
                  <a:pt x="655" y="56"/>
                </a:lnTo>
                <a:lnTo>
                  <a:pt x="655" y="56"/>
                </a:lnTo>
                <a:lnTo>
                  <a:pt x="655" y="56"/>
                </a:lnTo>
                <a:lnTo>
                  <a:pt x="655" y="56"/>
                </a:lnTo>
                <a:lnTo>
                  <a:pt x="655" y="56"/>
                </a:lnTo>
                <a:lnTo>
                  <a:pt x="655" y="56"/>
                </a:lnTo>
                <a:lnTo>
                  <a:pt x="655" y="56"/>
                </a:lnTo>
                <a:lnTo>
                  <a:pt x="655" y="55"/>
                </a:lnTo>
                <a:lnTo>
                  <a:pt x="656" y="55"/>
                </a:lnTo>
                <a:lnTo>
                  <a:pt x="656" y="55"/>
                </a:lnTo>
                <a:lnTo>
                  <a:pt x="656" y="55"/>
                </a:lnTo>
                <a:lnTo>
                  <a:pt x="656" y="55"/>
                </a:lnTo>
                <a:lnTo>
                  <a:pt x="656" y="55"/>
                </a:lnTo>
                <a:lnTo>
                  <a:pt x="656" y="55"/>
                </a:lnTo>
                <a:lnTo>
                  <a:pt x="656" y="55"/>
                </a:lnTo>
                <a:lnTo>
                  <a:pt x="656" y="54"/>
                </a:lnTo>
                <a:lnTo>
                  <a:pt x="656" y="54"/>
                </a:lnTo>
                <a:lnTo>
                  <a:pt x="656" y="54"/>
                </a:lnTo>
                <a:lnTo>
                  <a:pt x="657" y="54"/>
                </a:lnTo>
                <a:lnTo>
                  <a:pt x="657" y="54"/>
                </a:lnTo>
                <a:lnTo>
                  <a:pt x="657" y="54"/>
                </a:lnTo>
                <a:lnTo>
                  <a:pt x="657" y="54"/>
                </a:lnTo>
                <a:lnTo>
                  <a:pt x="657" y="53"/>
                </a:lnTo>
                <a:lnTo>
                  <a:pt x="657" y="53"/>
                </a:lnTo>
                <a:lnTo>
                  <a:pt x="657" y="53"/>
                </a:lnTo>
                <a:lnTo>
                  <a:pt x="657" y="53"/>
                </a:lnTo>
                <a:lnTo>
                  <a:pt x="657" y="53"/>
                </a:lnTo>
                <a:lnTo>
                  <a:pt x="657" y="53"/>
                </a:lnTo>
                <a:lnTo>
                  <a:pt x="657" y="53"/>
                </a:lnTo>
                <a:lnTo>
                  <a:pt x="657" y="53"/>
                </a:lnTo>
                <a:lnTo>
                  <a:pt x="658" y="52"/>
                </a:lnTo>
                <a:lnTo>
                  <a:pt x="658" y="52"/>
                </a:lnTo>
                <a:lnTo>
                  <a:pt x="658" y="52"/>
                </a:lnTo>
                <a:lnTo>
                  <a:pt x="658" y="52"/>
                </a:lnTo>
                <a:lnTo>
                  <a:pt x="658" y="52"/>
                </a:lnTo>
                <a:lnTo>
                  <a:pt x="658" y="52"/>
                </a:lnTo>
                <a:lnTo>
                  <a:pt x="658" y="52"/>
                </a:lnTo>
                <a:lnTo>
                  <a:pt x="658" y="50"/>
                </a:lnTo>
                <a:lnTo>
                  <a:pt x="658" y="50"/>
                </a:lnTo>
                <a:lnTo>
                  <a:pt x="658" y="50"/>
                </a:lnTo>
                <a:lnTo>
                  <a:pt x="658" y="50"/>
                </a:lnTo>
                <a:lnTo>
                  <a:pt x="658" y="50"/>
                </a:lnTo>
                <a:lnTo>
                  <a:pt x="658" y="50"/>
                </a:lnTo>
                <a:lnTo>
                  <a:pt x="658" y="50"/>
                </a:lnTo>
                <a:lnTo>
                  <a:pt x="659" y="49"/>
                </a:lnTo>
                <a:lnTo>
                  <a:pt x="659" y="49"/>
                </a:lnTo>
                <a:lnTo>
                  <a:pt x="659" y="49"/>
                </a:lnTo>
                <a:lnTo>
                  <a:pt x="659" y="49"/>
                </a:lnTo>
                <a:lnTo>
                  <a:pt x="659" y="49"/>
                </a:lnTo>
                <a:lnTo>
                  <a:pt x="659" y="49"/>
                </a:lnTo>
                <a:lnTo>
                  <a:pt x="659" y="49"/>
                </a:lnTo>
                <a:lnTo>
                  <a:pt x="659" y="48"/>
                </a:lnTo>
                <a:lnTo>
                  <a:pt x="659" y="48"/>
                </a:lnTo>
                <a:lnTo>
                  <a:pt x="659" y="48"/>
                </a:lnTo>
                <a:lnTo>
                  <a:pt x="659" y="48"/>
                </a:lnTo>
                <a:lnTo>
                  <a:pt x="659" y="48"/>
                </a:lnTo>
                <a:lnTo>
                  <a:pt x="659" y="48"/>
                </a:lnTo>
                <a:lnTo>
                  <a:pt x="659" y="47"/>
                </a:lnTo>
                <a:lnTo>
                  <a:pt x="659" y="47"/>
                </a:lnTo>
                <a:lnTo>
                  <a:pt x="659" y="47"/>
                </a:lnTo>
                <a:lnTo>
                  <a:pt x="659" y="47"/>
                </a:lnTo>
                <a:lnTo>
                  <a:pt x="661" y="47"/>
                </a:lnTo>
                <a:lnTo>
                  <a:pt x="661" y="47"/>
                </a:lnTo>
                <a:lnTo>
                  <a:pt x="661" y="47"/>
                </a:lnTo>
                <a:lnTo>
                  <a:pt x="661" y="46"/>
                </a:lnTo>
                <a:lnTo>
                  <a:pt x="661" y="46"/>
                </a:lnTo>
                <a:lnTo>
                  <a:pt x="661" y="46"/>
                </a:lnTo>
                <a:lnTo>
                  <a:pt x="661" y="46"/>
                </a:lnTo>
                <a:lnTo>
                  <a:pt x="661" y="46"/>
                </a:lnTo>
                <a:lnTo>
                  <a:pt x="661" y="46"/>
                </a:lnTo>
                <a:lnTo>
                  <a:pt x="661" y="45"/>
                </a:lnTo>
                <a:lnTo>
                  <a:pt x="661" y="45"/>
                </a:lnTo>
                <a:lnTo>
                  <a:pt x="661" y="45"/>
                </a:lnTo>
                <a:lnTo>
                  <a:pt x="661" y="45"/>
                </a:lnTo>
                <a:lnTo>
                  <a:pt x="661" y="45"/>
                </a:lnTo>
                <a:lnTo>
                  <a:pt x="661" y="45"/>
                </a:lnTo>
                <a:lnTo>
                  <a:pt x="661" y="45"/>
                </a:lnTo>
                <a:lnTo>
                  <a:pt x="661" y="44"/>
                </a:lnTo>
                <a:lnTo>
                  <a:pt x="661" y="44"/>
                </a:lnTo>
                <a:lnTo>
                  <a:pt x="661" y="44"/>
                </a:lnTo>
                <a:lnTo>
                  <a:pt x="661" y="44"/>
                </a:lnTo>
                <a:lnTo>
                  <a:pt x="661" y="44"/>
                </a:lnTo>
                <a:lnTo>
                  <a:pt x="661" y="44"/>
                </a:lnTo>
                <a:lnTo>
                  <a:pt x="661" y="43"/>
                </a:lnTo>
                <a:lnTo>
                  <a:pt x="661" y="43"/>
                </a:lnTo>
                <a:lnTo>
                  <a:pt x="662" y="43"/>
                </a:lnTo>
                <a:lnTo>
                  <a:pt x="662" y="43"/>
                </a:lnTo>
                <a:lnTo>
                  <a:pt x="662" y="43"/>
                </a:lnTo>
                <a:lnTo>
                  <a:pt x="662" y="43"/>
                </a:lnTo>
                <a:lnTo>
                  <a:pt x="662" y="41"/>
                </a:lnTo>
                <a:lnTo>
                  <a:pt x="662" y="41"/>
                </a:lnTo>
                <a:lnTo>
                  <a:pt x="662" y="41"/>
                </a:lnTo>
                <a:lnTo>
                  <a:pt x="662" y="41"/>
                </a:lnTo>
                <a:lnTo>
                  <a:pt x="662" y="41"/>
                </a:lnTo>
                <a:lnTo>
                  <a:pt x="662" y="41"/>
                </a:lnTo>
                <a:lnTo>
                  <a:pt x="662" y="40"/>
                </a:lnTo>
                <a:lnTo>
                  <a:pt x="662" y="40"/>
                </a:lnTo>
                <a:lnTo>
                  <a:pt x="662" y="40"/>
                </a:lnTo>
                <a:lnTo>
                  <a:pt x="662" y="40"/>
                </a:lnTo>
                <a:lnTo>
                  <a:pt x="662" y="40"/>
                </a:lnTo>
                <a:lnTo>
                  <a:pt x="662" y="40"/>
                </a:lnTo>
                <a:lnTo>
                  <a:pt x="662" y="39"/>
                </a:lnTo>
                <a:lnTo>
                  <a:pt x="662" y="39"/>
                </a:lnTo>
                <a:lnTo>
                  <a:pt x="662" y="39"/>
                </a:lnTo>
                <a:lnTo>
                  <a:pt x="662" y="39"/>
                </a:lnTo>
                <a:lnTo>
                  <a:pt x="662" y="39"/>
                </a:lnTo>
                <a:lnTo>
                  <a:pt x="662" y="39"/>
                </a:lnTo>
                <a:lnTo>
                  <a:pt x="662" y="38"/>
                </a:lnTo>
                <a:lnTo>
                  <a:pt x="662" y="38"/>
                </a:lnTo>
                <a:lnTo>
                  <a:pt x="662" y="38"/>
                </a:lnTo>
                <a:lnTo>
                  <a:pt x="662" y="38"/>
                </a:lnTo>
                <a:lnTo>
                  <a:pt x="662" y="38"/>
                </a:lnTo>
                <a:lnTo>
                  <a:pt x="662" y="38"/>
                </a:lnTo>
                <a:lnTo>
                  <a:pt x="662" y="37"/>
                </a:lnTo>
                <a:lnTo>
                  <a:pt x="662" y="37"/>
                </a:lnTo>
                <a:lnTo>
                  <a:pt x="662" y="37"/>
                </a:lnTo>
                <a:lnTo>
                  <a:pt x="662" y="37"/>
                </a:lnTo>
                <a:lnTo>
                  <a:pt x="662" y="37"/>
                </a:lnTo>
                <a:lnTo>
                  <a:pt x="662" y="37"/>
                </a:lnTo>
                <a:lnTo>
                  <a:pt x="662" y="36"/>
                </a:lnTo>
                <a:lnTo>
                  <a:pt x="662" y="36"/>
                </a:lnTo>
                <a:lnTo>
                  <a:pt x="662" y="36"/>
                </a:lnTo>
                <a:lnTo>
                  <a:pt x="662" y="36"/>
                </a:lnTo>
                <a:lnTo>
                  <a:pt x="662" y="36"/>
                </a:lnTo>
                <a:lnTo>
                  <a:pt x="662" y="36"/>
                </a:lnTo>
                <a:lnTo>
                  <a:pt x="662" y="35"/>
                </a:lnTo>
                <a:lnTo>
                  <a:pt x="662" y="35"/>
                </a:lnTo>
                <a:lnTo>
                  <a:pt x="662" y="35"/>
                </a:lnTo>
                <a:lnTo>
                  <a:pt x="662" y="35"/>
                </a:lnTo>
                <a:lnTo>
                  <a:pt x="662" y="35"/>
                </a:lnTo>
                <a:lnTo>
                  <a:pt x="662" y="35"/>
                </a:lnTo>
                <a:lnTo>
                  <a:pt x="662" y="34"/>
                </a:lnTo>
                <a:lnTo>
                  <a:pt x="662" y="34"/>
                </a:lnTo>
                <a:lnTo>
                  <a:pt x="662" y="34"/>
                </a:lnTo>
                <a:lnTo>
                  <a:pt x="662" y="34"/>
                </a:lnTo>
                <a:lnTo>
                  <a:pt x="662" y="34"/>
                </a:lnTo>
                <a:lnTo>
                  <a:pt x="662" y="34"/>
                </a:lnTo>
                <a:lnTo>
                  <a:pt x="662" y="32"/>
                </a:lnTo>
                <a:lnTo>
                  <a:pt x="662" y="32"/>
                </a:lnTo>
                <a:lnTo>
                  <a:pt x="662" y="32"/>
                </a:lnTo>
                <a:lnTo>
                  <a:pt x="662" y="32"/>
                </a:lnTo>
                <a:lnTo>
                  <a:pt x="662" y="32"/>
                </a:lnTo>
                <a:lnTo>
                  <a:pt x="661" y="32"/>
                </a:lnTo>
                <a:lnTo>
                  <a:pt x="661" y="31"/>
                </a:lnTo>
                <a:lnTo>
                  <a:pt x="661" y="31"/>
                </a:lnTo>
                <a:lnTo>
                  <a:pt x="661" y="31"/>
                </a:lnTo>
                <a:lnTo>
                  <a:pt x="661" y="31"/>
                </a:lnTo>
                <a:lnTo>
                  <a:pt x="661" y="31"/>
                </a:lnTo>
                <a:lnTo>
                  <a:pt x="661" y="31"/>
                </a:lnTo>
                <a:lnTo>
                  <a:pt x="661" y="30"/>
                </a:lnTo>
                <a:lnTo>
                  <a:pt x="661" y="30"/>
                </a:lnTo>
                <a:lnTo>
                  <a:pt x="661" y="30"/>
                </a:lnTo>
                <a:lnTo>
                  <a:pt x="661" y="30"/>
                </a:lnTo>
                <a:lnTo>
                  <a:pt x="661" y="30"/>
                </a:lnTo>
                <a:lnTo>
                  <a:pt x="661" y="30"/>
                </a:lnTo>
                <a:lnTo>
                  <a:pt x="661" y="30"/>
                </a:lnTo>
                <a:lnTo>
                  <a:pt x="661" y="29"/>
                </a:lnTo>
                <a:lnTo>
                  <a:pt x="661" y="29"/>
                </a:lnTo>
                <a:lnTo>
                  <a:pt x="661" y="29"/>
                </a:lnTo>
                <a:lnTo>
                  <a:pt x="661" y="29"/>
                </a:lnTo>
                <a:lnTo>
                  <a:pt x="661" y="29"/>
                </a:lnTo>
                <a:lnTo>
                  <a:pt x="661" y="29"/>
                </a:lnTo>
                <a:lnTo>
                  <a:pt x="661" y="28"/>
                </a:lnTo>
                <a:lnTo>
                  <a:pt x="661" y="28"/>
                </a:lnTo>
                <a:lnTo>
                  <a:pt x="661" y="28"/>
                </a:lnTo>
                <a:lnTo>
                  <a:pt x="661" y="28"/>
                </a:lnTo>
                <a:lnTo>
                  <a:pt x="659" y="28"/>
                </a:lnTo>
                <a:lnTo>
                  <a:pt x="659" y="28"/>
                </a:lnTo>
                <a:lnTo>
                  <a:pt x="659" y="28"/>
                </a:lnTo>
                <a:lnTo>
                  <a:pt x="659" y="27"/>
                </a:lnTo>
                <a:lnTo>
                  <a:pt x="659" y="27"/>
                </a:lnTo>
                <a:lnTo>
                  <a:pt x="659" y="27"/>
                </a:lnTo>
                <a:lnTo>
                  <a:pt x="659" y="27"/>
                </a:lnTo>
                <a:lnTo>
                  <a:pt x="659" y="27"/>
                </a:lnTo>
                <a:lnTo>
                  <a:pt x="659" y="27"/>
                </a:lnTo>
                <a:lnTo>
                  <a:pt x="659" y="26"/>
                </a:lnTo>
                <a:lnTo>
                  <a:pt x="659" y="26"/>
                </a:lnTo>
                <a:lnTo>
                  <a:pt x="659" y="26"/>
                </a:lnTo>
                <a:lnTo>
                  <a:pt x="659" y="26"/>
                </a:lnTo>
                <a:lnTo>
                  <a:pt x="659" y="26"/>
                </a:lnTo>
                <a:lnTo>
                  <a:pt x="659" y="26"/>
                </a:lnTo>
                <a:lnTo>
                  <a:pt x="659" y="26"/>
                </a:lnTo>
                <a:lnTo>
                  <a:pt x="659" y="24"/>
                </a:lnTo>
                <a:lnTo>
                  <a:pt x="658" y="24"/>
                </a:lnTo>
                <a:lnTo>
                  <a:pt x="658" y="24"/>
                </a:lnTo>
                <a:lnTo>
                  <a:pt x="658" y="24"/>
                </a:lnTo>
                <a:lnTo>
                  <a:pt x="658" y="24"/>
                </a:lnTo>
                <a:lnTo>
                  <a:pt x="658" y="24"/>
                </a:lnTo>
                <a:lnTo>
                  <a:pt x="658" y="24"/>
                </a:lnTo>
                <a:lnTo>
                  <a:pt x="658" y="23"/>
                </a:lnTo>
                <a:lnTo>
                  <a:pt x="658" y="23"/>
                </a:lnTo>
                <a:lnTo>
                  <a:pt x="658" y="23"/>
                </a:lnTo>
                <a:lnTo>
                  <a:pt x="658" y="23"/>
                </a:lnTo>
                <a:lnTo>
                  <a:pt x="658" y="23"/>
                </a:lnTo>
                <a:lnTo>
                  <a:pt x="658" y="23"/>
                </a:lnTo>
                <a:lnTo>
                  <a:pt x="658" y="23"/>
                </a:lnTo>
                <a:lnTo>
                  <a:pt x="658" y="22"/>
                </a:lnTo>
                <a:lnTo>
                  <a:pt x="657" y="22"/>
                </a:lnTo>
                <a:lnTo>
                  <a:pt x="657" y="22"/>
                </a:lnTo>
                <a:lnTo>
                  <a:pt x="657" y="22"/>
                </a:lnTo>
                <a:lnTo>
                  <a:pt x="657" y="22"/>
                </a:lnTo>
                <a:lnTo>
                  <a:pt x="657" y="22"/>
                </a:lnTo>
                <a:lnTo>
                  <a:pt x="657" y="22"/>
                </a:lnTo>
                <a:lnTo>
                  <a:pt x="657" y="22"/>
                </a:lnTo>
                <a:lnTo>
                  <a:pt x="657" y="21"/>
                </a:lnTo>
                <a:lnTo>
                  <a:pt x="657" y="21"/>
                </a:lnTo>
                <a:lnTo>
                  <a:pt x="657" y="21"/>
                </a:lnTo>
                <a:lnTo>
                  <a:pt x="657" y="21"/>
                </a:lnTo>
                <a:lnTo>
                  <a:pt x="657" y="21"/>
                </a:lnTo>
                <a:lnTo>
                  <a:pt x="656" y="21"/>
                </a:lnTo>
                <a:lnTo>
                  <a:pt x="656" y="21"/>
                </a:lnTo>
                <a:lnTo>
                  <a:pt x="656" y="20"/>
                </a:lnTo>
                <a:lnTo>
                  <a:pt x="656" y="20"/>
                </a:lnTo>
                <a:lnTo>
                  <a:pt x="656" y="20"/>
                </a:lnTo>
                <a:lnTo>
                  <a:pt x="656" y="20"/>
                </a:lnTo>
                <a:lnTo>
                  <a:pt x="656" y="20"/>
                </a:lnTo>
                <a:lnTo>
                  <a:pt x="656" y="20"/>
                </a:lnTo>
                <a:lnTo>
                  <a:pt x="656" y="20"/>
                </a:lnTo>
                <a:lnTo>
                  <a:pt x="656" y="20"/>
                </a:lnTo>
                <a:lnTo>
                  <a:pt x="655" y="19"/>
                </a:lnTo>
                <a:lnTo>
                  <a:pt x="655" y="19"/>
                </a:lnTo>
                <a:lnTo>
                  <a:pt x="655" y="19"/>
                </a:lnTo>
                <a:lnTo>
                  <a:pt x="655" y="19"/>
                </a:lnTo>
                <a:lnTo>
                  <a:pt x="655" y="19"/>
                </a:lnTo>
                <a:lnTo>
                  <a:pt x="655" y="19"/>
                </a:lnTo>
                <a:lnTo>
                  <a:pt x="655" y="19"/>
                </a:lnTo>
                <a:lnTo>
                  <a:pt x="655" y="19"/>
                </a:lnTo>
                <a:lnTo>
                  <a:pt x="655" y="18"/>
                </a:lnTo>
                <a:lnTo>
                  <a:pt x="655" y="18"/>
                </a:lnTo>
                <a:lnTo>
                  <a:pt x="654" y="18"/>
                </a:lnTo>
                <a:lnTo>
                  <a:pt x="654" y="18"/>
                </a:lnTo>
                <a:lnTo>
                  <a:pt x="654" y="18"/>
                </a:lnTo>
                <a:lnTo>
                  <a:pt x="654" y="18"/>
                </a:lnTo>
                <a:lnTo>
                  <a:pt x="654" y="18"/>
                </a:lnTo>
                <a:lnTo>
                  <a:pt x="654" y="18"/>
                </a:lnTo>
                <a:lnTo>
                  <a:pt x="654" y="17"/>
                </a:lnTo>
                <a:lnTo>
                  <a:pt x="654" y="17"/>
                </a:lnTo>
                <a:lnTo>
                  <a:pt x="654" y="17"/>
                </a:lnTo>
                <a:lnTo>
                  <a:pt x="654" y="17"/>
                </a:lnTo>
                <a:lnTo>
                  <a:pt x="653" y="17"/>
                </a:lnTo>
                <a:lnTo>
                  <a:pt x="653" y="17"/>
                </a:lnTo>
                <a:lnTo>
                  <a:pt x="653" y="17"/>
                </a:lnTo>
                <a:lnTo>
                  <a:pt x="653" y="17"/>
                </a:lnTo>
                <a:lnTo>
                  <a:pt x="653" y="17"/>
                </a:lnTo>
                <a:lnTo>
                  <a:pt x="653" y="15"/>
                </a:lnTo>
                <a:lnTo>
                  <a:pt x="653" y="15"/>
                </a:lnTo>
                <a:lnTo>
                  <a:pt x="653" y="15"/>
                </a:lnTo>
                <a:lnTo>
                  <a:pt x="653" y="15"/>
                </a:lnTo>
                <a:lnTo>
                  <a:pt x="652" y="15"/>
                </a:lnTo>
                <a:lnTo>
                  <a:pt x="652" y="15"/>
                </a:lnTo>
                <a:lnTo>
                  <a:pt x="652" y="15"/>
                </a:lnTo>
                <a:lnTo>
                  <a:pt x="652" y="15"/>
                </a:lnTo>
                <a:lnTo>
                  <a:pt x="652" y="15"/>
                </a:lnTo>
                <a:lnTo>
                  <a:pt x="652" y="15"/>
                </a:lnTo>
                <a:lnTo>
                  <a:pt x="652" y="14"/>
                </a:lnTo>
                <a:lnTo>
                  <a:pt x="652" y="14"/>
                </a:lnTo>
                <a:lnTo>
                  <a:pt x="650" y="14"/>
                </a:lnTo>
                <a:lnTo>
                  <a:pt x="650" y="14"/>
                </a:lnTo>
                <a:lnTo>
                  <a:pt x="650" y="14"/>
                </a:lnTo>
                <a:lnTo>
                  <a:pt x="650" y="14"/>
                </a:lnTo>
                <a:lnTo>
                  <a:pt x="650" y="14"/>
                </a:lnTo>
                <a:lnTo>
                  <a:pt x="650" y="14"/>
                </a:lnTo>
                <a:lnTo>
                  <a:pt x="650" y="14"/>
                </a:lnTo>
                <a:lnTo>
                  <a:pt x="650" y="13"/>
                </a:lnTo>
                <a:lnTo>
                  <a:pt x="649" y="13"/>
                </a:lnTo>
                <a:lnTo>
                  <a:pt x="649" y="13"/>
                </a:lnTo>
                <a:lnTo>
                  <a:pt x="649" y="13"/>
                </a:lnTo>
                <a:lnTo>
                  <a:pt x="649" y="13"/>
                </a:lnTo>
                <a:lnTo>
                  <a:pt x="649" y="13"/>
                </a:lnTo>
                <a:lnTo>
                  <a:pt x="649" y="13"/>
                </a:lnTo>
                <a:lnTo>
                  <a:pt x="649" y="13"/>
                </a:lnTo>
                <a:lnTo>
                  <a:pt x="649" y="13"/>
                </a:lnTo>
                <a:lnTo>
                  <a:pt x="648" y="13"/>
                </a:lnTo>
                <a:lnTo>
                  <a:pt x="648" y="13"/>
                </a:lnTo>
                <a:lnTo>
                  <a:pt x="648" y="12"/>
                </a:lnTo>
                <a:lnTo>
                  <a:pt x="648" y="12"/>
                </a:lnTo>
                <a:lnTo>
                  <a:pt x="648" y="12"/>
                </a:lnTo>
                <a:lnTo>
                  <a:pt x="648" y="12"/>
                </a:lnTo>
                <a:lnTo>
                  <a:pt x="648" y="12"/>
                </a:lnTo>
                <a:lnTo>
                  <a:pt x="647" y="12"/>
                </a:lnTo>
                <a:lnTo>
                  <a:pt x="647" y="12"/>
                </a:lnTo>
                <a:lnTo>
                  <a:pt x="647" y="12"/>
                </a:lnTo>
                <a:lnTo>
                  <a:pt x="647" y="12"/>
                </a:lnTo>
                <a:lnTo>
                  <a:pt x="647" y="12"/>
                </a:lnTo>
                <a:lnTo>
                  <a:pt x="647" y="12"/>
                </a:lnTo>
                <a:lnTo>
                  <a:pt x="647" y="12"/>
                </a:lnTo>
                <a:lnTo>
                  <a:pt x="647" y="11"/>
                </a:lnTo>
                <a:lnTo>
                  <a:pt x="646" y="11"/>
                </a:lnTo>
                <a:lnTo>
                  <a:pt x="646" y="11"/>
                </a:lnTo>
                <a:lnTo>
                  <a:pt x="646" y="11"/>
                </a:lnTo>
                <a:lnTo>
                  <a:pt x="646" y="11"/>
                </a:lnTo>
                <a:lnTo>
                  <a:pt x="646" y="11"/>
                </a:lnTo>
                <a:lnTo>
                  <a:pt x="646" y="11"/>
                </a:lnTo>
                <a:lnTo>
                  <a:pt x="646" y="11"/>
                </a:lnTo>
                <a:lnTo>
                  <a:pt x="645" y="11"/>
                </a:lnTo>
                <a:lnTo>
                  <a:pt x="645" y="11"/>
                </a:lnTo>
                <a:lnTo>
                  <a:pt x="645" y="11"/>
                </a:lnTo>
                <a:lnTo>
                  <a:pt x="645" y="11"/>
                </a:lnTo>
                <a:lnTo>
                  <a:pt x="645" y="11"/>
                </a:lnTo>
                <a:lnTo>
                  <a:pt x="645" y="11"/>
                </a:lnTo>
                <a:lnTo>
                  <a:pt x="645" y="10"/>
                </a:lnTo>
                <a:lnTo>
                  <a:pt x="644" y="10"/>
                </a:lnTo>
                <a:lnTo>
                  <a:pt x="644" y="10"/>
                </a:lnTo>
                <a:lnTo>
                  <a:pt x="644" y="10"/>
                </a:lnTo>
                <a:lnTo>
                  <a:pt x="644" y="10"/>
                </a:lnTo>
                <a:lnTo>
                  <a:pt x="644" y="10"/>
                </a:lnTo>
                <a:lnTo>
                  <a:pt x="644" y="10"/>
                </a:lnTo>
                <a:lnTo>
                  <a:pt x="644" y="10"/>
                </a:lnTo>
                <a:lnTo>
                  <a:pt x="643" y="10"/>
                </a:lnTo>
                <a:lnTo>
                  <a:pt x="643" y="10"/>
                </a:lnTo>
                <a:lnTo>
                  <a:pt x="643" y="10"/>
                </a:lnTo>
                <a:lnTo>
                  <a:pt x="643" y="10"/>
                </a:lnTo>
                <a:lnTo>
                  <a:pt x="643" y="10"/>
                </a:lnTo>
                <a:lnTo>
                  <a:pt x="643" y="10"/>
                </a:lnTo>
                <a:lnTo>
                  <a:pt x="641" y="10"/>
                </a:lnTo>
                <a:lnTo>
                  <a:pt x="641" y="10"/>
                </a:lnTo>
                <a:lnTo>
                  <a:pt x="641" y="10"/>
                </a:lnTo>
                <a:lnTo>
                  <a:pt x="641" y="9"/>
                </a:lnTo>
                <a:lnTo>
                  <a:pt x="641" y="9"/>
                </a:lnTo>
                <a:lnTo>
                  <a:pt x="641" y="9"/>
                </a:lnTo>
                <a:lnTo>
                  <a:pt x="641" y="9"/>
                </a:lnTo>
                <a:lnTo>
                  <a:pt x="640" y="9"/>
                </a:lnTo>
                <a:lnTo>
                  <a:pt x="640" y="9"/>
                </a:lnTo>
                <a:lnTo>
                  <a:pt x="640" y="9"/>
                </a:lnTo>
                <a:lnTo>
                  <a:pt x="640" y="9"/>
                </a:lnTo>
                <a:lnTo>
                  <a:pt x="640" y="9"/>
                </a:lnTo>
                <a:lnTo>
                  <a:pt x="640" y="9"/>
                </a:lnTo>
                <a:lnTo>
                  <a:pt x="639" y="9"/>
                </a:lnTo>
                <a:lnTo>
                  <a:pt x="639" y="9"/>
                </a:lnTo>
                <a:lnTo>
                  <a:pt x="639" y="9"/>
                </a:lnTo>
                <a:lnTo>
                  <a:pt x="639" y="9"/>
                </a:lnTo>
                <a:lnTo>
                  <a:pt x="639" y="9"/>
                </a:lnTo>
                <a:lnTo>
                  <a:pt x="639" y="9"/>
                </a:lnTo>
                <a:lnTo>
                  <a:pt x="639" y="9"/>
                </a:lnTo>
                <a:lnTo>
                  <a:pt x="638" y="9"/>
                </a:lnTo>
                <a:lnTo>
                  <a:pt x="638" y="9"/>
                </a:lnTo>
                <a:lnTo>
                  <a:pt x="638" y="9"/>
                </a:lnTo>
                <a:lnTo>
                  <a:pt x="638" y="9"/>
                </a:lnTo>
                <a:lnTo>
                  <a:pt x="638" y="9"/>
                </a:lnTo>
                <a:lnTo>
                  <a:pt x="638" y="9"/>
                </a:lnTo>
                <a:lnTo>
                  <a:pt x="637" y="8"/>
                </a:lnTo>
                <a:lnTo>
                  <a:pt x="637" y="8"/>
                </a:lnTo>
                <a:lnTo>
                  <a:pt x="637" y="8"/>
                </a:lnTo>
                <a:lnTo>
                  <a:pt x="637" y="8"/>
                </a:lnTo>
                <a:lnTo>
                  <a:pt x="637" y="8"/>
                </a:lnTo>
                <a:lnTo>
                  <a:pt x="637" y="8"/>
                </a:lnTo>
                <a:lnTo>
                  <a:pt x="636" y="8"/>
                </a:lnTo>
                <a:lnTo>
                  <a:pt x="636" y="8"/>
                </a:lnTo>
                <a:lnTo>
                  <a:pt x="636" y="8"/>
                </a:lnTo>
                <a:lnTo>
                  <a:pt x="636" y="8"/>
                </a:lnTo>
                <a:lnTo>
                  <a:pt x="636" y="8"/>
                </a:lnTo>
                <a:lnTo>
                  <a:pt x="636" y="8"/>
                </a:lnTo>
                <a:lnTo>
                  <a:pt x="635" y="8"/>
                </a:lnTo>
                <a:lnTo>
                  <a:pt x="635" y="8"/>
                </a:lnTo>
                <a:lnTo>
                  <a:pt x="635" y="8"/>
                </a:lnTo>
                <a:lnTo>
                  <a:pt x="635" y="8"/>
                </a:lnTo>
                <a:lnTo>
                  <a:pt x="635" y="8"/>
                </a:lnTo>
                <a:lnTo>
                  <a:pt x="635" y="8"/>
                </a:lnTo>
                <a:lnTo>
                  <a:pt x="634" y="8"/>
                </a:lnTo>
                <a:lnTo>
                  <a:pt x="634" y="8"/>
                </a:lnTo>
                <a:lnTo>
                  <a:pt x="634" y="8"/>
                </a:lnTo>
                <a:lnTo>
                  <a:pt x="634" y="8"/>
                </a:lnTo>
                <a:lnTo>
                  <a:pt x="634" y="8"/>
                </a:lnTo>
                <a:lnTo>
                  <a:pt x="634" y="8"/>
                </a:lnTo>
                <a:lnTo>
                  <a:pt x="632" y="8"/>
                </a:lnTo>
                <a:lnTo>
                  <a:pt x="632" y="8"/>
                </a:lnTo>
                <a:lnTo>
                  <a:pt x="632" y="8"/>
                </a:lnTo>
                <a:lnTo>
                  <a:pt x="632" y="8"/>
                </a:lnTo>
                <a:lnTo>
                  <a:pt x="632" y="8"/>
                </a:lnTo>
                <a:lnTo>
                  <a:pt x="632" y="8"/>
                </a:lnTo>
                <a:lnTo>
                  <a:pt x="631" y="8"/>
                </a:lnTo>
                <a:lnTo>
                  <a:pt x="631" y="8"/>
                </a:lnTo>
                <a:lnTo>
                  <a:pt x="631" y="8"/>
                </a:lnTo>
                <a:lnTo>
                  <a:pt x="631" y="8"/>
                </a:lnTo>
                <a:lnTo>
                  <a:pt x="631" y="8"/>
                </a:lnTo>
                <a:lnTo>
                  <a:pt x="631" y="8"/>
                </a:lnTo>
                <a:lnTo>
                  <a:pt x="630" y="8"/>
                </a:lnTo>
                <a:lnTo>
                  <a:pt x="630" y="8"/>
                </a:lnTo>
                <a:lnTo>
                  <a:pt x="630" y="8"/>
                </a:lnTo>
                <a:lnTo>
                  <a:pt x="630" y="8"/>
                </a:lnTo>
                <a:lnTo>
                  <a:pt x="630" y="8"/>
                </a:lnTo>
                <a:lnTo>
                  <a:pt x="630" y="8"/>
                </a:lnTo>
                <a:lnTo>
                  <a:pt x="629" y="8"/>
                </a:lnTo>
                <a:lnTo>
                  <a:pt x="629" y="8"/>
                </a:lnTo>
                <a:lnTo>
                  <a:pt x="629" y="8"/>
                </a:lnTo>
                <a:lnTo>
                  <a:pt x="629" y="8"/>
                </a:lnTo>
                <a:lnTo>
                  <a:pt x="629" y="8"/>
                </a:lnTo>
                <a:lnTo>
                  <a:pt x="629" y="8"/>
                </a:lnTo>
                <a:lnTo>
                  <a:pt x="628" y="8"/>
                </a:lnTo>
                <a:lnTo>
                  <a:pt x="628" y="8"/>
                </a:lnTo>
                <a:lnTo>
                  <a:pt x="628" y="8"/>
                </a:lnTo>
                <a:lnTo>
                  <a:pt x="628" y="8"/>
                </a:lnTo>
                <a:lnTo>
                  <a:pt x="628" y="8"/>
                </a:lnTo>
                <a:lnTo>
                  <a:pt x="628" y="8"/>
                </a:lnTo>
                <a:lnTo>
                  <a:pt x="627" y="8"/>
                </a:lnTo>
                <a:lnTo>
                  <a:pt x="627" y="8"/>
                </a:lnTo>
                <a:lnTo>
                  <a:pt x="627" y="8"/>
                </a:lnTo>
                <a:lnTo>
                  <a:pt x="627" y="8"/>
                </a:lnTo>
                <a:lnTo>
                  <a:pt x="627" y="8"/>
                </a:lnTo>
                <a:lnTo>
                  <a:pt x="627" y="9"/>
                </a:lnTo>
                <a:lnTo>
                  <a:pt x="626" y="9"/>
                </a:lnTo>
                <a:lnTo>
                  <a:pt x="626" y="9"/>
                </a:lnTo>
                <a:lnTo>
                  <a:pt x="626" y="9"/>
                </a:lnTo>
                <a:lnTo>
                  <a:pt x="626" y="9"/>
                </a:lnTo>
                <a:lnTo>
                  <a:pt x="626" y="9"/>
                </a:lnTo>
                <a:lnTo>
                  <a:pt x="626" y="9"/>
                </a:lnTo>
                <a:lnTo>
                  <a:pt x="625" y="9"/>
                </a:lnTo>
                <a:lnTo>
                  <a:pt x="625" y="9"/>
                </a:lnTo>
                <a:lnTo>
                  <a:pt x="625" y="9"/>
                </a:lnTo>
                <a:lnTo>
                  <a:pt x="625" y="9"/>
                </a:lnTo>
                <a:lnTo>
                  <a:pt x="625" y="9"/>
                </a:lnTo>
                <a:lnTo>
                  <a:pt x="625" y="9"/>
                </a:lnTo>
                <a:lnTo>
                  <a:pt x="625" y="9"/>
                </a:lnTo>
                <a:lnTo>
                  <a:pt x="623" y="9"/>
                </a:lnTo>
                <a:lnTo>
                  <a:pt x="623" y="9"/>
                </a:lnTo>
                <a:lnTo>
                  <a:pt x="623" y="9"/>
                </a:lnTo>
                <a:lnTo>
                  <a:pt x="623" y="9"/>
                </a:lnTo>
                <a:lnTo>
                  <a:pt x="623" y="9"/>
                </a:lnTo>
                <a:lnTo>
                  <a:pt x="623" y="9"/>
                </a:lnTo>
                <a:lnTo>
                  <a:pt x="622" y="9"/>
                </a:lnTo>
                <a:lnTo>
                  <a:pt x="622" y="9"/>
                </a:lnTo>
                <a:lnTo>
                  <a:pt x="622" y="9"/>
                </a:lnTo>
                <a:lnTo>
                  <a:pt x="622" y="10"/>
                </a:lnTo>
                <a:lnTo>
                  <a:pt x="622" y="10"/>
                </a:lnTo>
                <a:lnTo>
                  <a:pt x="622" y="10"/>
                </a:lnTo>
                <a:lnTo>
                  <a:pt x="622" y="10"/>
                </a:lnTo>
                <a:lnTo>
                  <a:pt x="621" y="10"/>
                </a:lnTo>
                <a:lnTo>
                  <a:pt x="621" y="10"/>
                </a:lnTo>
                <a:lnTo>
                  <a:pt x="621" y="10"/>
                </a:lnTo>
                <a:lnTo>
                  <a:pt x="621" y="10"/>
                </a:lnTo>
                <a:lnTo>
                  <a:pt x="621" y="10"/>
                </a:lnTo>
                <a:lnTo>
                  <a:pt x="621" y="10"/>
                </a:lnTo>
                <a:lnTo>
                  <a:pt x="620" y="10"/>
                </a:lnTo>
                <a:lnTo>
                  <a:pt x="620" y="10"/>
                </a:lnTo>
                <a:lnTo>
                  <a:pt x="620" y="10"/>
                </a:lnTo>
                <a:lnTo>
                  <a:pt x="620" y="10"/>
                </a:lnTo>
                <a:lnTo>
                  <a:pt x="620" y="10"/>
                </a:lnTo>
                <a:lnTo>
                  <a:pt x="620" y="10"/>
                </a:lnTo>
                <a:lnTo>
                  <a:pt x="620" y="10"/>
                </a:lnTo>
                <a:lnTo>
                  <a:pt x="619" y="11"/>
                </a:lnTo>
                <a:lnTo>
                  <a:pt x="619" y="11"/>
                </a:lnTo>
                <a:lnTo>
                  <a:pt x="619" y="11"/>
                </a:lnTo>
                <a:lnTo>
                  <a:pt x="619" y="11"/>
                </a:lnTo>
                <a:lnTo>
                  <a:pt x="619" y="11"/>
                </a:lnTo>
                <a:lnTo>
                  <a:pt x="619" y="11"/>
                </a:lnTo>
                <a:lnTo>
                  <a:pt x="619" y="11"/>
                </a:lnTo>
                <a:lnTo>
                  <a:pt x="618" y="11"/>
                </a:lnTo>
                <a:lnTo>
                  <a:pt x="618" y="11"/>
                </a:lnTo>
                <a:lnTo>
                  <a:pt x="618" y="11"/>
                </a:lnTo>
                <a:lnTo>
                  <a:pt x="618" y="11"/>
                </a:lnTo>
                <a:lnTo>
                  <a:pt x="618" y="11"/>
                </a:lnTo>
                <a:lnTo>
                  <a:pt x="618" y="11"/>
                </a:lnTo>
                <a:lnTo>
                  <a:pt x="618" y="11"/>
                </a:lnTo>
                <a:lnTo>
                  <a:pt x="617" y="12"/>
                </a:lnTo>
                <a:lnTo>
                  <a:pt x="617" y="12"/>
                </a:lnTo>
                <a:lnTo>
                  <a:pt x="617" y="12"/>
                </a:lnTo>
                <a:lnTo>
                  <a:pt x="617" y="12"/>
                </a:lnTo>
                <a:lnTo>
                  <a:pt x="617" y="12"/>
                </a:lnTo>
                <a:lnTo>
                  <a:pt x="617" y="12"/>
                </a:lnTo>
                <a:lnTo>
                  <a:pt x="617" y="12"/>
                </a:lnTo>
                <a:lnTo>
                  <a:pt x="616" y="12"/>
                </a:lnTo>
                <a:lnTo>
                  <a:pt x="616" y="12"/>
                </a:lnTo>
                <a:lnTo>
                  <a:pt x="616" y="12"/>
                </a:lnTo>
                <a:lnTo>
                  <a:pt x="616" y="12"/>
                </a:lnTo>
                <a:lnTo>
                  <a:pt x="616" y="12"/>
                </a:lnTo>
                <a:lnTo>
                  <a:pt x="616" y="13"/>
                </a:lnTo>
                <a:lnTo>
                  <a:pt x="616" y="13"/>
                </a:lnTo>
                <a:lnTo>
                  <a:pt x="616" y="13"/>
                </a:lnTo>
                <a:lnTo>
                  <a:pt x="614" y="13"/>
                </a:lnTo>
                <a:lnTo>
                  <a:pt x="614" y="13"/>
                </a:lnTo>
                <a:lnTo>
                  <a:pt x="614" y="13"/>
                </a:lnTo>
                <a:lnTo>
                  <a:pt x="614" y="13"/>
                </a:lnTo>
                <a:lnTo>
                  <a:pt x="614" y="13"/>
                </a:lnTo>
                <a:lnTo>
                  <a:pt x="614" y="13"/>
                </a:lnTo>
                <a:lnTo>
                  <a:pt x="614" y="13"/>
                </a:lnTo>
                <a:lnTo>
                  <a:pt x="614" y="13"/>
                </a:lnTo>
                <a:lnTo>
                  <a:pt x="613" y="14"/>
                </a:lnTo>
                <a:lnTo>
                  <a:pt x="613" y="14"/>
                </a:lnTo>
                <a:lnTo>
                  <a:pt x="613" y="14"/>
                </a:lnTo>
                <a:lnTo>
                  <a:pt x="613" y="14"/>
                </a:lnTo>
                <a:lnTo>
                  <a:pt x="613" y="14"/>
                </a:lnTo>
                <a:lnTo>
                  <a:pt x="613" y="14"/>
                </a:lnTo>
                <a:lnTo>
                  <a:pt x="613" y="14"/>
                </a:lnTo>
                <a:lnTo>
                  <a:pt x="613" y="14"/>
                </a:lnTo>
                <a:lnTo>
                  <a:pt x="612" y="14"/>
                </a:lnTo>
                <a:lnTo>
                  <a:pt x="612" y="15"/>
                </a:lnTo>
                <a:lnTo>
                  <a:pt x="612" y="15"/>
                </a:lnTo>
                <a:lnTo>
                  <a:pt x="612" y="15"/>
                </a:lnTo>
                <a:lnTo>
                  <a:pt x="612" y="15"/>
                </a:lnTo>
                <a:lnTo>
                  <a:pt x="612" y="15"/>
                </a:lnTo>
                <a:lnTo>
                  <a:pt x="612" y="15"/>
                </a:lnTo>
                <a:lnTo>
                  <a:pt x="612" y="15"/>
                </a:lnTo>
                <a:lnTo>
                  <a:pt x="611" y="15"/>
                </a:lnTo>
                <a:lnTo>
                  <a:pt x="611" y="15"/>
                </a:lnTo>
                <a:lnTo>
                  <a:pt x="611" y="15"/>
                </a:lnTo>
                <a:lnTo>
                  <a:pt x="611" y="17"/>
                </a:lnTo>
                <a:lnTo>
                  <a:pt x="611" y="17"/>
                </a:lnTo>
                <a:lnTo>
                  <a:pt x="611" y="17"/>
                </a:lnTo>
                <a:lnTo>
                  <a:pt x="611" y="17"/>
                </a:lnTo>
                <a:lnTo>
                  <a:pt x="611" y="17"/>
                </a:lnTo>
                <a:lnTo>
                  <a:pt x="611" y="17"/>
                </a:lnTo>
                <a:lnTo>
                  <a:pt x="610" y="17"/>
                </a:lnTo>
                <a:lnTo>
                  <a:pt x="610" y="17"/>
                </a:lnTo>
                <a:lnTo>
                  <a:pt x="610" y="17"/>
                </a:lnTo>
                <a:lnTo>
                  <a:pt x="610" y="18"/>
                </a:lnTo>
                <a:lnTo>
                  <a:pt x="610" y="18"/>
                </a:lnTo>
                <a:lnTo>
                  <a:pt x="610" y="18"/>
                </a:lnTo>
                <a:lnTo>
                  <a:pt x="610" y="18"/>
                </a:lnTo>
                <a:lnTo>
                  <a:pt x="610" y="18"/>
                </a:lnTo>
                <a:lnTo>
                  <a:pt x="610" y="18"/>
                </a:lnTo>
                <a:lnTo>
                  <a:pt x="610" y="18"/>
                </a:lnTo>
                <a:lnTo>
                  <a:pt x="609" y="18"/>
                </a:lnTo>
                <a:lnTo>
                  <a:pt x="609" y="19"/>
                </a:lnTo>
                <a:lnTo>
                  <a:pt x="609" y="19"/>
                </a:lnTo>
                <a:lnTo>
                  <a:pt x="609" y="19"/>
                </a:lnTo>
                <a:lnTo>
                  <a:pt x="609" y="19"/>
                </a:lnTo>
                <a:lnTo>
                  <a:pt x="609" y="19"/>
                </a:lnTo>
                <a:lnTo>
                  <a:pt x="609" y="19"/>
                </a:lnTo>
                <a:lnTo>
                  <a:pt x="609" y="19"/>
                </a:lnTo>
                <a:lnTo>
                  <a:pt x="609" y="19"/>
                </a:lnTo>
                <a:lnTo>
                  <a:pt x="609" y="20"/>
                </a:lnTo>
                <a:lnTo>
                  <a:pt x="608" y="20"/>
                </a:lnTo>
                <a:lnTo>
                  <a:pt x="608" y="20"/>
                </a:lnTo>
                <a:lnTo>
                  <a:pt x="608" y="20"/>
                </a:lnTo>
                <a:lnTo>
                  <a:pt x="608" y="20"/>
                </a:lnTo>
                <a:lnTo>
                  <a:pt x="608" y="20"/>
                </a:lnTo>
                <a:lnTo>
                  <a:pt x="608" y="20"/>
                </a:lnTo>
                <a:lnTo>
                  <a:pt x="608" y="20"/>
                </a:lnTo>
                <a:lnTo>
                  <a:pt x="608" y="21"/>
                </a:lnTo>
                <a:lnTo>
                  <a:pt x="608" y="21"/>
                </a:lnTo>
                <a:lnTo>
                  <a:pt x="608" y="21"/>
                </a:lnTo>
                <a:lnTo>
                  <a:pt x="608" y="21"/>
                </a:lnTo>
                <a:lnTo>
                  <a:pt x="607" y="21"/>
                </a:lnTo>
                <a:lnTo>
                  <a:pt x="607" y="21"/>
                </a:lnTo>
                <a:lnTo>
                  <a:pt x="607" y="21"/>
                </a:lnTo>
                <a:lnTo>
                  <a:pt x="607" y="22"/>
                </a:lnTo>
                <a:lnTo>
                  <a:pt x="607" y="22"/>
                </a:lnTo>
                <a:lnTo>
                  <a:pt x="607" y="22"/>
                </a:lnTo>
                <a:lnTo>
                  <a:pt x="607" y="22"/>
                </a:lnTo>
                <a:lnTo>
                  <a:pt x="607" y="22"/>
                </a:lnTo>
                <a:lnTo>
                  <a:pt x="607" y="22"/>
                </a:lnTo>
                <a:lnTo>
                  <a:pt x="607" y="22"/>
                </a:lnTo>
                <a:lnTo>
                  <a:pt x="607" y="22"/>
                </a:lnTo>
                <a:lnTo>
                  <a:pt x="607" y="23"/>
                </a:lnTo>
                <a:lnTo>
                  <a:pt x="605" y="23"/>
                </a:lnTo>
                <a:lnTo>
                  <a:pt x="605" y="23"/>
                </a:lnTo>
                <a:lnTo>
                  <a:pt x="605" y="23"/>
                </a:lnTo>
                <a:lnTo>
                  <a:pt x="605" y="23"/>
                </a:lnTo>
                <a:lnTo>
                  <a:pt x="605" y="23"/>
                </a:lnTo>
                <a:lnTo>
                  <a:pt x="605" y="23"/>
                </a:lnTo>
                <a:lnTo>
                  <a:pt x="605" y="24"/>
                </a:lnTo>
                <a:lnTo>
                  <a:pt x="605" y="24"/>
                </a:lnTo>
                <a:lnTo>
                  <a:pt x="605" y="24"/>
                </a:lnTo>
                <a:lnTo>
                  <a:pt x="605" y="24"/>
                </a:lnTo>
                <a:lnTo>
                  <a:pt x="605" y="24"/>
                </a:lnTo>
                <a:lnTo>
                  <a:pt x="605" y="24"/>
                </a:lnTo>
                <a:lnTo>
                  <a:pt x="605" y="24"/>
                </a:lnTo>
                <a:lnTo>
                  <a:pt x="605" y="26"/>
                </a:lnTo>
                <a:lnTo>
                  <a:pt x="604" y="26"/>
                </a:lnTo>
                <a:lnTo>
                  <a:pt x="604" y="26"/>
                </a:lnTo>
                <a:lnTo>
                  <a:pt x="604" y="26"/>
                </a:lnTo>
                <a:lnTo>
                  <a:pt x="604" y="26"/>
                </a:lnTo>
                <a:lnTo>
                  <a:pt x="604" y="26"/>
                </a:lnTo>
                <a:lnTo>
                  <a:pt x="604" y="26"/>
                </a:lnTo>
                <a:lnTo>
                  <a:pt x="604" y="27"/>
                </a:lnTo>
                <a:lnTo>
                  <a:pt x="604" y="27"/>
                </a:lnTo>
                <a:lnTo>
                  <a:pt x="604" y="27"/>
                </a:lnTo>
                <a:lnTo>
                  <a:pt x="604" y="27"/>
                </a:lnTo>
                <a:lnTo>
                  <a:pt x="604" y="27"/>
                </a:lnTo>
                <a:lnTo>
                  <a:pt x="604" y="27"/>
                </a:lnTo>
                <a:lnTo>
                  <a:pt x="604" y="28"/>
                </a:lnTo>
                <a:lnTo>
                  <a:pt x="604" y="28"/>
                </a:lnTo>
                <a:lnTo>
                  <a:pt x="604" y="28"/>
                </a:lnTo>
                <a:lnTo>
                  <a:pt x="604" y="28"/>
                </a:lnTo>
                <a:lnTo>
                  <a:pt x="604" y="28"/>
                </a:lnTo>
                <a:lnTo>
                  <a:pt x="603" y="28"/>
                </a:lnTo>
                <a:lnTo>
                  <a:pt x="603" y="28"/>
                </a:lnTo>
                <a:lnTo>
                  <a:pt x="603" y="29"/>
                </a:lnTo>
                <a:lnTo>
                  <a:pt x="603" y="29"/>
                </a:lnTo>
                <a:lnTo>
                  <a:pt x="603" y="29"/>
                </a:lnTo>
                <a:lnTo>
                  <a:pt x="603" y="29"/>
                </a:lnTo>
                <a:lnTo>
                  <a:pt x="603" y="29"/>
                </a:lnTo>
                <a:lnTo>
                  <a:pt x="603" y="29"/>
                </a:lnTo>
                <a:lnTo>
                  <a:pt x="603" y="30"/>
                </a:lnTo>
                <a:lnTo>
                  <a:pt x="603" y="30"/>
                </a:lnTo>
                <a:lnTo>
                  <a:pt x="603" y="30"/>
                </a:lnTo>
                <a:lnTo>
                  <a:pt x="603" y="30"/>
                </a:lnTo>
                <a:lnTo>
                  <a:pt x="603" y="30"/>
                </a:lnTo>
                <a:lnTo>
                  <a:pt x="603" y="30"/>
                </a:lnTo>
                <a:lnTo>
                  <a:pt x="603" y="30"/>
                </a:lnTo>
                <a:lnTo>
                  <a:pt x="603" y="31"/>
                </a:lnTo>
                <a:lnTo>
                  <a:pt x="603" y="31"/>
                </a:lnTo>
                <a:lnTo>
                  <a:pt x="603" y="31"/>
                </a:lnTo>
                <a:lnTo>
                  <a:pt x="603" y="31"/>
                </a:lnTo>
                <a:lnTo>
                  <a:pt x="603" y="31"/>
                </a:lnTo>
                <a:lnTo>
                  <a:pt x="603" y="31"/>
                </a:lnTo>
                <a:lnTo>
                  <a:pt x="603" y="32"/>
                </a:lnTo>
                <a:lnTo>
                  <a:pt x="603" y="32"/>
                </a:lnTo>
                <a:lnTo>
                  <a:pt x="603" y="32"/>
                </a:lnTo>
                <a:lnTo>
                  <a:pt x="603" y="32"/>
                </a:lnTo>
                <a:lnTo>
                  <a:pt x="603" y="32"/>
                </a:lnTo>
                <a:lnTo>
                  <a:pt x="602" y="32"/>
                </a:lnTo>
                <a:lnTo>
                  <a:pt x="602" y="34"/>
                </a:lnTo>
                <a:lnTo>
                  <a:pt x="602" y="34"/>
                </a:lnTo>
                <a:lnTo>
                  <a:pt x="602" y="34"/>
                </a:lnTo>
                <a:lnTo>
                  <a:pt x="602" y="34"/>
                </a:lnTo>
                <a:lnTo>
                  <a:pt x="602" y="34"/>
                </a:lnTo>
                <a:lnTo>
                  <a:pt x="602" y="34"/>
                </a:lnTo>
                <a:lnTo>
                  <a:pt x="602" y="35"/>
                </a:lnTo>
                <a:lnTo>
                  <a:pt x="602" y="35"/>
                </a:lnTo>
                <a:lnTo>
                  <a:pt x="602" y="35"/>
                </a:lnTo>
                <a:lnTo>
                  <a:pt x="602" y="35"/>
                </a:lnTo>
                <a:lnTo>
                  <a:pt x="602" y="35"/>
                </a:lnTo>
                <a:lnTo>
                  <a:pt x="602" y="35"/>
                </a:lnTo>
                <a:lnTo>
                  <a:pt x="602" y="36"/>
                </a:lnTo>
                <a:lnTo>
                  <a:pt x="602" y="36"/>
                </a:lnTo>
                <a:lnTo>
                  <a:pt x="602" y="36"/>
                </a:lnTo>
                <a:lnTo>
                  <a:pt x="602" y="36"/>
                </a:lnTo>
                <a:lnTo>
                  <a:pt x="602" y="36"/>
                </a:lnTo>
                <a:lnTo>
                  <a:pt x="602" y="36"/>
                </a:lnTo>
                <a:lnTo>
                  <a:pt x="602" y="37"/>
                </a:lnTo>
                <a:lnTo>
                  <a:pt x="602" y="37"/>
                </a:lnTo>
                <a:lnTo>
                  <a:pt x="602" y="37"/>
                </a:lnTo>
                <a:lnTo>
                  <a:pt x="602" y="37"/>
                </a:lnTo>
                <a:lnTo>
                  <a:pt x="602" y="37"/>
                </a:lnTo>
                <a:lnTo>
                  <a:pt x="602" y="37"/>
                </a:lnTo>
                <a:lnTo>
                  <a:pt x="602" y="37"/>
                </a:lnTo>
                <a:close/>
                <a:moveTo>
                  <a:pt x="632" y="75"/>
                </a:moveTo>
                <a:lnTo>
                  <a:pt x="631" y="75"/>
                </a:lnTo>
                <a:lnTo>
                  <a:pt x="631" y="75"/>
                </a:lnTo>
                <a:lnTo>
                  <a:pt x="631" y="75"/>
                </a:lnTo>
                <a:lnTo>
                  <a:pt x="631" y="75"/>
                </a:lnTo>
                <a:lnTo>
                  <a:pt x="630" y="75"/>
                </a:lnTo>
                <a:lnTo>
                  <a:pt x="630" y="75"/>
                </a:lnTo>
                <a:lnTo>
                  <a:pt x="630" y="75"/>
                </a:lnTo>
                <a:lnTo>
                  <a:pt x="630" y="75"/>
                </a:lnTo>
                <a:lnTo>
                  <a:pt x="630" y="75"/>
                </a:lnTo>
                <a:lnTo>
                  <a:pt x="629" y="75"/>
                </a:lnTo>
                <a:lnTo>
                  <a:pt x="629" y="75"/>
                </a:lnTo>
                <a:lnTo>
                  <a:pt x="629" y="75"/>
                </a:lnTo>
                <a:lnTo>
                  <a:pt x="629" y="75"/>
                </a:lnTo>
                <a:lnTo>
                  <a:pt x="629" y="75"/>
                </a:lnTo>
                <a:lnTo>
                  <a:pt x="628" y="75"/>
                </a:lnTo>
                <a:lnTo>
                  <a:pt x="628" y="75"/>
                </a:lnTo>
                <a:lnTo>
                  <a:pt x="628" y="75"/>
                </a:lnTo>
                <a:lnTo>
                  <a:pt x="628" y="75"/>
                </a:lnTo>
                <a:lnTo>
                  <a:pt x="628" y="75"/>
                </a:lnTo>
                <a:lnTo>
                  <a:pt x="627" y="75"/>
                </a:lnTo>
                <a:lnTo>
                  <a:pt x="627" y="75"/>
                </a:lnTo>
                <a:lnTo>
                  <a:pt x="627" y="75"/>
                </a:lnTo>
                <a:lnTo>
                  <a:pt x="627" y="74"/>
                </a:lnTo>
                <a:lnTo>
                  <a:pt x="626" y="74"/>
                </a:lnTo>
                <a:lnTo>
                  <a:pt x="626" y="74"/>
                </a:lnTo>
                <a:lnTo>
                  <a:pt x="626" y="74"/>
                </a:lnTo>
                <a:lnTo>
                  <a:pt x="626" y="74"/>
                </a:lnTo>
                <a:lnTo>
                  <a:pt x="626" y="74"/>
                </a:lnTo>
                <a:lnTo>
                  <a:pt x="625" y="74"/>
                </a:lnTo>
                <a:lnTo>
                  <a:pt x="625" y="74"/>
                </a:lnTo>
                <a:lnTo>
                  <a:pt x="625" y="74"/>
                </a:lnTo>
                <a:lnTo>
                  <a:pt x="625" y="74"/>
                </a:lnTo>
                <a:lnTo>
                  <a:pt x="625" y="74"/>
                </a:lnTo>
                <a:lnTo>
                  <a:pt x="623" y="74"/>
                </a:lnTo>
                <a:lnTo>
                  <a:pt x="623" y="74"/>
                </a:lnTo>
                <a:lnTo>
                  <a:pt x="623" y="74"/>
                </a:lnTo>
                <a:lnTo>
                  <a:pt x="623" y="74"/>
                </a:lnTo>
                <a:lnTo>
                  <a:pt x="623" y="74"/>
                </a:lnTo>
                <a:lnTo>
                  <a:pt x="622" y="74"/>
                </a:lnTo>
                <a:lnTo>
                  <a:pt x="622" y="74"/>
                </a:lnTo>
                <a:lnTo>
                  <a:pt x="622" y="74"/>
                </a:lnTo>
                <a:lnTo>
                  <a:pt x="622" y="74"/>
                </a:lnTo>
                <a:lnTo>
                  <a:pt x="622" y="74"/>
                </a:lnTo>
                <a:lnTo>
                  <a:pt x="621" y="74"/>
                </a:lnTo>
                <a:lnTo>
                  <a:pt x="621" y="73"/>
                </a:lnTo>
                <a:lnTo>
                  <a:pt x="621" y="73"/>
                </a:lnTo>
                <a:lnTo>
                  <a:pt x="621" y="73"/>
                </a:lnTo>
                <a:lnTo>
                  <a:pt x="621" y="73"/>
                </a:lnTo>
                <a:lnTo>
                  <a:pt x="620" y="73"/>
                </a:lnTo>
                <a:lnTo>
                  <a:pt x="620" y="73"/>
                </a:lnTo>
                <a:lnTo>
                  <a:pt x="620" y="73"/>
                </a:lnTo>
                <a:lnTo>
                  <a:pt x="620" y="73"/>
                </a:lnTo>
                <a:lnTo>
                  <a:pt x="620" y="73"/>
                </a:lnTo>
                <a:lnTo>
                  <a:pt x="619" y="73"/>
                </a:lnTo>
                <a:lnTo>
                  <a:pt x="619" y="73"/>
                </a:lnTo>
                <a:lnTo>
                  <a:pt x="619" y="73"/>
                </a:lnTo>
                <a:lnTo>
                  <a:pt x="619" y="73"/>
                </a:lnTo>
                <a:lnTo>
                  <a:pt x="619" y="73"/>
                </a:lnTo>
                <a:lnTo>
                  <a:pt x="619" y="73"/>
                </a:lnTo>
                <a:lnTo>
                  <a:pt x="618" y="72"/>
                </a:lnTo>
                <a:lnTo>
                  <a:pt x="618" y="72"/>
                </a:lnTo>
                <a:lnTo>
                  <a:pt x="618" y="72"/>
                </a:lnTo>
                <a:lnTo>
                  <a:pt x="618" y="72"/>
                </a:lnTo>
                <a:lnTo>
                  <a:pt x="618" y="72"/>
                </a:lnTo>
                <a:lnTo>
                  <a:pt x="617" y="72"/>
                </a:lnTo>
                <a:lnTo>
                  <a:pt x="617" y="72"/>
                </a:lnTo>
                <a:lnTo>
                  <a:pt x="617" y="72"/>
                </a:lnTo>
                <a:lnTo>
                  <a:pt x="617" y="72"/>
                </a:lnTo>
                <a:lnTo>
                  <a:pt x="617" y="72"/>
                </a:lnTo>
                <a:lnTo>
                  <a:pt x="616" y="72"/>
                </a:lnTo>
                <a:lnTo>
                  <a:pt x="616" y="72"/>
                </a:lnTo>
                <a:lnTo>
                  <a:pt x="616" y="72"/>
                </a:lnTo>
                <a:lnTo>
                  <a:pt x="616" y="71"/>
                </a:lnTo>
                <a:lnTo>
                  <a:pt x="616" y="71"/>
                </a:lnTo>
                <a:lnTo>
                  <a:pt x="616" y="71"/>
                </a:lnTo>
                <a:lnTo>
                  <a:pt x="614" y="71"/>
                </a:lnTo>
                <a:lnTo>
                  <a:pt x="614" y="71"/>
                </a:lnTo>
                <a:lnTo>
                  <a:pt x="614" y="71"/>
                </a:lnTo>
                <a:lnTo>
                  <a:pt x="614" y="71"/>
                </a:lnTo>
                <a:lnTo>
                  <a:pt x="614" y="71"/>
                </a:lnTo>
                <a:lnTo>
                  <a:pt x="613" y="71"/>
                </a:lnTo>
                <a:lnTo>
                  <a:pt x="613" y="71"/>
                </a:lnTo>
                <a:lnTo>
                  <a:pt x="613" y="70"/>
                </a:lnTo>
                <a:lnTo>
                  <a:pt x="613" y="70"/>
                </a:lnTo>
                <a:lnTo>
                  <a:pt x="613" y="70"/>
                </a:lnTo>
                <a:lnTo>
                  <a:pt x="613" y="70"/>
                </a:lnTo>
                <a:lnTo>
                  <a:pt x="612" y="70"/>
                </a:lnTo>
                <a:lnTo>
                  <a:pt x="612" y="70"/>
                </a:lnTo>
                <a:lnTo>
                  <a:pt x="612" y="70"/>
                </a:lnTo>
                <a:lnTo>
                  <a:pt x="612" y="70"/>
                </a:lnTo>
                <a:lnTo>
                  <a:pt x="612" y="70"/>
                </a:lnTo>
                <a:lnTo>
                  <a:pt x="612" y="70"/>
                </a:lnTo>
                <a:lnTo>
                  <a:pt x="611" y="68"/>
                </a:lnTo>
                <a:lnTo>
                  <a:pt x="611" y="68"/>
                </a:lnTo>
                <a:lnTo>
                  <a:pt x="611" y="68"/>
                </a:lnTo>
                <a:lnTo>
                  <a:pt x="611" y="68"/>
                </a:lnTo>
                <a:lnTo>
                  <a:pt x="611" y="68"/>
                </a:lnTo>
                <a:lnTo>
                  <a:pt x="611" y="68"/>
                </a:lnTo>
                <a:lnTo>
                  <a:pt x="610" y="68"/>
                </a:lnTo>
                <a:lnTo>
                  <a:pt x="610" y="68"/>
                </a:lnTo>
                <a:lnTo>
                  <a:pt x="610" y="68"/>
                </a:lnTo>
                <a:lnTo>
                  <a:pt x="610" y="67"/>
                </a:lnTo>
                <a:lnTo>
                  <a:pt x="610" y="67"/>
                </a:lnTo>
                <a:lnTo>
                  <a:pt x="610" y="67"/>
                </a:lnTo>
                <a:lnTo>
                  <a:pt x="609" y="67"/>
                </a:lnTo>
                <a:lnTo>
                  <a:pt x="609" y="67"/>
                </a:lnTo>
                <a:lnTo>
                  <a:pt x="609" y="67"/>
                </a:lnTo>
                <a:lnTo>
                  <a:pt x="609" y="67"/>
                </a:lnTo>
                <a:lnTo>
                  <a:pt x="609" y="67"/>
                </a:lnTo>
                <a:lnTo>
                  <a:pt x="609" y="66"/>
                </a:lnTo>
                <a:lnTo>
                  <a:pt x="608" y="66"/>
                </a:lnTo>
                <a:lnTo>
                  <a:pt x="608" y="66"/>
                </a:lnTo>
                <a:lnTo>
                  <a:pt x="608" y="66"/>
                </a:lnTo>
                <a:lnTo>
                  <a:pt x="608" y="66"/>
                </a:lnTo>
                <a:lnTo>
                  <a:pt x="608" y="66"/>
                </a:lnTo>
                <a:lnTo>
                  <a:pt x="608" y="66"/>
                </a:lnTo>
                <a:lnTo>
                  <a:pt x="608" y="66"/>
                </a:lnTo>
                <a:lnTo>
                  <a:pt x="607" y="65"/>
                </a:lnTo>
                <a:lnTo>
                  <a:pt x="607" y="65"/>
                </a:lnTo>
                <a:lnTo>
                  <a:pt x="607" y="65"/>
                </a:lnTo>
                <a:lnTo>
                  <a:pt x="607" y="65"/>
                </a:lnTo>
                <a:lnTo>
                  <a:pt x="607" y="65"/>
                </a:lnTo>
                <a:lnTo>
                  <a:pt x="607" y="65"/>
                </a:lnTo>
                <a:lnTo>
                  <a:pt x="607" y="65"/>
                </a:lnTo>
                <a:lnTo>
                  <a:pt x="605" y="64"/>
                </a:lnTo>
                <a:lnTo>
                  <a:pt x="605" y="64"/>
                </a:lnTo>
                <a:lnTo>
                  <a:pt x="605" y="64"/>
                </a:lnTo>
                <a:lnTo>
                  <a:pt x="605" y="64"/>
                </a:lnTo>
                <a:lnTo>
                  <a:pt x="605" y="64"/>
                </a:lnTo>
                <a:lnTo>
                  <a:pt x="605" y="64"/>
                </a:lnTo>
                <a:lnTo>
                  <a:pt x="605" y="64"/>
                </a:lnTo>
                <a:lnTo>
                  <a:pt x="604" y="63"/>
                </a:lnTo>
                <a:lnTo>
                  <a:pt x="604" y="63"/>
                </a:lnTo>
                <a:lnTo>
                  <a:pt x="604" y="63"/>
                </a:lnTo>
                <a:lnTo>
                  <a:pt x="604" y="63"/>
                </a:lnTo>
                <a:lnTo>
                  <a:pt x="604" y="63"/>
                </a:lnTo>
                <a:lnTo>
                  <a:pt x="604" y="63"/>
                </a:lnTo>
                <a:lnTo>
                  <a:pt x="604" y="63"/>
                </a:lnTo>
                <a:lnTo>
                  <a:pt x="603" y="62"/>
                </a:lnTo>
                <a:lnTo>
                  <a:pt x="603" y="62"/>
                </a:lnTo>
                <a:lnTo>
                  <a:pt x="603" y="62"/>
                </a:lnTo>
                <a:lnTo>
                  <a:pt x="603" y="62"/>
                </a:lnTo>
                <a:lnTo>
                  <a:pt x="603" y="62"/>
                </a:lnTo>
                <a:lnTo>
                  <a:pt x="603" y="62"/>
                </a:lnTo>
                <a:lnTo>
                  <a:pt x="603" y="61"/>
                </a:lnTo>
                <a:lnTo>
                  <a:pt x="603" y="61"/>
                </a:lnTo>
                <a:lnTo>
                  <a:pt x="602" y="61"/>
                </a:lnTo>
                <a:lnTo>
                  <a:pt x="602" y="61"/>
                </a:lnTo>
                <a:lnTo>
                  <a:pt x="602" y="61"/>
                </a:lnTo>
                <a:lnTo>
                  <a:pt x="602" y="61"/>
                </a:lnTo>
                <a:lnTo>
                  <a:pt x="602" y="61"/>
                </a:lnTo>
                <a:lnTo>
                  <a:pt x="602" y="59"/>
                </a:lnTo>
                <a:lnTo>
                  <a:pt x="602" y="59"/>
                </a:lnTo>
                <a:lnTo>
                  <a:pt x="602" y="59"/>
                </a:lnTo>
                <a:lnTo>
                  <a:pt x="601" y="59"/>
                </a:lnTo>
                <a:lnTo>
                  <a:pt x="601" y="59"/>
                </a:lnTo>
                <a:lnTo>
                  <a:pt x="601" y="59"/>
                </a:lnTo>
                <a:lnTo>
                  <a:pt x="601" y="58"/>
                </a:lnTo>
                <a:lnTo>
                  <a:pt x="601" y="58"/>
                </a:lnTo>
                <a:lnTo>
                  <a:pt x="601" y="58"/>
                </a:lnTo>
                <a:lnTo>
                  <a:pt x="601" y="58"/>
                </a:lnTo>
                <a:lnTo>
                  <a:pt x="601" y="58"/>
                </a:lnTo>
                <a:lnTo>
                  <a:pt x="601" y="58"/>
                </a:lnTo>
                <a:lnTo>
                  <a:pt x="600" y="57"/>
                </a:lnTo>
                <a:lnTo>
                  <a:pt x="600" y="57"/>
                </a:lnTo>
                <a:lnTo>
                  <a:pt x="600" y="57"/>
                </a:lnTo>
                <a:lnTo>
                  <a:pt x="600" y="57"/>
                </a:lnTo>
                <a:lnTo>
                  <a:pt x="600" y="57"/>
                </a:lnTo>
                <a:lnTo>
                  <a:pt x="600" y="57"/>
                </a:lnTo>
                <a:lnTo>
                  <a:pt x="600" y="56"/>
                </a:lnTo>
                <a:lnTo>
                  <a:pt x="600" y="56"/>
                </a:lnTo>
                <a:lnTo>
                  <a:pt x="600" y="56"/>
                </a:lnTo>
                <a:lnTo>
                  <a:pt x="599" y="56"/>
                </a:lnTo>
                <a:lnTo>
                  <a:pt x="599" y="56"/>
                </a:lnTo>
                <a:lnTo>
                  <a:pt x="599" y="56"/>
                </a:lnTo>
                <a:lnTo>
                  <a:pt x="599" y="55"/>
                </a:lnTo>
                <a:lnTo>
                  <a:pt x="599" y="55"/>
                </a:lnTo>
                <a:lnTo>
                  <a:pt x="599" y="55"/>
                </a:lnTo>
                <a:lnTo>
                  <a:pt x="599" y="55"/>
                </a:lnTo>
                <a:lnTo>
                  <a:pt x="599" y="55"/>
                </a:lnTo>
                <a:lnTo>
                  <a:pt x="599" y="54"/>
                </a:lnTo>
                <a:lnTo>
                  <a:pt x="599" y="54"/>
                </a:lnTo>
                <a:lnTo>
                  <a:pt x="599" y="54"/>
                </a:lnTo>
                <a:lnTo>
                  <a:pt x="598" y="54"/>
                </a:lnTo>
                <a:lnTo>
                  <a:pt x="598" y="54"/>
                </a:lnTo>
                <a:lnTo>
                  <a:pt x="598" y="54"/>
                </a:lnTo>
                <a:lnTo>
                  <a:pt x="598" y="53"/>
                </a:lnTo>
                <a:lnTo>
                  <a:pt x="598" y="53"/>
                </a:lnTo>
                <a:lnTo>
                  <a:pt x="598" y="53"/>
                </a:lnTo>
                <a:lnTo>
                  <a:pt x="598" y="53"/>
                </a:lnTo>
                <a:lnTo>
                  <a:pt x="598" y="53"/>
                </a:lnTo>
                <a:lnTo>
                  <a:pt x="598" y="52"/>
                </a:lnTo>
                <a:lnTo>
                  <a:pt x="598" y="52"/>
                </a:lnTo>
                <a:lnTo>
                  <a:pt x="598" y="52"/>
                </a:lnTo>
                <a:lnTo>
                  <a:pt x="598" y="52"/>
                </a:lnTo>
                <a:lnTo>
                  <a:pt x="596" y="52"/>
                </a:lnTo>
                <a:lnTo>
                  <a:pt x="596" y="50"/>
                </a:lnTo>
                <a:lnTo>
                  <a:pt x="596" y="50"/>
                </a:lnTo>
                <a:lnTo>
                  <a:pt x="596" y="50"/>
                </a:lnTo>
                <a:lnTo>
                  <a:pt x="596" y="50"/>
                </a:lnTo>
                <a:lnTo>
                  <a:pt x="596" y="50"/>
                </a:lnTo>
                <a:lnTo>
                  <a:pt x="596" y="50"/>
                </a:lnTo>
                <a:lnTo>
                  <a:pt x="596" y="49"/>
                </a:lnTo>
                <a:lnTo>
                  <a:pt x="596" y="49"/>
                </a:lnTo>
                <a:lnTo>
                  <a:pt x="596" y="49"/>
                </a:lnTo>
                <a:lnTo>
                  <a:pt x="596" y="49"/>
                </a:lnTo>
                <a:lnTo>
                  <a:pt x="596" y="49"/>
                </a:lnTo>
                <a:lnTo>
                  <a:pt x="596" y="48"/>
                </a:lnTo>
                <a:lnTo>
                  <a:pt x="596" y="48"/>
                </a:lnTo>
                <a:lnTo>
                  <a:pt x="596" y="48"/>
                </a:lnTo>
                <a:lnTo>
                  <a:pt x="595" y="48"/>
                </a:lnTo>
                <a:lnTo>
                  <a:pt x="595" y="48"/>
                </a:lnTo>
                <a:lnTo>
                  <a:pt x="595" y="47"/>
                </a:lnTo>
                <a:lnTo>
                  <a:pt x="595" y="47"/>
                </a:lnTo>
                <a:lnTo>
                  <a:pt x="595" y="47"/>
                </a:lnTo>
                <a:lnTo>
                  <a:pt x="595" y="47"/>
                </a:lnTo>
                <a:lnTo>
                  <a:pt x="595" y="47"/>
                </a:lnTo>
                <a:lnTo>
                  <a:pt x="595" y="46"/>
                </a:lnTo>
                <a:lnTo>
                  <a:pt x="595" y="46"/>
                </a:lnTo>
                <a:lnTo>
                  <a:pt x="595" y="46"/>
                </a:lnTo>
                <a:lnTo>
                  <a:pt x="595" y="46"/>
                </a:lnTo>
                <a:lnTo>
                  <a:pt x="595" y="46"/>
                </a:lnTo>
                <a:lnTo>
                  <a:pt x="595" y="45"/>
                </a:lnTo>
                <a:lnTo>
                  <a:pt x="595" y="45"/>
                </a:lnTo>
                <a:lnTo>
                  <a:pt x="595" y="45"/>
                </a:lnTo>
                <a:lnTo>
                  <a:pt x="595" y="45"/>
                </a:lnTo>
                <a:lnTo>
                  <a:pt x="595" y="45"/>
                </a:lnTo>
                <a:lnTo>
                  <a:pt x="595" y="44"/>
                </a:lnTo>
                <a:lnTo>
                  <a:pt x="595" y="44"/>
                </a:lnTo>
                <a:lnTo>
                  <a:pt x="595" y="44"/>
                </a:lnTo>
                <a:lnTo>
                  <a:pt x="595" y="44"/>
                </a:lnTo>
                <a:lnTo>
                  <a:pt x="595" y="44"/>
                </a:lnTo>
                <a:lnTo>
                  <a:pt x="595" y="43"/>
                </a:lnTo>
                <a:lnTo>
                  <a:pt x="594" y="43"/>
                </a:lnTo>
                <a:lnTo>
                  <a:pt x="594" y="43"/>
                </a:lnTo>
                <a:lnTo>
                  <a:pt x="594" y="43"/>
                </a:lnTo>
                <a:lnTo>
                  <a:pt x="594" y="41"/>
                </a:lnTo>
                <a:lnTo>
                  <a:pt x="594" y="41"/>
                </a:lnTo>
                <a:lnTo>
                  <a:pt x="594" y="41"/>
                </a:lnTo>
                <a:lnTo>
                  <a:pt x="594" y="41"/>
                </a:lnTo>
                <a:lnTo>
                  <a:pt x="594" y="41"/>
                </a:lnTo>
                <a:lnTo>
                  <a:pt x="594" y="40"/>
                </a:lnTo>
                <a:lnTo>
                  <a:pt x="594" y="40"/>
                </a:lnTo>
                <a:lnTo>
                  <a:pt x="594" y="40"/>
                </a:lnTo>
                <a:lnTo>
                  <a:pt x="594" y="40"/>
                </a:lnTo>
                <a:lnTo>
                  <a:pt x="594" y="40"/>
                </a:lnTo>
                <a:lnTo>
                  <a:pt x="594" y="39"/>
                </a:lnTo>
                <a:lnTo>
                  <a:pt x="594" y="39"/>
                </a:lnTo>
                <a:lnTo>
                  <a:pt x="594" y="39"/>
                </a:lnTo>
                <a:lnTo>
                  <a:pt x="594" y="39"/>
                </a:lnTo>
                <a:lnTo>
                  <a:pt x="594" y="39"/>
                </a:lnTo>
                <a:lnTo>
                  <a:pt x="594" y="38"/>
                </a:lnTo>
                <a:lnTo>
                  <a:pt x="594" y="38"/>
                </a:lnTo>
                <a:lnTo>
                  <a:pt x="594" y="38"/>
                </a:lnTo>
                <a:lnTo>
                  <a:pt x="594" y="38"/>
                </a:lnTo>
                <a:lnTo>
                  <a:pt x="594" y="37"/>
                </a:lnTo>
                <a:lnTo>
                  <a:pt x="594" y="37"/>
                </a:lnTo>
                <a:lnTo>
                  <a:pt x="594" y="37"/>
                </a:lnTo>
                <a:lnTo>
                  <a:pt x="594" y="37"/>
                </a:lnTo>
                <a:lnTo>
                  <a:pt x="594" y="37"/>
                </a:lnTo>
                <a:lnTo>
                  <a:pt x="594" y="36"/>
                </a:lnTo>
                <a:lnTo>
                  <a:pt x="594" y="36"/>
                </a:lnTo>
                <a:lnTo>
                  <a:pt x="594" y="36"/>
                </a:lnTo>
                <a:lnTo>
                  <a:pt x="594" y="36"/>
                </a:lnTo>
                <a:lnTo>
                  <a:pt x="594" y="36"/>
                </a:lnTo>
                <a:lnTo>
                  <a:pt x="594" y="35"/>
                </a:lnTo>
                <a:lnTo>
                  <a:pt x="594" y="35"/>
                </a:lnTo>
                <a:lnTo>
                  <a:pt x="594" y="35"/>
                </a:lnTo>
                <a:lnTo>
                  <a:pt x="594" y="35"/>
                </a:lnTo>
                <a:lnTo>
                  <a:pt x="594" y="34"/>
                </a:lnTo>
                <a:lnTo>
                  <a:pt x="594" y="34"/>
                </a:lnTo>
                <a:lnTo>
                  <a:pt x="594" y="34"/>
                </a:lnTo>
                <a:lnTo>
                  <a:pt x="594" y="34"/>
                </a:lnTo>
                <a:lnTo>
                  <a:pt x="594" y="34"/>
                </a:lnTo>
                <a:lnTo>
                  <a:pt x="594" y="32"/>
                </a:lnTo>
                <a:lnTo>
                  <a:pt x="594" y="32"/>
                </a:lnTo>
                <a:lnTo>
                  <a:pt x="594" y="32"/>
                </a:lnTo>
                <a:lnTo>
                  <a:pt x="594" y="32"/>
                </a:lnTo>
                <a:lnTo>
                  <a:pt x="595" y="32"/>
                </a:lnTo>
                <a:lnTo>
                  <a:pt x="595" y="31"/>
                </a:lnTo>
                <a:lnTo>
                  <a:pt x="595" y="31"/>
                </a:lnTo>
                <a:lnTo>
                  <a:pt x="595" y="31"/>
                </a:lnTo>
                <a:lnTo>
                  <a:pt x="595" y="31"/>
                </a:lnTo>
                <a:lnTo>
                  <a:pt x="595" y="31"/>
                </a:lnTo>
                <a:lnTo>
                  <a:pt x="595" y="30"/>
                </a:lnTo>
                <a:lnTo>
                  <a:pt x="595" y="30"/>
                </a:lnTo>
                <a:lnTo>
                  <a:pt x="595" y="30"/>
                </a:lnTo>
                <a:lnTo>
                  <a:pt x="595" y="30"/>
                </a:lnTo>
                <a:lnTo>
                  <a:pt x="595" y="30"/>
                </a:lnTo>
                <a:lnTo>
                  <a:pt x="595" y="29"/>
                </a:lnTo>
                <a:lnTo>
                  <a:pt x="595" y="29"/>
                </a:lnTo>
                <a:lnTo>
                  <a:pt x="595" y="29"/>
                </a:lnTo>
                <a:lnTo>
                  <a:pt x="595" y="29"/>
                </a:lnTo>
                <a:lnTo>
                  <a:pt x="595" y="28"/>
                </a:lnTo>
                <a:lnTo>
                  <a:pt x="595" y="28"/>
                </a:lnTo>
                <a:lnTo>
                  <a:pt x="595" y="28"/>
                </a:lnTo>
                <a:lnTo>
                  <a:pt x="595" y="28"/>
                </a:lnTo>
                <a:lnTo>
                  <a:pt x="595" y="28"/>
                </a:lnTo>
                <a:lnTo>
                  <a:pt x="595" y="28"/>
                </a:lnTo>
                <a:lnTo>
                  <a:pt x="595" y="27"/>
                </a:lnTo>
                <a:lnTo>
                  <a:pt x="595" y="27"/>
                </a:lnTo>
                <a:lnTo>
                  <a:pt x="596" y="27"/>
                </a:lnTo>
                <a:lnTo>
                  <a:pt x="596" y="27"/>
                </a:lnTo>
                <a:lnTo>
                  <a:pt x="596" y="27"/>
                </a:lnTo>
                <a:lnTo>
                  <a:pt x="596" y="26"/>
                </a:lnTo>
                <a:lnTo>
                  <a:pt x="596" y="26"/>
                </a:lnTo>
                <a:lnTo>
                  <a:pt x="596" y="26"/>
                </a:lnTo>
                <a:lnTo>
                  <a:pt x="596" y="26"/>
                </a:lnTo>
                <a:lnTo>
                  <a:pt x="596" y="26"/>
                </a:lnTo>
                <a:lnTo>
                  <a:pt x="596" y="24"/>
                </a:lnTo>
                <a:lnTo>
                  <a:pt x="596" y="24"/>
                </a:lnTo>
                <a:lnTo>
                  <a:pt x="596" y="24"/>
                </a:lnTo>
                <a:lnTo>
                  <a:pt x="596" y="24"/>
                </a:lnTo>
                <a:lnTo>
                  <a:pt x="596" y="24"/>
                </a:lnTo>
                <a:lnTo>
                  <a:pt x="596" y="23"/>
                </a:lnTo>
                <a:lnTo>
                  <a:pt x="596" y="23"/>
                </a:lnTo>
                <a:lnTo>
                  <a:pt x="598" y="23"/>
                </a:lnTo>
                <a:lnTo>
                  <a:pt x="598" y="23"/>
                </a:lnTo>
                <a:lnTo>
                  <a:pt x="598" y="23"/>
                </a:lnTo>
                <a:lnTo>
                  <a:pt x="598" y="22"/>
                </a:lnTo>
                <a:lnTo>
                  <a:pt x="598" y="22"/>
                </a:lnTo>
                <a:lnTo>
                  <a:pt x="598" y="22"/>
                </a:lnTo>
                <a:lnTo>
                  <a:pt x="598" y="22"/>
                </a:lnTo>
                <a:lnTo>
                  <a:pt x="598" y="22"/>
                </a:lnTo>
                <a:lnTo>
                  <a:pt x="598" y="22"/>
                </a:lnTo>
                <a:lnTo>
                  <a:pt x="598" y="21"/>
                </a:lnTo>
                <a:lnTo>
                  <a:pt x="598" y="21"/>
                </a:lnTo>
                <a:lnTo>
                  <a:pt x="598" y="21"/>
                </a:lnTo>
                <a:lnTo>
                  <a:pt x="599" y="21"/>
                </a:lnTo>
                <a:lnTo>
                  <a:pt x="599" y="21"/>
                </a:lnTo>
                <a:lnTo>
                  <a:pt x="599" y="20"/>
                </a:lnTo>
                <a:lnTo>
                  <a:pt x="599" y="20"/>
                </a:lnTo>
                <a:lnTo>
                  <a:pt x="599" y="20"/>
                </a:lnTo>
                <a:lnTo>
                  <a:pt x="599" y="20"/>
                </a:lnTo>
                <a:lnTo>
                  <a:pt x="599" y="20"/>
                </a:lnTo>
                <a:lnTo>
                  <a:pt x="599" y="20"/>
                </a:lnTo>
                <a:lnTo>
                  <a:pt x="599" y="19"/>
                </a:lnTo>
                <a:lnTo>
                  <a:pt x="599" y="19"/>
                </a:lnTo>
                <a:lnTo>
                  <a:pt x="599" y="19"/>
                </a:lnTo>
                <a:lnTo>
                  <a:pt x="600" y="19"/>
                </a:lnTo>
                <a:lnTo>
                  <a:pt x="600" y="19"/>
                </a:lnTo>
                <a:lnTo>
                  <a:pt x="600" y="18"/>
                </a:lnTo>
                <a:lnTo>
                  <a:pt x="600" y="18"/>
                </a:lnTo>
                <a:lnTo>
                  <a:pt x="600" y="18"/>
                </a:lnTo>
                <a:lnTo>
                  <a:pt x="600" y="18"/>
                </a:lnTo>
                <a:lnTo>
                  <a:pt x="600" y="18"/>
                </a:lnTo>
                <a:lnTo>
                  <a:pt x="600" y="18"/>
                </a:lnTo>
                <a:lnTo>
                  <a:pt x="600" y="17"/>
                </a:lnTo>
                <a:lnTo>
                  <a:pt x="601" y="17"/>
                </a:lnTo>
                <a:lnTo>
                  <a:pt x="601" y="17"/>
                </a:lnTo>
                <a:lnTo>
                  <a:pt x="601" y="17"/>
                </a:lnTo>
                <a:lnTo>
                  <a:pt x="601" y="17"/>
                </a:lnTo>
                <a:lnTo>
                  <a:pt x="601" y="17"/>
                </a:lnTo>
                <a:lnTo>
                  <a:pt x="601" y="15"/>
                </a:lnTo>
                <a:lnTo>
                  <a:pt x="601" y="15"/>
                </a:lnTo>
                <a:lnTo>
                  <a:pt x="601" y="15"/>
                </a:lnTo>
                <a:lnTo>
                  <a:pt x="601" y="15"/>
                </a:lnTo>
                <a:lnTo>
                  <a:pt x="602" y="15"/>
                </a:lnTo>
                <a:lnTo>
                  <a:pt x="602" y="15"/>
                </a:lnTo>
                <a:lnTo>
                  <a:pt x="602" y="14"/>
                </a:lnTo>
                <a:lnTo>
                  <a:pt x="602" y="14"/>
                </a:lnTo>
                <a:lnTo>
                  <a:pt x="602" y="14"/>
                </a:lnTo>
                <a:lnTo>
                  <a:pt x="602" y="14"/>
                </a:lnTo>
                <a:lnTo>
                  <a:pt x="602" y="14"/>
                </a:lnTo>
                <a:lnTo>
                  <a:pt x="602" y="14"/>
                </a:lnTo>
                <a:lnTo>
                  <a:pt x="603" y="14"/>
                </a:lnTo>
                <a:lnTo>
                  <a:pt x="603" y="13"/>
                </a:lnTo>
                <a:lnTo>
                  <a:pt x="603" y="13"/>
                </a:lnTo>
                <a:lnTo>
                  <a:pt x="603" y="13"/>
                </a:lnTo>
                <a:lnTo>
                  <a:pt x="603" y="13"/>
                </a:lnTo>
                <a:lnTo>
                  <a:pt x="603" y="13"/>
                </a:lnTo>
                <a:lnTo>
                  <a:pt x="603" y="13"/>
                </a:lnTo>
                <a:lnTo>
                  <a:pt x="603" y="12"/>
                </a:lnTo>
                <a:lnTo>
                  <a:pt x="604" y="12"/>
                </a:lnTo>
                <a:lnTo>
                  <a:pt x="604" y="12"/>
                </a:lnTo>
                <a:lnTo>
                  <a:pt x="604" y="12"/>
                </a:lnTo>
                <a:lnTo>
                  <a:pt x="604" y="12"/>
                </a:lnTo>
                <a:lnTo>
                  <a:pt x="604" y="12"/>
                </a:lnTo>
                <a:lnTo>
                  <a:pt x="604" y="12"/>
                </a:lnTo>
                <a:lnTo>
                  <a:pt x="604" y="11"/>
                </a:lnTo>
                <a:lnTo>
                  <a:pt x="605" y="11"/>
                </a:lnTo>
                <a:lnTo>
                  <a:pt x="605" y="11"/>
                </a:lnTo>
                <a:lnTo>
                  <a:pt x="605" y="11"/>
                </a:lnTo>
                <a:lnTo>
                  <a:pt x="605" y="11"/>
                </a:lnTo>
                <a:lnTo>
                  <a:pt x="605" y="11"/>
                </a:lnTo>
                <a:lnTo>
                  <a:pt x="605" y="11"/>
                </a:lnTo>
                <a:lnTo>
                  <a:pt x="605" y="10"/>
                </a:lnTo>
                <a:lnTo>
                  <a:pt x="607" y="10"/>
                </a:lnTo>
                <a:lnTo>
                  <a:pt x="607" y="10"/>
                </a:lnTo>
                <a:lnTo>
                  <a:pt x="607" y="10"/>
                </a:lnTo>
                <a:lnTo>
                  <a:pt x="607" y="10"/>
                </a:lnTo>
                <a:lnTo>
                  <a:pt x="607" y="10"/>
                </a:lnTo>
                <a:lnTo>
                  <a:pt x="607" y="10"/>
                </a:lnTo>
                <a:lnTo>
                  <a:pt x="607" y="9"/>
                </a:lnTo>
                <a:lnTo>
                  <a:pt x="608" y="9"/>
                </a:lnTo>
                <a:lnTo>
                  <a:pt x="608" y="9"/>
                </a:lnTo>
                <a:lnTo>
                  <a:pt x="608" y="9"/>
                </a:lnTo>
                <a:lnTo>
                  <a:pt x="608" y="9"/>
                </a:lnTo>
                <a:lnTo>
                  <a:pt x="608" y="9"/>
                </a:lnTo>
                <a:lnTo>
                  <a:pt x="608" y="9"/>
                </a:lnTo>
                <a:lnTo>
                  <a:pt x="608" y="9"/>
                </a:lnTo>
                <a:lnTo>
                  <a:pt x="609" y="8"/>
                </a:lnTo>
                <a:lnTo>
                  <a:pt x="609" y="8"/>
                </a:lnTo>
                <a:lnTo>
                  <a:pt x="609" y="8"/>
                </a:lnTo>
                <a:lnTo>
                  <a:pt x="609" y="8"/>
                </a:lnTo>
                <a:lnTo>
                  <a:pt x="609" y="8"/>
                </a:lnTo>
                <a:lnTo>
                  <a:pt x="609" y="8"/>
                </a:lnTo>
                <a:lnTo>
                  <a:pt x="610" y="8"/>
                </a:lnTo>
                <a:lnTo>
                  <a:pt x="610" y="8"/>
                </a:lnTo>
                <a:lnTo>
                  <a:pt x="610" y="6"/>
                </a:lnTo>
                <a:lnTo>
                  <a:pt x="610" y="6"/>
                </a:lnTo>
                <a:lnTo>
                  <a:pt x="610" y="6"/>
                </a:lnTo>
                <a:lnTo>
                  <a:pt x="610" y="6"/>
                </a:lnTo>
                <a:lnTo>
                  <a:pt x="611" y="6"/>
                </a:lnTo>
                <a:lnTo>
                  <a:pt x="611" y="6"/>
                </a:lnTo>
                <a:lnTo>
                  <a:pt x="611" y="6"/>
                </a:lnTo>
                <a:lnTo>
                  <a:pt x="611" y="6"/>
                </a:lnTo>
                <a:lnTo>
                  <a:pt x="611" y="6"/>
                </a:lnTo>
                <a:lnTo>
                  <a:pt x="611" y="5"/>
                </a:lnTo>
                <a:lnTo>
                  <a:pt x="612" y="5"/>
                </a:lnTo>
                <a:lnTo>
                  <a:pt x="612" y="5"/>
                </a:lnTo>
                <a:lnTo>
                  <a:pt x="612" y="5"/>
                </a:lnTo>
                <a:lnTo>
                  <a:pt x="612" y="5"/>
                </a:lnTo>
                <a:lnTo>
                  <a:pt x="612" y="5"/>
                </a:lnTo>
                <a:lnTo>
                  <a:pt x="612" y="5"/>
                </a:lnTo>
                <a:lnTo>
                  <a:pt x="613" y="5"/>
                </a:lnTo>
                <a:lnTo>
                  <a:pt x="613" y="5"/>
                </a:lnTo>
                <a:lnTo>
                  <a:pt x="613" y="4"/>
                </a:lnTo>
                <a:lnTo>
                  <a:pt x="613" y="4"/>
                </a:lnTo>
                <a:lnTo>
                  <a:pt x="613" y="4"/>
                </a:lnTo>
                <a:lnTo>
                  <a:pt x="613" y="4"/>
                </a:lnTo>
                <a:lnTo>
                  <a:pt x="614" y="4"/>
                </a:lnTo>
                <a:lnTo>
                  <a:pt x="614" y="4"/>
                </a:lnTo>
                <a:lnTo>
                  <a:pt x="614" y="4"/>
                </a:lnTo>
                <a:lnTo>
                  <a:pt x="614" y="4"/>
                </a:lnTo>
                <a:lnTo>
                  <a:pt x="614" y="4"/>
                </a:lnTo>
                <a:lnTo>
                  <a:pt x="616" y="4"/>
                </a:lnTo>
                <a:lnTo>
                  <a:pt x="616" y="4"/>
                </a:lnTo>
                <a:lnTo>
                  <a:pt x="616" y="3"/>
                </a:lnTo>
                <a:lnTo>
                  <a:pt x="616" y="3"/>
                </a:lnTo>
                <a:lnTo>
                  <a:pt x="616" y="3"/>
                </a:lnTo>
                <a:lnTo>
                  <a:pt x="616" y="3"/>
                </a:lnTo>
                <a:lnTo>
                  <a:pt x="617" y="3"/>
                </a:lnTo>
                <a:lnTo>
                  <a:pt x="617" y="3"/>
                </a:lnTo>
                <a:lnTo>
                  <a:pt x="617" y="3"/>
                </a:lnTo>
                <a:lnTo>
                  <a:pt x="617" y="3"/>
                </a:lnTo>
                <a:lnTo>
                  <a:pt x="617" y="3"/>
                </a:lnTo>
                <a:lnTo>
                  <a:pt x="618" y="3"/>
                </a:lnTo>
                <a:lnTo>
                  <a:pt x="618" y="3"/>
                </a:lnTo>
                <a:lnTo>
                  <a:pt x="618" y="2"/>
                </a:lnTo>
                <a:lnTo>
                  <a:pt x="618" y="2"/>
                </a:lnTo>
                <a:lnTo>
                  <a:pt x="618" y="2"/>
                </a:lnTo>
                <a:lnTo>
                  <a:pt x="619" y="2"/>
                </a:lnTo>
                <a:lnTo>
                  <a:pt x="619" y="2"/>
                </a:lnTo>
                <a:lnTo>
                  <a:pt x="619" y="2"/>
                </a:lnTo>
                <a:lnTo>
                  <a:pt x="619" y="2"/>
                </a:lnTo>
                <a:lnTo>
                  <a:pt x="619" y="2"/>
                </a:lnTo>
                <a:lnTo>
                  <a:pt x="619" y="2"/>
                </a:lnTo>
                <a:lnTo>
                  <a:pt x="620" y="2"/>
                </a:lnTo>
                <a:lnTo>
                  <a:pt x="620" y="2"/>
                </a:lnTo>
                <a:lnTo>
                  <a:pt x="620" y="2"/>
                </a:lnTo>
                <a:lnTo>
                  <a:pt x="620" y="2"/>
                </a:lnTo>
                <a:lnTo>
                  <a:pt x="620" y="2"/>
                </a:lnTo>
                <a:lnTo>
                  <a:pt x="621" y="2"/>
                </a:lnTo>
                <a:lnTo>
                  <a:pt x="621" y="1"/>
                </a:lnTo>
                <a:lnTo>
                  <a:pt x="621" y="1"/>
                </a:lnTo>
                <a:lnTo>
                  <a:pt x="621" y="1"/>
                </a:lnTo>
                <a:lnTo>
                  <a:pt x="621" y="1"/>
                </a:lnTo>
                <a:lnTo>
                  <a:pt x="622" y="1"/>
                </a:lnTo>
                <a:lnTo>
                  <a:pt x="622" y="1"/>
                </a:lnTo>
                <a:lnTo>
                  <a:pt x="622" y="1"/>
                </a:lnTo>
                <a:lnTo>
                  <a:pt x="622" y="1"/>
                </a:lnTo>
                <a:lnTo>
                  <a:pt x="622" y="1"/>
                </a:lnTo>
                <a:lnTo>
                  <a:pt x="623" y="1"/>
                </a:lnTo>
                <a:lnTo>
                  <a:pt x="623" y="1"/>
                </a:lnTo>
                <a:lnTo>
                  <a:pt x="623" y="1"/>
                </a:lnTo>
                <a:lnTo>
                  <a:pt x="623" y="1"/>
                </a:lnTo>
                <a:lnTo>
                  <a:pt x="623" y="1"/>
                </a:lnTo>
                <a:lnTo>
                  <a:pt x="625" y="1"/>
                </a:lnTo>
                <a:lnTo>
                  <a:pt x="625" y="1"/>
                </a:lnTo>
                <a:lnTo>
                  <a:pt x="625" y="1"/>
                </a:lnTo>
                <a:lnTo>
                  <a:pt x="625" y="1"/>
                </a:lnTo>
                <a:lnTo>
                  <a:pt x="625" y="1"/>
                </a:lnTo>
                <a:lnTo>
                  <a:pt x="626" y="1"/>
                </a:lnTo>
                <a:lnTo>
                  <a:pt x="626" y="1"/>
                </a:lnTo>
                <a:lnTo>
                  <a:pt x="626" y="0"/>
                </a:lnTo>
                <a:lnTo>
                  <a:pt x="626" y="0"/>
                </a:lnTo>
                <a:lnTo>
                  <a:pt x="626" y="0"/>
                </a:lnTo>
                <a:lnTo>
                  <a:pt x="627" y="0"/>
                </a:lnTo>
                <a:lnTo>
                  <a:pt x="627" y="0"/>
                </a:lnTo>
                <a:lnTo>
                  <a:pt x="627" y="0"/>
                </a:lnTo>
                <a:lnTo>
                  <a:pt x="627" y="0"/>
                </a:lnTo>
                <a:lnTo>
                  <a:pt x="628" y="0"/>
                </a:lnTo>
                <a:lnTo>
                  <a:pt x="628" y="0"/>
                </a:lnTo>
                <a:lnTo>
                  <a:pt x="628" y="0"/>
                </a:lnTo>
                <a:lnTo>
                  <a:pt x="628" y="0"/>
                </a:lnTo>
                <a:lnTo>
                  <a:pt x="628" y="0"/>
                </a:lnTo>
                <a:lnTo>
                  <a:pt x="629" y="0"/>
                </a:lnTo>
                <a:lnTo>
                  <a:pt x="629" y="0"/>
                </a:lnTo>
                <a:lnTo>
                  <a:pt x="629" y="0"/>
                </a:lnTo>
                <a:lnTo>
                  <a:pt x="629" y="0"/>
                </a:lnTo>
                <a:lnTo>
                  <a:pt x="629" y="0"/>
                </a:lnTo>
                <a:lnTo>
                  <a:pt x="630" y="0"/>
                </a:lnTo>
                <a:lnTo>
                  <a:pt x="630" y="0"/>
                </a:lnTo>
                <a:lnTo>
                  <a:pt x="630" y="0"/>
                </a:lnTo>
                <a:lnTo>
                  <a:pt x="630" y="0"/>
                </a:lnTo>
                <a:lnTo>
                  <a:pt x="630" y="0"/>
                </a:lnTo>
                <a:lnTo>
                  <a:pt x="631" y="0"/>
                </a:lnTo>
                <a:lnTo>
                  <a:pt x="631" y="0"/>
                </a:lnTo>
                <a:lnTo>
                  <a:pt x="631" y="0"/>
                </a:lnTo>
                <a:lnTo>
                  <a:pt x="631" y="0"/>
                </a:lnTo>
                <a:lnTo>
                  <a:pt x="632" y="0"/>
                </a:lnTo>
                <a:lnTo>
                  <a:pt x="632" y="0"/>
                </a:lnTo>
                <a:lnTo>
                  <a:pt x="632" y="0"/>
                </a:lnTo>
                <a:lnTo>
                  <a:pt x="632" y="0"/>
                </a:lnTo>
                <a:lnTo>
                  <a:pt x="632" y="0"/>
                </a:lnTo>
                <a:lnTo>
                  <a:pt x="634" y="0"/>
                </a:lnTo>
                <a:lnTo>
                  <a:pt x="634" y="0"/>
                </a:lnTo>
                <a:lnTo>
                  <a:pt x="634" y="0"/>
                </a:lnTo>
                <a:lnTo>
                  <a:pt x="634" y="0"/>
                </a:lnTo>
                <a:lnTo>
                  <a:pt x="634" y="0"/>
                </a:lnTo>
                <a:lnTo>
                  <a:pt x="635" y="0"/>
                </a:lnTo>
                <a:lnTo>
                  <a:pt x="635" y="0"/>
                </a:lnTo>
                <a:lnTo>
                  <a:pt x="635" y="0"/>
                </a:lnTo>
                <a:lnTo>
                  <a:pt x="635" y="0"/>
                </a:lnTo>
                <a:lnTo>
                  <a:pt x="636" y="0"/>
                </a:lnTo>
                <a:lnTo>
                  <a:pt x="636" y="0"/>
                </a:lnTo>
                <a:lnTo>
                  <a:pt x="636" y="0"/>
                </a:lnTo>
                <a:lnTo>
                  <a:pt x="636" y="0"/>
                </a:lnTo>
                <a:lnTo>
                  <a:pt x="636" y="0"/>
                </a:lnTo>
                <a:lnTo>
                  <a:pt x="637" y="0"/>
                </a:lnTo>
                <a:lnTo>
                  <a:pt x="637" y="0"/>
                </a:lnTo>
                <a:lnTo>
                  <a:pt x="637" y="0"/>
                </a:lnTo>
                <a:lnTo>
                  <a:pt x="637" y="0"/>
                </a:lnTo>
                <a:lnTo>
                  <a:pt x="637" y="0"/>
                </a:lnTo>
                <a:lnTo>
                  <a:pt x="638" y="0"/>
                </a:lnTo>
                <a:lnTo>
                  <a:pt x="638" y="0"/>
                </a:lnTo>
                <a:lnTo>
                  <a:pt x="638" y="0"/>
                </a:lnTo>
                <a:lnTo>
                  <a:pt x="638" y="1"/>
                </a:lnTo>
                <a:lnTo>
                  <a:pt x="638" y="1"/>
                </a:lnTo>
                <a:lnTo>
                  <a:pt x="639" y="1"/>
                </a:lnTo>
                <a:lnTo>
                  <a:pt x="639" y="1"/>
                </a:lnTo>
                <a:lnTo>
                  <a:pt x="639" y="1"/>
                </a:lnTo>
                <a:lnTo>
                  <a:pt x="639" y="1"/>
                </a:lnTo>
                <a:lnTo>
                  <a:pt x="639" y="1"/>
                </a:lnTo>
                <a:lnTo>
                  <a:pt x="640" y="1"/>
                </a:lnTo>
                <a:lnTo>
                  <a:pt x="640" y="1"/>
                </a:lnTo>
                <a:lnTo>
                  <a:pt x="640" y="1"/>
                </a:lnTo>
                <a:lnTo>
                  <a:pt x="640" y="1"/>
                </a:lnTo>
                <a:lnTo>
                  <a:pt x="640" y="1"/>
                </a:lnTo>
                <a:lnTo>
                  <a:pt x="641" y="1"/>
                </a:lnTo>
                <a:lnTo>
                  <a:pt x="641" y="1"/>
                </a:lnTo>
                <a:lnTo>
                  <a:pt x="641" y="1"/>
                </a:lnTo>
                <a:lnTo>
                  <a:pt x="641" y="1"/>
                </a:lnTo>
                <a:lnTo>
                  <a:pt x="641" y="1"/>
                </a:lnTo>
                <a:lnTo>
                  <a:pt x="643" y="1"/>
                </a:lnTo>
                <a:lnTo>
                  <a:pt x="643" y="1"/>
                </a:lnTo>
                <a:lnTo>
                  <a:pt x="643" y="1"/>
                </a:lnTo>
                <a:lnTo>
                  <a:pt x="643" y="1"/>
                </a:lnTo>
                <a:lnTo>
                  <a:pt x="643" y="2"/>
                </a:lnTo>
                <a:lnTo>
                  <a:pt x="644" y="2"/>
                </a:lnTo>
                <a:lnTo>
                  <a:pt x="644" y="2"/>
                </a:lnTo>
                <a:lnTo>
                  <a:pt x="644" y="2"/>
                </a:lnTo>
                <a:lnTo>
                  <a:pt x="644" y="2"/>
                </a:lnTo>
                <a:lnTo>
                  <a:pt x="644" y="2"/>
                </a:lnTo>
                <a:lnTo>
                  <a:pt x="645" y="2"/>
                </a:lnTo>
                <a:lnTo>
                  <a:pt x="645" y="2"/>
                </a:lnTo>
                <a:lnTo>
                  <a:pt x="645" y="2"/>
                </a:lnTo>
                <a:lnTo>
                  <a:pt x="645" y="2"/>
                </a:lnTo>
                <a:lnTo>
                  <a:pt x="645" y="2"/>
                </a:lnTo>
                <a:lnTo>
                  <a:pt x="646" y="2"/>
                </a:lnTo>
                <a:lnTo>
                  <a:pt x="646" y="2"/>
                </a:lnTo>
                <a:lnTo>
                  <a:pt x="646" y="2"/>
                </a:lnTo>
                <a:lnTo>
                  <a:pt x="646" y="2"/>
                </a:lnTo>
                <a:lnTo>
                  <a:pt x="646" y="3"/>
                </a:lnTo>
                <a:lnTo>
                  <a:pt x="647" y="3"/>
                </a:lnTo>
                <a:lnTo>
                  <a:pt x="647" y="3"/>
                </a:lnTo>
                <a:lnTo>
                  <a:pt x="647" y="3"/>
                </a:lnTo>
                <a:lnTo>
                  <a:pt x="647" y="3"/>
                </a:lnTo>
                <a:lnTo>
                  <a:pt x="647" y="3"/>
                </a:lnTo>
                <a:lnTo>
                  <a:pt x="647" y="3"/>
                </a:lnTo>
                <a:lnTo>
                  <a:pt x="648" y="3"/>
                </a:lnTo>
                <a:lnTo>
                  <a:pt x="648" y="3"/>
                </a:lnTo>
                <a:lnTo>
                  <a:pt x="648" y="3"/>
                </a:lnTo>
                <a:lnTo>
                  <a:pt x="648" y="3"/>
                </a:lnTo>
                <a:lnTo>
                  <a:pt x="648" y="4"/>
                </a:lnTo>
                <a:lnTo>
                  <a:pt x="649" y="4"/>
                </a:lnTo>
                <a:lnTo>
                  <a:pt x="649" y="4"/>
                </a:lnTo>
                <a:lnTo>
                  <a:pt x="649" y="4"/>
                </a:lnTo>
                <a:lnTo>
                  <a:pt x="649" y="4"/>
                </a:lnTo>
                <a:lnTo>
                  <a:pt x="649" y="4"/>
                </a:lnTo>
                <a:lnTo>
                  <a:pt x="649" y="4"/>
                </a:lnTo>
                <a:lnTo>
                  <a:pt x="650" y="4"/>
                </a:lnTo>
                <a:lnTo>
                  <a:pt x="650" y="4"/>
                </a:lnTo>
                <a:lnTo>
                  <a:pt x="650" y="4"/>
                </a:lnTo>
                <a:lnTo>
                  <a:pt x="650" y="4"/>
                </a:lnTo>
                <a:lnTo>
                  <a:pt x="650" y="5"/>
                </a:lnTo>
                <a:lnTo>
                  <a:pt x="652" y="5"/>
                </a:lnTo>
                <a:lnTo>
                  <a:pt x="652" y="5"/>
                </a:lnTo>
                <a:lnTo>
                  <a:pt x="652" y="5"/>
                </a:lnTo>
                <a:lnTo>
                  <a:pt x="652" y="5"/>
                </a:lnTo>
                <a:lnTo>
                  <a:pt x="652" y="5"/>
                </a:lnTo>
                <a:lnTo>
                  <a:pt x="652" y="5"/>
                </a:lnTo>
                <a:lnTo>
                  <a:pt x="653" y="5"/>
                </a:lnTo>
                <a:lnTo>
                  <a:pt x="653" y="5"/>
                </a:lnTo>
                <a:lnTo>
                  <a:pt x="653" y="6"/>
                </a:lnTo>
                <a:lnTo>
                  <a:pt x="653" y="6"/>
                </a:lnTo>
                <a:lnTo>
                  <a:pt x="653" y="6"/>
                </a:lnTo>
                <a:lnTo>
                  <a:pt x="653" y="6"/>
                </a:lnTo>
                <a:lnTo>
                  <a:pt x="654" y="6"/>
                </a:lnTo>
                <a:lnTo>
                  <a:pt x="654" y="6"/>
                </a:lnTo>
                <a:lnTo>
                  <a:pt x="654" y="6"/>
                </a:lnTo>
                <a:lnTo>
                  <a:pt x="654" y="6"/>
                </a:lnTo>
                <a:lnTo>
                  <a:pt x="654" y="6"/>
                </a:lnTo>
                <a:lnTo>
                  <a:pt x="654" y="8"/>
                </a:lnTo>
                <a:lnTo>
                  <a:pt x="655" y="8"/>
                </a:lnTo>
                <a:lnTo>
                  <a:pt x="655" y="8"/>
                </a:lnTo>
                <a:lnTo>
                  <a:pt x="655" y="8"/>
                </a:lnTo>
                <a:lnTo>
                  <a:pt x="655" y="8"/>
                </a:lnTo>
                <a:lnTo>
                  <a:pt x="655" y="8"/>
                </a:lnTo>
                <a:lnTo>
                  <a:pt x="655" y="8"/>
                </a:lnTo>
                <a:lnTo>
                  <a:pt x="655" y="8"/>
                </a:lnTo>
                <a:lnTo>
                  <a:pt x="656" y="9"/>
                </a:lnTo>
                <a:lnTo>
                  <a:pt x="656" y="9"/>
                </a:lnTo>
                <a:lnTo>
                  <a:pt x="656" y="9"/>
                </a:lnTo>
                <a:lnTo>
                  <a:pt x="656" y="9"/>
                </a:lnTo>
                <a:lnTo>
                  <a:pt x="656" y="9"/>
                </a:lnTo>
                <a:lnTo>
                  <a:pt x="656" y="9"/>
                </a:lnTo>
                <a:lnTo>
                  <a:pt x="657" y="9"/>
                </a:lnTo>
                <a:lnTo>
                  <a:pt x="657" y="9"/>
                </a:lnTo>
                <a:lnTo>
                  <a:pt x="657" y="10"/>
                </a:lnTo>
                <a:lnTo>
                  <a:pt x="657" y="10"/>
                </a:lnTo>
                <a:lnTo>
                  <a:pt x="657" y="10"/>
                </a:lnTo>
                <a:lnTo>
                  <a:pt x="657" y="10"/>
                </a:lnTo>
                <a:lnTo>
                  <a:pt x="657" y="10"/>
                </a:lnTo>
                <a:lnTo>
                  <a:pt x="658" y="10"/>
                </a:lnTo>
                <a:lnTo>
                  <a:pt x="658" y="10"/>
                </a:lnTo>
                <a:lnTo>
                  <a:pt x="658" y="11"/>
                </a:lnTo>
                <a:lnTo>
                  <a:pt x="658" y="11"/>
                </a:lnTo>
                <a:lnTo>
                  <a:pt x="658" y="11"/>
                </a:lnTo>
                <a:lnTo>
                  <a:pt x="658" y="11"/>
                </a:lnTo>
                <a:lnTo>
                  <a:pt x="658" y="11"/>
                </a:lnTo>
                <a:lnTo>
                  <a:pt x="659" y="11"/>
                </a:lnTo>
                <a:lnTo>
                  <a:pt x="659" y="11"/>
                </a:lnTo>
                <a:lnTo>
                  <a:pt x="659" y="12"/>
                </a:lnTo>
                <a:lnTo>
                  <a:pt x="659" y="12"/>
                </a:lnTo>
                <a:lnTo>
                  <a:pt x="659" y="12"/>
                </a:lnTo>
                <a:lnTo>
                  <a:pt x="659" y="12"/>
                </a:lnTo>
                <a:lnTo>
                  <a:pt x="659" y="12"/>
                </a:lnTo>
                <a:lnTo>
                  <a:pt x="661" y="12"/>
                </a:lnTo>
                <a:lnTo>
                  <a:pt x="661" y="12"/>
                </a:lnTo>
                <a:lnTo>
                  <a:pt x="661" y="13"/>
                </a:lnTo>
                <a:lnTo>
                  <a:pt x="661" y="13"/>
                </a:lnTo>
                <a:lnTo>
                  <a:pt x="661" y="13"/>
                </a:lnTo>
                <a:lnTo>
                  <a:pt x="661" y="13"/>
                </a:lnTo>
                <a:lnTo>
                  <a:pt x="661" y="13"/>
                </a:lnTo>
                <a:lnTo>
                  <a:pt x="661" y="13"/>
                </a:lnTo>
                <a:lnTo>
                  <a:pt x="662" y="14"/>
                </a:lnTo>
                <a:lnTo>
                  <a:pt x="662" y="14"/>
                </a:lnTo>
                <a:lnTo>
                  <a:pt x="662" y="14"/>
                </a:lnTo>
                <a:lnTo>
                  <a:pt x="662" y="14"/>
                </a:lnTo>
                <a:lnTo>
                  <a:pt x="662" y="14"/>
                </a:lnTo>
                <a:lnTo>
                  <a:pt x="662" y="14"/>
                </a:lnTo>
                <a:lnTo>
                  <a:pt x="662" y="14"/>
                </a:lnTo>
                <a:lnTo>
                  <a:pt x="662" y="15"/>
                </a:lnTo>
                <a:lnTo>
                  <a:pt x="663" y="15"/>
                </a:lnTo>
                <a:lnTo>
                  <a:pt x="663" y="15"/>
                </a:lnTo>
                <a:lnTo>
                  <a:pt x="663" y="15"/>
                </a:lnTo>
                <a:lnTo>
                  <a:pt x="663" y="15"/>
                </a:lnTo>
                <a:lnTo>
                  <a:pt x="663" y="15"/>
                </a:lnTo>
                <a:lnTo>
                  <a:pt x="663" y="17"/>
                </a:lnTo>
                <a:lnTo>
                  <a:pt x="663" y="17"/>
                </a:lnTo>
                <a:lnTo>
                  <a:pt x="663" y="17"/>
                </a:lnTo>
                <a:lnTo>
                  <a:pt x="663" y="17"/>
                </a:lnTo>
                <a:lnTo>
                  <a:pt x="664" y="17"/>
                </a:lnTo>
                <a:lnTo>
                  <a:pt x="664" y="17"/>
                </a:lnTo>
                <a:lnTo>
                  <a:pt x="664" y="18"/>
                </a:lnTo>
                <a:lnTo>
                  <a:pt x="664" y="18"/>
                </a:lnTo>
                <a:lnTo>
                  <a:pt x="664" y="18"/>
                </a:lnTo>
                <a:lnTo>
                  <a:pt x="664" y="18"/>
                </a:lnTo>
                <a:lnTo>
                  <a:pt x="664" y="18"/>
                </a:lnTo>
                <a:lnTo>
                  <a:pt x="664" y="18"/>
                </a:lnTo>
                <a:lnTo>
                  <a:pt x="664" y="19"/>
                </a:lnTo>
                <a:lnTo>
                  <a:pt x="665" y="19"/>
                </a:lnTo>
                <a:lnTo>
                  <a:pt x="665" y="19"/>
                </a:lnTo>
                <a:lnTo>
                  <a:pt x="665" y="19"/>
                </a:lnTo>
                <a:lnTo>
                  <a:pt x="665" y="19"/>
                </a:lnTo>
                <a:lnTo>
                  <a:pt x="665" y="20"/>
                </a:lnTo>
                <a:lnTo>
                  <a:pt x="665" y="20"/>
                </a:lnTo>
                <a:lnTo>
                  <a:pt x="665" y="20"/>
                </a:lnTo>
                <a:lnTo>
                  <a:pt x="665" y="20"/>
                </a:lnTo>
                <a:lnTo>
                  <a:pt x="665" y="20"/>
                </a:lnTo>
                <a:lnTo>
                  <a:pt x="665" y="20"/>
                </a:lnTo>
                <a:lnTo>
                  <a:pt x="665" y="21"/>
                </a:lnTo>
                <a:lnTo>
                  <a:pt x="666" y="21"/>
                </a:lnTo>
                <a:lnTo>
                  <a:pt x="666" y="21"/>
                </a:lnTo>
                <a:lnTo>
                  <a:pt x="666" y="21"/>
                </a:lnTo>
                <a:lnTo>
                  <a:pt x="666" y="21"/>
                </a:lnTo>
                <a:lnTo>
                  <a:pt x="666" y="22"/>
                </a:lnTo>
                <a:lnTo>
                  <a:pt x="666" y="22"/>
                </a:lnTo>
                <a:lnTo>
                  <a:pt x="666" y="22"/>
                </a:lnTo>
                <a:lnTo>
                  <a:pt x="666" y="22"/>
                </a:lnTo>
                <a:lnTo>
                  <a:pt x="666" y="22"/>
                </a:lnTo>
                <a:lnTo>
                  <a:pt x="666" y="22"/>
                </a:lnTo>
                <a:lnTo>
                  <a:pt x="666" y="23"/>
                </a:lnTo>
                <a:lnTo>
                  <a:pt x="666" y="23"/>
                </a:lnTo>
                <a:lnTo>
                  <a:pt x="667" y="23"/>
                </a:lnTo>
                <a:lnTo>
                  <a:pt x="667" y="23"/>
                </a:lnTo>
                <a:lnTo>
                  <a:pt x="667" y="23"/>
                </a:lnTo>
                <a:lnTo>
                  <a:pt x="667" y="24"/>
                </a:lnTo>
                <a:lnTo>
                  <a:pt x="667" y="24"/>
                </a:lnTo>
                <a:lnTo>
                  <a:pt x="667" y="24"/>
                </a:lnTo>
                <a:lnTo>
                  <a:pt x="667" y="24"/>
                </a:lnTo>
                <a:lnTo>
                  <a:pt x="667" y="24"/>
                </a:lnTo>
                <a:lnTo>
                  <a:pt x="667" y="26"/>
                </a:lnTo>
                <a:lnTo>
                  <a:pt x="667" y="26"/>
                </a:lnTo>
                <a:lnTo>
                  <a:pt x="667" y="26"/>
                </a:lnTo>
                <a:lnTo>
                  <a:pt x="667" y="26"/>
                </a:lnTo>
                <a:lnTo>
                  <a:pt x="667" y="26"/>
                </a:lnTo>
                <a:lnTo>
                  <a:pt x="667" y="27"/>
                </a:lnTo>
                <a:lnTo>
                  <a:pt x="668" y="27"/>
                </a:lnTo>
                <a:lnTo>
                  <a:pt x="668" y="27"/>
                </a:lnTo>
                <a:lnTo>
                  <a:pt x="668" y="27"/>
                </a:lnTo>
                <a:lnTo>
                  <a:pt x="668" y="27"/>
                </a:lnTo>
                <a:lnTo>
                  <a:pt x="668" y="28"/>
                </a:lnTo>
                <a:lnTo>
                  <a:pt x="668" y="28"/>
                </a:lnTo>
                <a:lnTo>
                  <a:pt x="668" y="28"/>
                </a:lnTo>
                <a:lnTo>
                  <a:pt x="668" y="28"/>
                </a:lnTo>
                <a:lnTo>
                  <a:pt x="668" y="28"/>
                </a:lnTo>
                <a:lnTo>
                  <a:pt x="668" y="28"/>
                </a:lnTo>
                <a:lnTo>
                  <a:pt x="668" y="29"/>
                </a:lnTo>
                <a:lnTo>
                  <a:pt x="668" y="29"/>
                </a:lnTo>
                <a:lnTo>
                  <a:pt x="668" y="29"/>
                </a:lnTo>
                <a:lnTo>
                  <a:pt x="668" y="29"/>
                </a:lnTo>
                <a:lnTo>
                  <a:pt x="668" y="30"/>
                </a:lnTo>
                <a:lnTo>
                  <a:pt x="668" y="30"/>
                </a:lnTo>
                <a:lnTo>
                  <a:pt x="668" y="30"/>
                </a:lnTo>
                <a:lnTo>
                  <a:pt x="668" y="30"/>
                </a:lnTo>
                <a:lnTo>
                  <a:pt x="668" y="30"/>
                </a:lnTo>
                <a:lnTo>
                  <a:pt x="668" y="31"/>
                </a:lnTo>
                <a:lnTo>
                  <a:pt x="668" y="31"/>
                </a:lnTo>
                <a:lnTo>
                  <a:pt x="670" y="31"/>
                </a:lnTo>
                <a:lnTo>
                  <a:pt x="670" y="31"/>
                </a:lnTo>
                <a:lnTo>
                  <a:pt x="670" y="31"/>
                </a:lnTo>
                <a:lnTo>
                  <a:pt x="670" y="32"/>
                </a:lnTo>
                <a:lnTo>
                  <a:pt x="670" y="32"/>
                </a:lnTo>
                <a:lnTo>
                  <a:pt x="670" y="32"/>
                </a:lnTo>
                <a:lnTo>
                  <a:pt x="670" y="32"/>
                </a:lnTo>
                <a:lnTo>
                  <a:pt x="670" y="32"/>
                </a:lnTo>
                <a:lnTo>
                  <a:pt x="670" y="34"/>
                </a:lnTo>
                <a:lnTo>
                  <a:pt x="670" y="34"/>
                </a:lnTo>
                <a:lnTo>
                  <a:pt x="670" y="34"/>
                </a:lnTo>
                <a:lnTo>
                  <a:pt x="670" y="34"/>
                </a:lnTo>
                <a:lnTo>
                  <a:pt x="670" y="34"/>
                </a:lnTo>
                <a:lnTo>
                  <a:pt x="670" y="35"/>
                </a:lnTo>
                <a:lnTo>
                  <a:pt x="670" y="35"/>
                </a:lnTo>
                <a:lnTo>
                  <a:pt x="670" y="35"/>
                </a:lnTo>
                <a:lnTo>
                  <a:pt x="670" y="35"/>
                </a:lnTo>
                <a:lnTo>
                  <a:pt x="670" y="36"/>
                </a:lnTo>
                <a:lnTo>
                  <a:pt x="670" y="36"/>
                </a:lnTo>
                <a:lnTo>
                  <a:pt x="670" y="36"/>
                </a:lnTo>
                <a:lnTo>
                  <a:pt x="670" y="36"/>
                </a:lnTo>
                <a:lnTo>
                  <a:pt x="670" y="36"/>
                </a:lnTo>
                <a:lnTo>
                  <a:pt x="670" y="37"/>
                </a:lnTo>
                <a:lnTo>
                  <a:pt x="670" y="37"/>
                </a:lnTo>
                <a:lnTo>
                  <a:pt x="670" y="37"/>
                </a:lnTo>
                <a:lnTo>
                  <a:pt x="670" y="37"/>
                </a:lnTo>
                <a:lnTo>
                  <a:pt x="670" y="37"/>
                </a:lnTo>
                <a:lnTo>
                  <a:pt x="670" y="38"/>
                </a:lnTo>
                <a:lnTo>
                  <a:pt x="670" y="38"/>
                </a:lnTo>
                <a:lnTo>
                  <a:pt x="670" y="38"/>
                </a:lnTo>
                <a:lnTo>
                  <a:pt x="670" y="38"/>
                </a:lnTo>
                <a:lnTo>
                  <a:pt x="670" y="39"/>
                </a:lnTo>
                <a:lnTo>
                  <a:pt x="670" y="39"/>
                </a:lnTo>
                <a:lnTo>
                  <a:pt x="670" y="39"/>
                </a:lnTo>
                <a:lnTo>
                  <a:pt x="670" y="39"/>
                </a:lnTo>
                <a:lnTo>
                  <a:pt x="670" y="39"/>
                </a:lnTo>
                <a:lnTo>
                  <a:pt x="670" y="40"/>
                </a:lnTo>
                <a:lnTo>
                  <a:pt x="670" y="40"/>
                </a:lnTo>
                <a:lnTo>
                  <a:pt x="670" y="40"/>
                </a:lnTo>
                <a:lnTo>
                  <a:pt x="670" y="40"/>
                </a:lnTo>
                <a:lnTo>
                  <a:pt x="670" y="40"/>
                </a:lnTo>
                <a:lnTo>
                  <a:pt x="670" y="41"/>
                </a:lnTo>
                <a:lnTo>
                  <a:pt x="670" y="41"/>
                </a:lnTo>
                <a:lnTo>
                  <a:pt x="670" y="41"/>
                </a:lnTo>
                <a:lnTo>
                  <a:pt x="670" y="41"/>
                </a:lnTo>
                <a:lnTo>
                  <a:pt x="670" y="41"/>
                </a:lnTo>
                <a:lnTo>
                  <a:pt x="670" y="43"/>
                </a:lnTo>
                <a:lnTo>
                  <a:pt x="670" y="43"/>
                </a:lnTo>
                <a:lnTo>
                  <a:pt x="670" y="43"/>
                </a:lnTo>
                <a:lnTo>
                  <a:pt x="670" y="43"/>
                </a:lnTo>
                <a:lnTo>
                  <a:pt x="670" y="44"/>
                </a:lnTo>
                <a:lnTo>
                  <a:pt x="670" y="44"/>
                </a:lnTo>
                <a:lnTo>
                  <a:pt x="670" y="44"/>
                </a:lnTo>
                <a:lnTo>
                  <a:pt x="668" y="44"/>
                </a:lnTo>
                <a:lnTo>
                  <a:pt x="668" y="44"/>
                </a:lnTo>
                <a:lnTo>
                  <a:pt x="668" y="45"/>
                </a:lnTo>
                <a:lnTo>
                  <a:pt x="668" y="45"/>
                </a:lnTo>
                <a:lnTo>
                  <a:pt x="668" y="45"/>
                </a:lnTo>
                <a:lnTo>
                  <a:pt x="668" y="45"/>
                </a:lnTo>
                <a:lnTo>
                  <a:pt x="668" y="45"/>
                </a:lnTo>
                <a:lnTo>
                  <a:pt x="668" y="46"/>
                </a:lnTo>
                <a:lnTo>
                  <a:pt x="668" y="46"/>
                </a:lnTo>
                <a:lnTo>
                  <a:pt x="668" y="46"/>
                </a:lnTo>
                <a:lnTo>
                  <a:pt x="668" y="46"/>
                </a:lnTo>
                <a:lnTo>
                  <a:pt x="668" y="46"/>
                </a:lnTo>
                <a:lnTo>
                  <a:pt x="668" y="47"/>
                </a:lnTo>
                <a:lnTo>
                  <a:pt x="668" y="47"/>
                </a:lnTo>
                <a:lnTo>
                  <a:pt x="668" y="47"/>
                </a:lnTo>
                <a:lnTo>
                  <a:pt x="668" y="47"/>
                </a:lnTo>
                <a:lnTo>
                  <a:pt x="668" y="47"/>
                </a:lnTo>
                <a:lnTo>
                  <a:pt x="668" y="48"/>
                </a:lnTo>
                <a:lnTo>
                  <a:pt x="668" y="48"/>
                </a:lnTo>
                <a:lnTo>
                  <a:pt x="668" y="48"/>
                </a:lnTo>
                <a:lnTo>
                  <a:pt x="668" y="48"/>
                </a:lnTo>
                <a:lnTo>
                  <a:pt x="667" y="48"/>
                </a:lnTo>
                <a:lnTo>
                  <a:pt x="667" y="49"/>
                </a:lnTo>
                <a:lnTo>
                  <a:pt x="667" y="49"/>
                </a:lnTo>
                <a:lnTo>
                  <a:pt x="667" y="49"/>
                </a:lnTo>
                <a:lnTo>
                  <a:pt x="667" y="49"/>
                </a:lnTo>
                <a:lnTo>
                  <a:pt x="667" y="49"/>
                </a:lnTo>
                <a:lnTo>
                  <a:pt x="667" y="50"/>
                </a:lnTo>
                <a:lnTo>
                  <a:pt x="667" y="50"/>
                </a:lnTo>
                <a:lnTo>
                  <a:pt x="667" y="50"/>
                </a:lnTo>
                <a:lnTo>
                  <a:pt x="667" y="50"/>
                </a:lnTo>
                <a:lnTo>
                  <a:pt x="667" y="50"/>
                </a:lnTo>
                <a:lnTo>
                  <a:pt x="667" y="50"/>
                </a:lnTo>
                <a:lnTo>
                  <a:pt x="667" y="52"/>
                </a:lnTo>
                <a:lnTo>
                  <a:pt x="667" y="52"/>
                </a:lnTo>
                <a:lnTo>
                  <a:pt x="666" y="52"/>
                </a:lnTo>
                <a:lnTo>
                  <a:pt x="666" y="52"/>
                </a:lnTo>
                <a:lnTo>
                  <a:pt x="666" y="52"/>
                </a:lnTo>
                <a:lnTo>
                  <a:pt x="666" y="53"/>
                </a:lnTo>
                <a:lnTo>
                  <a:pt x="666" y="53"/>
                </a:lnTo>
                <a:lnTo>
                  <a:pt x="666" y="53"/>
                </a:lnTo>
                <a:lnTo>
                  <a:pt x="666" y="53"/>
                </a:lnTo>
                <a:lnTo>
                  <a:pt x="666" y="53"/>
                </a:lnTo>
                <a:lnTo>
                  <a:pt x="666" y="54"/>
                </a:lnTo>
                <a:lnTo>
                  <a:pt x="666" y="54"/>
                </a:lnTo>
                <a:lnTo>
                  <a:pt x="666" y="54"/>
                </a:lnTo>
                <a:lnTo>
                  <a:pt x="666" y="54"/>
                </a:lnTo>
                <a:lnTo>
                  <a:pt x="665" y="54"/>
                </a:lnTo>
                <a:lnTo>
                  <a:pt x="665" y="54"/>
                </a:lnTo>
                <a:lnTo>
                  <a:pt x="665" y="55"/>
                </a:lnTo>
                <a:lnTo>
                  <a:pt x="665" y="55"/>
                </a:lnTo>
                <a:lnTo>
                  <a:pt x="665" y="55"/>
                </a:lnTo>
                <a:lnTo>
                  <a:pt x="665" y="55"/>
                </a:lnTo>
                <a:lnTo>
                  <a:pt x="665" y="55"/>
                </a:lnTo>
                <a:lnTo>
                  <a:pt x="665" y="56"/>
                </a:lnTo>
                <a:lnTo>
                  <a:pt x="665" y="56"/>
                </a:lnTo>
                <a:lnTo>
                  <a:pt x="665" y="56"/>
                </a:lnTo>
                <a:lnTo>
                  <a:pt x="665" y="56"/>
                </a:lnTo>
                <a:lnTo>
                  <a:pt x="664" y="56"/>
                </a:lnTo>
                <a:lnTo>
                  <a:pt x="664" y="56"/>
                </a:lnTo>
                <a:lnTo>
                  <a:pt x="664" y="57"/>
                </a:lnTo>
                <a:lnTo>
                  <a:pt x="664" y="57"/>
                </a:lnTo>
                <a:lnTo>
                  <a:pt x="664" y="57"/>
                </a:lnTo>
                <a:lnTo>
                  <a:pt x="664" y="57"/>
                </a:lnTo>
                <a:lnTo>
                  <a:pt x="664" y="57"/>
                </a:lnTo>
                <a:lnTo>
                  <a:pt x="664" y="57"/>
                </a:lnTo>
                <a:lnTo>
                  <a:pt x="664" y="58"/>
                </a:lnTo>
                <a:lnTo>
                  <a:pt x="663" y="58"/>
                </a:lnTo>
                <a:lnTo>
                  <a:pt x="663" y="58"/>
                </a:lnTo>
                <a:lnTo>
                  <a:pt x="663" y="58"/>
                </a:lnTo>
                <a:lnTo>
                  <a:pt x="663" y="58"/>
                </a:lnTo>
                <a:lnTo>
                  <a:pt x="663" y="58"/>
                </a:lnTo>
                <a:lnTo>
                  <a:pt x="663" y="59"/>
                </a:lnTo>
                <a:lnTo>
                  <a:pt x="663" y="59"/>
                </a:lnTo>
                <a:lnTo>
                  <a:pt x="663" y="59"/>
                </a:lnTo>
                <a:lnTo>
                  <a:pt x="663" y="59"/>
                </a:lnTo>
                <a:lnTo>
                  <a:pt x="662" y="59"/>
                </a:lnTo>
                <a:lnTo>
                  <a:pt x="662" y="59"/>
                </a:lnTo>
                <a:lnTo>
                  <a:pt x="662" y="61"/>
                </a:lnTo>
                <a:lnTo>
                  <a:pt x="662" y="61"/>
                </a:lnTo>
                <a:lnTo>
                  <a:pt x="662" y="61"/>
                </a:lnTo>
                <a:lnTo>
                  <a:pt x="662" y="61"/>
                </a:lnTo>
                <a:lnTo>
                  <a:pt x="662" y="61"/>
                </a:lnTo>
                <a:lnTo>
                  <a:pt x="662" y="61"/>
                </a:lnTo>
                <a:lnTo>
                  <a:pt x="661" y="61"/>
                </a:lnTo>
                <a:lnTo>
                  <a:pt x="661" y="62"/>
                </a:lnTo>
                <a:lnTo>
                  <a:pt x="661" y="62"/>
                </a:lnTo>
                <a:lnTo>
                  <a:pt x="661" y="62"/>
                </a:lnTo>
                <a:lnTo>
                  <a:pt x="661" y="62"/>
                </a:lnTo>
                <a:lnTo>
                  <a:pt x="661" y="62"/>
                </a:lnTo>
                <a:lnTo>
                  <a:pt x="661" y="62"/>
                </a:lnTo>
                <a:lnTo>
                  <a:pt x="661" y="63"/>
                </a:lnTo>
                <a:lnTo>
                  <a:pt x="659" y="63"/>
                </a:lnTo>
                <a:lnTo>
                  <a:pt x="659" y="63"/>
                </a:lnTo>
                <a:lnTo>
                  <a:pt x="659" y="63"/>
                </a:lnTo>
                <a:lnTo>
                  <a:pt x="659" y="63"/>
                </a:lnTo>
                <a:lnTo>
                  <a:pt x="659" y="63"/>
                </a:lnTo>
                <a:lnTo>
                  <a:pt x="659" y="63"/>
                </a:lnTo>
                <a:lnTo>
                  <a:pt x="659" y="64"/>
                </a:lnTo>
                <a:lnTo>
                  <a:pt x="658" y="64"/>
                </a:lnTo>
                <a:lnTo>
                  <a:pt x="658" y="64"/>
                </a:lnTo>
                <a:lnTo>
                  <a:pt x="658" y="64"/>
                </a:lnTo>
                <a:lnTo>
                  <a:pt x="658" y="64"/>
                </a:lnTo>
                <a:lnTo>
                  <a:pt x="658" y="64"/>
                </a:lnTo>
                <a:lnTo>
                  <a:pt x="658" y="64"/>
                </a:lnTo>
                <a:lnTo>
                  <a:pt x="658" y="65"/>
                </a:lnTo>
                <a:lnTo>
                  <a:pt x="657" y="65"/>
                </a:lnTo>
                <a:lnTo>
                  <a:pt x="657" y="65"/>
                </a:lnTo>
                <a:lnTo>
                  <a:pt x="657" y="65"/>
                </a:lnTo>
                <a:lnTo>
                  <a:pt x="657" y="65"/>
                </a:lnTo>
                <a:lnTo>
                  <a:pt x="657" y="65"/>
                </a:lnTo>
                <a:lnTo>
                  <a:pt x="657" y="65"/>
                </a:lnTo>
                <a:lnTo>
                  <a:pt x="657" y="66"/>
                </a:lnTo>
                <a:lnTo>
                  <a:pt x="656" y="66"/>
                </a:lnTo>
                <a:lnTo>
                  <a:pt x="656" y="66"/>
                </a:lnTo>
                <a:lnTo>
                  <a:pt x="656" y="66"/>
                </a:lnTo>
                <a:lnTo>
                  <a:pt x="656" y="66"/>
                </a:lnTo>
                <a:lnTo>
                  <a:pt x="656" y="66"/>
                </a:lnTo>
                <a:lnTo>
                  <a:pt x="656" y="66"/>
                </a:lnTo>
                <a:lnTo>
                  <a:pt x="655" y="66"/>
                </a:lnTo>
                <a:lnTo>
                  <a:pt x="655" y="67"/>
                </a:lnTo>
                <a:lnTo>
                  <a:pt x="655" y="67"/>
                </a:lnTo>
                <a:lnTo>
                  <a:pt x="655" y="67"/>
                </a:lnTo>
                <a:lnTo>
                  <a:pt x="655" y="67"/>
                </a:lnTo>
                <a:lnTo>
                  <a:pt x="655" y="67"/>
                </a:lnTo>
                <a:lnTo>
                  <a:pt x="655" y="67"/>
                </a:lnTo>
                <a:lnTo>
                  <a:pt x="654" y="67"/>
                </a:lnTo>
                <a:lnTo>
                  <a:pt x="654" y="67"/>
                </a:lnTo>
                <a:lnTo>
                  <a:pt x="654" y="68"/>
                </a:lnTo>
                <a:lnTo>
                  <a:pt x="654" y="68"/>
                </a:lnTo>
                <a:lnTo>
                  <a:pt x="654" y="68"/>
                </a:lnTo>
                <a:lnTo>
                  <a:pt x="654" y="68"/>
                </a:lnTo>
                <a:lnTo>
                  <a:pt x="653" y="68"/>
                </a:lnTo>
                <a:lnTo>
                  <a:pt x="653" y="68"/>
                </a:lnTo>
                <a:lnTo>
                  <a:pt x="653" y="68"/>
                </a:lnTo>
                <a:lnTo>
                  <a:pt x="653" y="68"/>
                </a:lnTo>
                <a:lnTo>
                  <a:pt x="653" y="68"/>
                </a:lnTo>
                <a:lnTo>
                  <a:pt x="653" y="70"/>
                </a:lnTo>
                <a:lnTo>
                  <a:pt x="652" y="70"/>
                </a:lnTo>
                <a:lnTo>
                  <a:pt x="652" y="70"/>
                </a:lnTo>
                <a:lnTo>
                  <a:pt x="652" y="70"/>
                </a:lnTo>
                <a:lnTo>
                  <a:pt x="652" y="70"/>
                </a:lnTo>
                <a:lnTo>
                  <a:pt x="652" y="70"/>
                </a:lnTo>
                <a:lnTo>
                  <a:pt x="652" y="70"/>
                </a:lnTo>
                <a:lnTo>
                  <a:pt x="650" y="70"/>
                </a:lnTo>
                <a:lnTo>
                  <a:pt x="650" y="70"/>
                </a:lnTo>
                <a:lnTo>
                  <a:pt x="650" y="70"/>
                </a:lnTo>
                <a:lnTo>
                  <a:pt x="650" y="71"/>
                </a:lnTo>
                <a:lnTo>
                  <a:pt x="650" y="71"/>
                </a:lnTo>
                <a:lnTo>
                  <a:pt x="649" y="71"/>
                </a:lnTo>
                <a:lnTo>
                  <a:pt x="649" y="71"/>
                </a:lnTo>
                <a:lnTo>
                  <a:pt x="649" y="71"/>
                </a:lnTo>
                <a:lnTo>
                  <a:pt x="649" y="71"/>
                </a:lnTo>
                <a:lnTo>
                  <a:pt x="649" y="71"/>
                </a:lnTo>
                <a:lnTo>
                  <a:pt x="649" y="71"/>
                </a:lnTo>
                <a:lnTo>
                  <a:pt x="648" y="71"/>
                </a:lnTo>
                <a:lnTo>
                  <a:pt x="648" y="71"/>
                </a:lnTo>
                <a:lnTo>
                  <a:pt x="648" y="72"/>
                </a:lnTo>
                <a:lnTo>
                  <a:pt x="648" y="72"/>
                </a:lnTo>
                <a:lnTo>
                  <a:pt x="648" y="72"/>
                </a:lnTo>
                <a:lnTo>
                  <a:pt x="647" y="72"/>
                </a:lnTo>
                <a:lnTo>
                  <a:pt x="647" y="72"/>
                </a:lnTo>
                <a:lnTo>
                  <a:pt x="647" y="72"/>
                </a:lnTo>
                <a:lnTo>
                  <a:pt x="647" y="72"/>
                </a:lnTo>
                <a:lnTo>
                  <a:pt x="647" y="72"/>
                </a:lnTo>
                <a:lnTo>
                  <a:pt x="647" y="72"/>
                </a:lnTo>
                <a:lnTo>
                  <a:pt x="646" y="72"/>
                </a:lnTo>
                <a:lnTo>
                  <a:pt x="646" y="72"/>
                </a:lnTo>
                <a:lnTo>
                  <a:pt x="646" y="72"/>
                </a:lnTo>
                <a:lnTo>
                  <a:pt x="646" y="72"/>
                </a:lnTo>
                <a:lnTo>
                  <a:pt x="646" y="73"/>
                </a:lnTo>
                <a:lnTo>
                  <a:pt x="645" y="73"/>
                </a:lnTo>
                <a:lnTo>
                  <a:pt x="645" y="73"/>
                </a:lnTo>
                <a:lnTo>
                  <a:pt x="645" y="73"/>
                </a:lnTo>
                <a:lnTo>
                  <a:pt x="645" y="73"/>
                </a:lnTo>
                <a:lnTo>
                  <a:pt x="645" y="73"/>
                </a:lnTo>
                <a:lnTo>
                  <a:pt x="644" y="73"/>
                </a:lnTo>
                <a:lnTo>
                  <a:pt x="644" y="73"/>
                </a:lnTo>
                <a:lnTo>
                  <a:pt x="644" y="73"/>
                </a:lnTo>
                <a:lnTo>
                  <a:pt x="644" y="73"/>
                </a:lnTo>
                <a:lnTo>
                  <a:pt x="644" y="73"/>
                </a:lnTo>
                <a:lnTo>
                  <a:pt x="643" y="73"/>
                </a:lnTo>
                <a:lnTo>
                  <a:pt x="643" y="73"/>
                </a:lnTo>
                <a:lnTo>
                  <a:pt x="643" y="73"/>
                </a:lnTo>
                <a:lnTo>
                  <a:pt x="643" y="73"/>
                </a:lnTo>
                <a:lnTo>
                  <a:pt x="643" y="74"/>
                </a:lnTo>
                <a:lnTo>
                  <a:pt x="641" y="74"/>
                </a:lnTo>
                <a:lnTo>
                  <a:pt x="641" y="74"/>
                </a:lnTo>
                <a:lnTo>
                  <a:pt x="641" y="74"/>
                </a:lnTo>
                <a:lnTo>
                  <a:pt x="641" y="74"/>
                </a:lnTo>
                <a:lnTo>
                  <a:pt x="641" y="74"/>
                </a:lnTo>
                <a:lnTo>
                  <a:pt x="640" y="74"/>
                </a:lnTo>
                <a:lnTo>
                  <a:pt x="640" y="74"/>
                </a:lnTo>
                <a:lnTo>
                  <a:pt x="640" y="74"/>
                </a:lnTo>
                <a:lnTo>
                  <a:pt x="640" y="74"/>
                </a:lnTo>
                <a:lnTo>
                  <a:pt x="640" y="74"/>
                </a:lnTo>
                <a:lnTo>
                  <a:pt x="639" y="74"/>
                </a:lnTo>
                <a:lnTo>
                  <a:pt x="639" y="74"/>
                </a:lnTo>
                <a:lnTo>
                  <a:pt x="639" y="74"/>
                </a:lnTo>
                <a:lnTo>
                  <a:pt x="639" y="74"/>
                </a:lnTo>
                <a:lnTo>
                  <a:pt x="639" y="74"/>
                </a:lnTo>
                <a:lnTo>
                  <a:pt x="638" y="74"/>
                </a:lnTo>
                <a:lnTo>
                  <a:pt x="638" y="74"/>
                </a:lnTo>
                <a:lnTo>
                  <a:pt x="638" y="74"/>
                </a:lnTo>
                <a:lnTo>
                  <a:pt x="638" y="74"/>
                </a:lnTo>
                <a:lnTo>
                  <a:pt x="638" y="74"/>
                </a:lnTo>
                <a:lnTo>
                  <a:pt x="637" y="74"/>
                </a:lnTo>
                <a:lnTo>
                  <a:pt x="637" y="75"/>
                </a:lnTo>
                <a:lnTo>
                  <a:pt x="637" y="75"/>
                </a:lnTo>
                <a:lnTo>
                  <a:pt x="637" y="75"/>
                </a:lnTo>
                <a:lnTo>
                  <a:pt x="637" y="75"/>
                </a:lnTo>
                <a:lnTo>
                  <a:pt x="636" y="75"/>
                </a:lnTo>
                <a:lnTo>
                  <a:pt x="636" y="75"/>
                </a:lnTo>
                <a:lnTo>
                  <a:pt x="636" y="75"/>
                </a:lnTo>
                <a:lnTo>
                  <a:pt x="636" y="75"/>
                </a:lnTo>
                <a:lnTo>
                  <a:pt x="636" y="75"/>
                </a:lnTo>
                <a:lnTo>
                  <a:pt x="635" y="75"/>
                </a:lnTo>
                <a:lnTo>
                  <a:pt x="635" y="75"/>
                </a:lnTo>
                <a:lnTo>
                  <a:pt x="635" y="75"/>
                </a:lnTo>
                <a:lnTo>
                  <a:pt x="635" y="75"/>
                </a:lnTo>
                <a:lnTo>
                  <a:pt x="634" y="75"/>
                </a:lnTo>
                <a:lnTo>
                  <a:pt x="634" y="75"/>
                </a:lnTo>
                <a:lnTo>
                  <a:pt x="634" y="75"/>
                </a:lnTo>
                <a:lnTo>
                  <a:pt x="634" y="75"/>
                </a:lnTo>
                <a:lnTo>
                  <a:pt x="634" y="75"/>
                </a:lnTo>
                <a:lnTo>
                  <a:pt x="632" y="75"/>
                </a:lnTo>
                <a:lnTo>
                  <a:pt x="632" y="75"/>
                </a:lnTo>
                <a:lnTo>
                  <a:pt x="632" y="75"/>
                </a:lnTo>
                <a:lnTo>
                  <a:pt x="632" y="75"/>
                </a:lnTo>
                <a:lnTo>
                  <a:pt x="632" y="75"/>
                </a:lnTo>
                <a:lnTo>
                  <a:pt x="632" y="75"/>
                </a:lnTo>
                <a:close/>
                <a:moveTo>
                  <a:pt x="628" y="77"/>
                </a:moveTo>
                <a:lnTo>
                  <a:pt x="636" y="77"/>
                </a:lnTo>
                <a:lnTo>
                  <a:pt x="636" y="93"/>
                </a:lnTo>
                <a:lnTo>
                  <a:pt x="628" y="93"/>
                </a:lnTo>
                <a:lnTo>
                  <a:pt x="628" y="77"/>
                </a:lnTo>
                <a:lnTo>
                  <a:pt x="628" y="77"/>
                </a:lnTo>
                <a:close/>
                <a:moveTo>
                  <a:pt x="628" y="125"/>
                </a:moveTo>
                <a:lnTo>
                  <a:pt x="636" y="125"/>
                </a:lnTo>
                <a:lnTo>
                  <a:pt x="636" y="140"/>
                </a:lnTo>
                <a:lnTo>
                  <a:pt x="628" y="140"/>
                </a:lnTo>
                <a:lnTo>
                  <a:pt x="628" y="125"/>
                </a:lnTo>
                <a:lnTo>
                  <a:pt x="628" y="125"/>
                </a:lnTo>
                <a:close/>
                <a:moveTo>
                  <a:pt x="628" y="172"/>
                </a:moveTo>
                <a:lnTo>
                  <a:pt x="636" y="172"/>
                </a:lnTo>
                <a:lnTo>
                  <a:pt x="636" y="188"/>
                </a:lnTo>
                <a:lnTo>
                  <a:pt x="628" y="188"/>
                </a:lnTo>
                <a:lnTo>
                  <a:pt x="628" y="172"/>
                </a:lnTo>
                <a:lnTo>
                  <a:pt x="628" y="172"/>
                </a:lnTo>
                <a:close/>
                <a:moveTo>
                  <a:pt x="628" y="219"/>
                </a:moveTo>
                <a:lnTo>
                  <a:pt x="636" y="219"/>
                </a:lnTo>
                <a:lnTo>
                  <a:pt x="636" y="235"/>
                </a:lnTo>
                <a:lnTo>
                  <a:pt x="628" y="235"/>
                </a:lnTo>
                <a:lnTo>
                  <a:pt x="628" y="219"/>
                </a:lnTo>
                <a:lnTo>
                  <a:pt x="628" y="219"/>
                </a:lnTo>
                <a:close/>
                <a:moveTo>
                  <a:pt x="628" y="266"/>
                </a:moveTo>
                <a:lnTo>
                  <a:pt x="636" y="266"/>
                </a:lnTo>
                <a:lnTo>
                  <a:pt x="636" y="281"/>
                </a:lnTo>
                <a:lnTo>
                  <a:pt x="628" y="281"/>
                </a:lnTo>
                <a:lnTo>
                  <a:pt x="628" y="266"/>
                </a:lnTo>
                <a:lnTo>
                  <a:pt x="628" y="266"/>
                </a:lnTo>
                <a:close/>
                <a:moveTo>
                  <a:pt x="628" y="305"/>
                </a:moveTo>
                <a:lnTo>
                  <a:pt x="628" y="313"/>
                </a:lnTo>
                <a:lnTo>
                  <a:pt x="612" y="313"/>
                </a:lnTo>
                <a:lnTo>
                  <a:pt x="612" y="305"/>
                </a:lnTo>
                <a:lnTo>
                  <a:pt x="628" y="305"/>
                </a:lnTo>
                <a:lnTo>
                  <a:pt x="628" y="305"/>
                </a:lnTo>
                <a:close/>
                <a:moveTo>
                  <a:pt x="581" y="305"/>
                </a:moveTo>
                <a:lnTo>
                  <a:pt x="581" y="313"/>
                </a:lnTo>
                <a:lnTo>
                  <a:pt x="565" y="313"/>
                </a:lnTo>
                <a:lnTo>
                  <a:pt x="565" y="305"/>
                </a:lnTo>
                <a:lnTo>
                  <a:pt x="581" y="305"/>
                </a:lnTo>
                <a:lnTo>
                  <a:pt x="581" y="305"/>
                </a:lnTo>
                <a:close/>
                <a:moveTo>
                  <a:pt x="533" y="305"/>
                </a:moveTo>
                <a:lnTo>
                  <a:pt x="533" y="313"/>
                </a:lnTo>
                <a:lnTo>
                  <a:pt x="518" y="313"/>
                </a:lnTo>
                <a:lnTo>
                  <a:pt x="518" y="305"/>
                </a:lnTo>
                <a:lnTo>
                  <a:pt x="533" y="305"/>
                </a:lnTo>
                <a:lnTo>
                  <a:pt x="533" y="305"/>
                </a:lnTo>
                <a:close/>
                <a:moveTo>
                  <a:pt x="486" y="305"/>
                </a:moveTo>
                <a:lnTo>
                  <a:pt x="486" y="313"/>
                </a:lnTo>
                <a:lnTo>
                  <a:pt x="470" y="313"/>
                </a:lnTo>
                <a:lnTo>
                  <a:pt x="470" y="305"/>
                </a:lnTo>
                <a:lnTo>
                  <a:pt x="486" y="305"/>
                </a:lnTo>
                <a:lnTo>
                  <a:pt x="486" y="305"/>
                </a:lnTo>
                <a:close/>
                <a:moveTo>
                  <a:pt x="440" y="305"/>
                </a:moveTo>
                <a:lnTo>
                  <a:pt x="440" y="313"/>
                </a:lnTo>
                <a:lnTo>
                  <a:pt x="424" y="313"/>
                </a:lnTo>
                <a:lnTo>
                  <a:pt x="424" y="305"/>
                </a:lnTo>
                <a:lnTo>
                  <a:pt x="440" y="305"/>
                </a:lnTo>
                <a:lnTo>
                  <a:pt x="440" y="305"/>
                </a:lnTo>
                <a:close/>
                <a:moveTo>
                  <a:pt x="393" y="305"/>
                </a:moveTo>
                <a:lnTo>
                  <a:pt x="393" y="313"/>
                </a:lnTo>
                <a:lnTo>
                  <a:pt x="377" y="313"/>
                </a:lnTo>
                <a:lnTo>
                  <a:pt x="377" y="305"/>
                </a:lnTo>
                <a:lnTo>
                  <a:pt x="393" y="305"/>
                </a:lnTo>
                <a:lnTo>
                  <a:pt x="393" y="305"/>
                </a:lnTo>
                <a:close/>
                <a:moveTo>
                  <a:pt x="345" y="305"/>
                </a:moveTo>
                <a:lnTo>
                  <a:pt x="345" y="313"/>
                </a:lnTo>
                <a:lnTo>
                  <a:pt x="330" y="313"/>
                </a:lnTo>
                <a:lnTo>
                  <a:pt x="330" y="305"/>
                </a:lnTo>
                <a:lnTo>
                  <a:pt x="345" y="305"/>
                </a:lnTo>
                <a:lnTo>
                  <a:pt x="345" y="305"/>
                </a:lnTo>
                <a:close/>
                <a:moveTo>
                  <a:pt x="298" y="305"/>
                </a:moveTo>
                <a:lnTo>
                  <a:pt x="298" y="313"/>
                </a:lnTo>
                <a:lnTo>
                  <a:pt x="282" y="313"/>
                </a:lnTo>
                <a:lnTo>
                  <a:pt x="282" y="305"/>
                </a:lnTo>
                <a:lnTo>
                  <a:pt x="298" y="305"/>
                </a:lnTo>
                <a:lnTo>
                  <a:pt x="298" y="305"/>
                </a:lnTo>
                <a:close/>
                <a:moveTo>
                  <a:pt x="251" y="305"/>
                </a:moveTo>
                <a:lnTo>
                  <a:pt x="251" y="313"/>
                </a:lnTo>
                <a:lnTo>
                  <a:pt x="235" y="313"/>
                </a:lnTo>
                <a:lnTo>
                  <a:pt x="235" y="305"/>
                </a:lnTo>
                <a:lnTo>
                  <a:pt x="251" y="305"/>
                </a:lnTo>
                <a:lnTo>
                  <a:pt x="251" y="305"/>
                </a:lnTo>
                <a:close/>
                <a:moveTo>
                  <a:pt x="203" y="305"/>
                </a:moveTo>
                <a:lnTo>
                  <a:pt x="203" y="313"/>
                </a:lnTo>
                <a:lnTo>
                  <a:pt x="188" y="313"/>
                </a:lnTo>
                <a:lnTo>
                  <a:pt x="188" y="305"/>
                </a:lnTo>
                <a:lnTo>
                  <a:pt x="203" y="305"/>
                </a:lnTo>
                <a:lnTo>
                  <a:pt x="203" y="305"/>
                </a:lnTo>
                <a:close/>
                <a:moveTo>
                  <a:pt x="156" y="305"/>
                </a:moveTo>
                <a:lnTo>
                  <a:pt x="156" y="313"/>
                </a:lnTo>
                <a:lnTo>
                  <a:pt x="140" y="313"/>
                </a:lnTo>
                <a:lnTo>
                  <a:pt x="140" y="305"/>
                </a:lnTo>
                <a:lnTo>
                  <a:pt x="156" y="305"/>
                </a:lnTo>
                <a:lnTo>
                  <a:pt x="156" y="305"/>
                </a:lnTo>
                <a:close/>
                <a:moveTo>
                  <a:pt x="110" y="305"/>
                </a:moveTo>
                <a:lnTo>
                  <a:pt x="110" y="313"/>
                </a:lnTo>
                <a:lnTo>
                  <a:pt x="94" y="313"/>
                </a:lnTo>
                <a:lnTo>
                  <a:pt x="94" y="305"/>
                </a:lnTo>
                <a:lnTo>
                  <a:pt x="110" y="305"/>
                </a:lnTo>
                <a:lnTo>
                  <a:pt x="110" y="305"/>
                </a:lnTo>
                <a:close/>
                <a:moveTo>
                  <a:pt x="63" y="305"/>
                </a:moveTo>
                <a:lnTo>
                  <a:pt x="63" y="313"/>
                </a:lnTo>
                <a:lnTo>
                  <a:pt x="47" y="313"/>
                </a:lnTo>
                <a:lnTo>
                  <a:pt x="47" y="305"/>
                </a:lnTo>
                <a:lnTo>
                  <a:pt x="63" y="305"/>
                </a:lnTo>
                <a:close/>
              </a:path>
            </a:pathLst>
          </a:custGeom>
          <a:solidFill>
            <a:srgbClr val="8497B0"/>
          </a:solidFill>
          <a:ln>
            <a:solidFill>
              <a:srgbClr val="FFC000"/>
            </a:solidFill>
          </a:ln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1013"/>
          </a:p>
        </p:txBody>
      </p:sp>
      <p:sp>
        <p:nvSpPr>
          <p:cNvPr id="50" name="Freeform 83">
            <a:extLst>
              <a:ext uri="{FF2B5EF4-FFF2-40B4-BE49-F238E27FC236}">
                <a16:creationId xmlns:a16="http://schemas.microsoft.com/office/drawing/2014/main" id="{DADE86D3-2DF1-4E2D-BA15-573DB06C04C6}"/>
              </a:ext>
            </a:extLst>
          </p:cNvPr>
          <p:cNvSpPr>
            <a:spLocks noEditPoints="1"/>
          </p:cNvSpPr>
          <p:nvPr/>
        </p:nvSpPr>
        <p:spPr bwMode="auto">
          <a:xfrm>
            <a:off x="4625569" y="4460502"/>
            <a:ext cx="462558" cy="66080"/>
          </a:xfrm>
          <a:custGeom>
            <a:avLst/>
            <a:gdLst>
              <a:gd name="T0" fmla="*/ 43 w 518"/>
              <a:gd name="T1" fmla="*/ 66 h 74"/>
              <a:gd name="T2" fmla="*/ 49 w 518"/>
              <a:gd name="T3" fmla="*/ 65 h 74"/>
              <a:gd name="T4" fmla="*/ 54 w 518"/>
              <a:gd name="T5" fmla="*/ 62 h 74"/>
              <a:gd name="T6" fmla="*/ 59 w 518"/>
              <a:gd name="T7" fmla="*/ 58 h 74"/>
              <a:gd name="T8" fmla="*/ 63 w 518"/>
              <a:gd name="T9" fmla="*/ 54 h 74"/>
              <a:gd name="T10" fmla="*/ 66 w 518"/>
              <a:gd name="T11" fmla="*/ 48 h 74"/>
              <a:gd name="T12" fmla="*/ 68 w 518"/>
              <a:gd name="T13" fmla="*/ 43 h 74"/>
              <a:gd name="T14" fmla="*/ 68 w 518"/>
              <a:gd name="T15" fmla="*/ 37 h 74"/>
              <a:gd name="T16" fmla="*/ 68 w 518"/>
              <a:gd name="T17" fmla="*/ 30 h 74"/>
              <a:gd name="T18" fmla="*/ 66 w 518"/>
              <a:gd name="T19" fmla="*/ 25 h 74"/>
              <a:gd name="T20" fmla="*/ 62 w 518"/>
              <a:gd name="T21" fmla="*/ 20 h 74"/>
              <a:gd name="T22" fmla="*/ 59 w 518"/>
              <a:gd name="T23" fmla="*/ 16 h 74"/>
              <a:gd name="T24" fmla="*/ 54 w 518"/>
              <a:gd name="T25" fmla="*/ 12 h 74"/>
              <a:gd name="T26" fmla="*/ 49 w 518"/>
              <a:gd name="T27" fmla="*/ 9 h 74"/>
              <a:gd name="T28" fmla="*/ 43 w 518"/>
              <a:gd name="T29" fmla="*/ 8 h 74"/>
              <a:gd name="T30" fmla="*/ 36 w 518"/>
              <a:gd name="T31" fmla="*/ 8 h 74"/>
              <a:gd name="T32" fmla="*/ 31 w 518"/>
              <a:gd name="T33" fmla="*/ 9 h 74"/>
              <a:gd name="T34" fmla="*/ 25 w 518"/>
              <a:gd name="T35" fmla="*/ 11 h 74"/>
              <a:gd name="T36" fmla="*/ 21 w 518"/>
              <a:gd name="T37" fmla="*/ 13 h 74"/>
              <a:gd name="T38" fmla="*/ 16 w 518"/>
              <a:gd name="T39" fmla="*/ 18 h 74"/>
              <a:gd name="T40" fmla="*/ 13 w 518"/>
              <a:gd name="T41" fmla="*/ 22 h 74"/>
              <a:gd name="T42" fmla="*/ 10 w 518"/>
              <a:gd name="T43" fmla="*/ 28 h 74"/>
              <a:gd name="T44" fmla="*/ 9 w 518"/>
              <a:gd name="T45" fmla="*/ 34 h 74"/>
              <a:gd name="T46" fmla="*/ 9 w 518"/>
              <a:gd name="T47" fmla="*/ 40 h 74"/>
              <a:gd name="T48" fmla="*/ 10 w 518"/>
              <a:gd name="T49" fmla="*/ 46 h 74"/>
              <a:gd name="T50" fmla="*/ 13 w 518"/>
              <a:gd name="T51" fmla="*/ 52 h 74"/>
              <a:gd name="T52" fmla="*/ 16 w 518"/>
              <a:gd name="T53" fmla="*/ 56 h 74"/>
              <a:gd name="T54" fmla="*/ 21 w 518"/>
              <a:gd name="T55" fmla="*/ 61 h 74"/>
              <a:gd name="T56" fmla="*/ 25 w 518"/>
              <a:gd name="T57" fmla="*/ 64 h 74"/>
              <a:gd name="T58" fmla="*/ 31 w 518"/>
              <a:gd name="T59" fmla="*/ 66 h 74"/>
              <a:gd name="T60" fmla="*/ 37 w 518"/>
              <a:gd name="T61" fmla="*/ 66 h 74"/>
              <a:gd name="T62" fmla="*/ 76 w 518"/>
              <a:gd name="T63" fmla="*/ 43 h 74"/>
              <a:gd name="T64" fmla="*/ 73 w 518"/>
              <a:gd name="T65" fmla="*/ 50 h 74"/>
              <a:gd name="T66" fmla="*/ 70 w 518"/>
              <a:gd name="T67" fmla="*/ 57 h 74"/>
              <a:gd name="T68" fmla="*/ 66 w 518"/>
              <a:gd name="T69" fmla="*/ 63 h 74"/>
              <a:gd name="T70" fmla="*/ 60 w 518"/>
              <a:gd name="T71" fmla="*/ 67 h 74"/>
              <a:gd name="T72" fmla="*/ 54 w 518"/>
              <a:gd name="T73" fmla="*/ 72 h 74"/>
              <a:gd name="T74" fmla="*/ 46 w 518"/>
              <a:gd name="T75" fmla="*/ 74 h 74"/>
              <a:gd name="T76" fmla="*/ 39 w 518"/>
              <a:gd name="T77" fmla="*/ 74 h 74"/>
              <a:gd name="T78" fmla="*/ 31 w 518"/>
              <a:gd name="T79" fmla="*/ 74 h 74"/>
              <a:gd name="T80" fmla="*/ 24 w 518"/>
              <a:gd name="T81" fmla="*/ 72 h 74"/>
              <a:gd name="T82" fmla="*/ 17 w 518"/>
              <a:gd name="T83" fmla="*/ 68 h 74"/>
              <a:gd name="T84" fmla="*/ 12 w 518"/>
              <a:gd name="T85" fmla="*/ 63 h 74"/>
              <a:gd name="T86" fmla="*/ 7 w 518"/>
              <a:gd name="T87" fmla="*/ 57 h 74"/>
              <a:gd name="T88" fmla="*/ 4 w 518"/>
              <a:gd name="T89" fmla="*/ 50 h 74"/>
              <a:gd name="T90" fmla="*/ 1 w 518"/>
              <a:gd name="T91" fmla="*/ 44 h 74"/>
              <a:gd name="T92" fmla="*/ 0 w 518"/>
              <a:gd name="T93" fmla="*/ 36 h 74"/>
              <a:gd name="T94" fmla="*/ 1 w 518"/>
              <a:gd name="T95" fmla="*/ 28 h 74"/>
              <a:gd name="T96" fmla="*/ 5 w 518"/>
              <a:gd name="T97" fmla="*/ 21 h 74"/>
              <a:gd name="T98" fmla="*/ 8 w 518"/>
              <a:gd name="T99" fmla="*/ 14 h 74"/>
              <a:gd name="T100" fmla="*/ 14 w 518"/>
              <a:gd name="T101" fmla="*/ 9 h 74"/>
              <a:gd name="T102" fmla="*/ 19 w 518"/>
              <a:gd name="T103" fmla="*/ 4 h 74"/>
              <a:gd name="T104" fmla="*/ 26 w 518"/>
              <a:gd name="T105" fmla="*/ 1 h 74"/>
              <a:gd name="T106" fmla="*/ 34 w 518"/>
              <a:gd name="T107" fmla="*/ 0 h 74"/>
              <a:gd name="T108" fmla="*/ 42 w 518"/>
              <a:gd name="T109" fmla="*/ 0 h 74"/>
              <a:gd name="T110" fmla="*/ 50 w 518"/>
              <a:gd name="T111" fmla="*/ 1 h 74"/>
              <a:gd name="T112" fmla="*/ 57 w 518"/>
              <a:gd name="T113" fmla="*/ 4 h 74"/>
              <a:gd name="T114" fmla="*/ 62 w 518"/>
              <a:gd name="T115" fmla="*/ 8 h 74"/>
              <a:gd name="T116" fmla="*/ 68 w 518"/>
              <a:gd name="T117" fmla="*/ 13 h 74"/>
              <a:gd name="T118" fmla="*/ 72 w 518"/>
              <a:gd name="T119" fmla="*/ 20 h 74"/>
              <a:gd name="T120" fmla="*/ 75 w 518"/>
              <a:gd name="T121" fmla="*/ 27 h 74"/>
              <a:gd name="T122" fmla="*/ 76 w 518"/>
              <a:gd name="T123" fmla="*/ 35 h 74"/>
              <a:gd name="T124" fmla="*/ 236 w 518"/>
              <a:gd name="T125" fmla="*/ 34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8" h="74">
                <a:moveTo>
                  <a:pt x="502" y="41"/>
                </a:moveTo>
                <a:lnTo>
                  <a:pt x="502" y="34"/>
                </a:lnTo>
                <a:lnTo>
                  <a:pt x="518" y="34"/>
                </a:lnTo>
                <a:lnTo>
                  <a:pt x="518" y="41"/>
                </a:lnTo>
                <a:lnTo>
                  <a:pt x="502" y="41"/>
                </a:lnTo>
                <a:lnTo>
                  <a:pt x="502" y="41"/>
                </a:lnTo>
                <a:close/>
                <a:moveTo>
                  <a:pt x="39" y="66"/>
                </a:moveTo>
                <a:lnTo>
                  <a:pt x="39" y="66"/>
                </a:lnTo>
                <a:lnTo>
                  <a:pt x="39" y="66"/>
                </a:lnTo>
                <a:lnTo>
                  <a:pt x="39" y="66"/>
                </a:lnTo>
                <a:lnTo>
                  <a:pt x="40" y="66"/>
                </a:lnTo>
                <a:lnTo>
                  <a:pt x="40" y="66"/>
                </a:lnTo>
                <a:lnTo>
                  <a:pt x="40" y="66"/>
                </a:lnTo>
                <a:lnTo>
                  <a:pt x="40" y="66"/>
                </a:lnTo>
                <a:lnTo>
                  <a:pt x="40" y="66"/>
                </a:lnTo>
                <a:lnTo>
                  <a:pt x="40" y="66"/>
                </a:lnTo>
                <a:lnTo>
                  <a:pt x="41" y="66"/>
                </a:lnTo>
                <a:lnTo>
                  <a:pt x="41" y="66"/>
                </a:lnTo>
                <a:lnTo>
                  <a:pt x="41" y="66"/>
                </a:lnTo>
                <a:lnTo>
                  <a:pt x="41" y="66"/>
                </a:lnTo>
                <a:lnTo>
                  <a:pt x="41" y="66"/>
                </a:lnTo>
                <a:lnTo>
                  <a:pt x="41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3" y="66"/>
                </a:lnTo>
                <a:lnTo>
                  <a:pt x="43" y="66"/>
                </a:lnTo>
                <a:lnTo>
                  <a:pt x="43" y="66"/>
                </a:lnTo>
                <a:lnTo>
                  <a:pt x="43" y="66"/>
                </a:lnTo>
                <a:lnTo>
                  <a:pt x="43" y="66"/>
                </a:lnTo>
                <a:lnTo>
                  <a:pt x="43" y="66"/>
                </a:lnTo>
                <a:lnTo>
                  <a:pt x="44" y="66"/>
                </a:lnTo>
                <a:lnTo>
                  <a:pt x="44" y="66"/>
                </a:lnTo>
                <a:lnTo>
                  <a:pt x="44" y="66"/>
                </a:lnTo>
                <a:lnTo>
                  <a:pt x="44" y="66"/>
                </a:lnTo>
                <a:lnTo>
                  <a:pt x="44" y="66"/>
                </a:lnTo>
                <a:lnTo>
                  <a:pt x="44" y="66"/>
                </a:lnTo>
                <a:lnTo>
                  <a:pt x="45" y="66"/>
                </a:lnTo>
                <a:lnTo>
                  <a:pt x="45" y="66"/>
                </a:lnTo>
                <a:lnTo>
                  <a:pt x="45" y="66"/>
                </a:lnTo>
                <a:lnTo>
                  <a:pt x="45" y="66"/>
                </a:lnTo>
                <a:lnTo>
                  <a:pt x="45" y="66"/>
                </a:lnTo>
                <a:lnTo>
                  <a:pt x="45" y="66"/>
                </a:lnTo>
                <a:lnTo>
                  <a:pt x="45" y="66"/>
                </a:lnTo>
                <a:lnTo>
                  <a:pt x="46" y="66"/>
                </a:lnTo>
                <a:lnTo>
                  <a:pt x="46" y="66"/>
                </a:lnTo>
                <a:lnTo>
                  <a:pt x="46" y="65"/>
                </a:lnTo>
                <a:lnTo>
                  <a:pt x="46" y="65"/>
                </a:lnTo>
                <a:lnTo>
                  <a:pt x="46" y="65"/>
                </a:lnTo>
                <a:lnTo>
                  <a:pt x="46" y="65"/>
                </a:lnTo>
                <a:lnTo>
                  <a:pt x="48" y="65"/>
                </a:lnTo>
                <a:lnTo>
                  <a:pt x="48" y="65"/>
                </a:lnTo>
                <a:lnTo>
                  <a:pt x="48" y="65"/>
                </a:lnTo>
                <a:lnTo>
                  <a:pt x="48" y="65"/>
                </a:lnTo>
                <a:lnTo>
                  <a:pt x="48" y="65"/>
                </a:lnTo>
                <a:lnTo>
                  <a:pt x="48" y="65"/>
                </a:lnTo>
                <a:lnTo>
                  <a:pt x="48" y="65"/>
                </a:lnTo>
                <a:lnTo>
                  <a:pt x="49" y="65"/>
                </a:lnTo>
                <a:lnTo>
                  <a:pt x="49" y="65"/>
                </a:lnTo>
                <a:lnTo>
                  <a:pt x="49" y="65"/>
                </a:lnTo>
                <a:lnTo>
                  <a:pt x="49" y="65"/>
                </a:lnTo>
                <a:lnTo>
                  <a:pt x="49" y="65"/>
                </a:lnTo>
                <a:lnTo>
                  <a:pt x="49" y="65"/>
                </a:lnTo>
                <a:lnTo>
                  <a:pt x="50" y="65"/>
                </a:lnTo>
                <a:lnTo>
                  <a:pt x="50" y="65"/>
                </a:lnTo>
                <a:lnTo>
                  <a:pt x="50" y="64"/>
                </a:lnTo>
                <a:lnTo>
                  <a:pt x="50" y="64"/>
                </a:lnTo>
                <a:lnTo>
                  <a:pt x="50" y="64"/>
                </a:lnTo>
                <a:lnTo>
                  <a:pt x="50" y="64"/>
                </a:lnTo>
                <a:lnTo>
                  <a:pt x="50" y="64"/>
                </a:lnTo>
                <a:lnTo>
                  <a:pt x="51" y="64"/>
                </a:lnTo>
                <a:lnTo>
                  <a:pt x="51" y="64"/>
                </a:lnTo>
                <a:lnTo>
                  <a:pt x="51" y="64"/>
                </a:lnTo>
                <a:lnTo>
                  <a:pt x="51" y="64"/>
                </a:lnTo>
                <a:lnTo>
                  <a:pt x="51" y="64"/>
                </a:lnTo>
                <a:lnTo>
                  <a:pt x="51" y="64"/>
                </a:lnTo>
                <a:lnTo>
                  <a:pt x="51" y="64"/>
                </a:lnTo>
                <a:lnTo>
                  <a:pt x="52" y="64"/>
                </a:lnTo>
                <a:lnTo>
                  <a:pt x="52" y="64"/>
                </a:lnTo>
                <a:lnTo>
                  <a:pt x="52" y="64"/>
                </a:lnTo>
                <a:lnTo>
                  <a:pt x="52" y="63"/>
                </a:lnTo>
                <a:lnTo>
                  <a:pt x="52" y="63"/>
                </a:lnTo>
                <a:lnTo>
                  <a:pt x="52" y="63"/>
                </a:lnTo>
                <a:lnTo>
                  <a:pt x="52" y="63"/>
                </a:lnTo>
                <a:lnTo>
                  <a:pt x="53" y="63"/>
                </a:lnTo>
                <a:lnTo>
                  <a:pt x="53" y="63"/>
                </a:lnTo>
                <a:lnTo>
                  <a:pt x="53" y="63"/>
                </a:lnTo>
                <a:lnTo>
                  <a:pt x="53" y="63"/>
                </a:lnTo>
                <a:lnTo>
                  <a:pt x="53" y="63"/>
                </a:lnTo>
                <a:lnTo>
                  <a:pt x="53" y="63"/>
                </a:lnTo>
                <a:lnTo>
                  <a:pt x="53" y="63"/>
                </a:lnTo>
                <a:lnTo>
                  <a:pt x="54" y="63"/>
                </a:lnTo>
                <a:lnTo>
                  <a:pt x="54" y="63"/>
                </a:lnTo>
                <a:lnTo>
                  <a:pt x="54" y="62"/>
                </a:lnTo>
                <a:lnTo>
                  <a:pt x="54" y="62"/>
                </a:lnTo>
                <a:lnTo>
                  <a:pt x="54" y="62"/>
                </a:lnTo>
                <a:lnTo>
                  <a:pt x="54" y="62"/>
                </a:lnTo>
                <a:lnTo>
                  <a:pt x="54" y="62"/>
                </a:lnTo>
                <a:lnTo>
                  <a:pt x="54" y="62"/>
                </a:lnTo>
                <a:lnTo>
                  <a:pt x="55" y="62"/>
                </a:lnTo>
                <a:lnTo>
                  <a:pt x="55" y="62"/>
                </a:lnTo>
                <a:lnTo>
                  <a:pt x="55" y="62"/>
                </a:lnTo>
                <a:lnTo>
                  <a:pt x="55" y="62"/>
                </a:lnTo>
                <a:lnTo>
                  <a:pt x="55" y="62"/>
                </a:lnTo>
                <a:lnTo>
                  <a:pt x="55" y="61"/>
                </a:lnTo>
                <a:lnTo>
                  <a:pt x="55" y="61"/>
                </a:lnTo>
                <a:lnTo>
                  <a:pt x="55" y="61"/>
                </a:lnTo>
                <a:lnTo>
                  <a:pt x="57" y="61"/>
                </a:lnTo>
                <a:lnTo>
                  <a:pt x="57" y="61"/>
                </a:lnTo>
                <a:lnTo>
                  <a:pt x="57" y="61"/>
                </a:lnTo>
                <a:lnTo>
                  <a:pt x="57" y="61"/>
                </a:lnTo>
                <a:lnTo>
                  <a:pt x="57" y="61"/>
                </a:lnTo>
                <a:lnTo>
                  <a:pt x="57" y="61"/>
                </a:lnTo>
                <a:lnTo>
                  <a:pt x="57" y="61"/>
                </a:lnTo>
                <a:lnTo>
                  <a:pt x="57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9" y="59"/>
                </a:lnTo>
                <a:lnTo>
                  <a:pt x="59" y="58"/>
                </a:lnTo>
                <a:lnTo>
                  <a:pt x="59" y="58"/>
                </a:lnTo>
                <a:lnTo>
                  <a:pt x="59" y="58"/>
                </a:lnTo>
                <a:lnTo>
                  <a:pt x="59" y="58"/>
                </a:lnTo>
                <a:lnTo>
                  <a:pt x="59" y="58"/>
                </a:lnTo>
                <a:lnTo>
                  <a:pt x="59" y="58"/>
                </a:lnTo>
                <a:lnTo>
                  <a:pt x="59" y="58"/>
                </a:lnTo>
                <a:lnTo>
                  <a:pt x="60" y="58"/>
                </a:lnTo>
                <a:lnTo>
                  <a:pt x="60" y="58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1" y="57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4"/>
                </a:lnTo>
                <a:lnTo>
                  <a:pt x="62" y="54"/>
                </a:lnTo>
                <a:lnTo>
                  <a:pt x="62" y="54"/>
                </a:lnTo>
                <a:lnTo>
                  <a:pt x="63" y="54"/>
                </a:lnTo>
                <a:lnTo>
                  <a:pt x="63" y="54"/>
                </a:lnTo>
                <a:lnTo>
                  <a:pt x="63" y="54"/>
                </a:lnTo>
                <a:lnTo>
                  <a:pt x="63" y="54"/>
                </a:lnTo>
                <a:lnTo>
                  <a:pt x="63" y="54"/>
                </a:lnTo>
                <a:lnTo>
                  <a:pt x="63" y="53"/>
                </a:lnTo>
                <a:lnTo>
                  <a:pt x="63" y="53"/>
                </a:lnTo>
                <a:lnTo>
                  <a:pt x="63" y="53"/>
                </a:lnTo>
                <a:lnTo>
                  <a:pt x="63" y="53"/>
                </a:lnTo>
                <a:lnTo>
                  <a:pt x="63" y="53"/>
                </a:lnTo>
                <a:lnTo>
                  <a:pt x="63" y="53"/>
                </a:lnTo>
                <a:lnTo>
                  <a:pt x="63" y="53"/>
                </a:lnTo>
                <a:lnTo>
                  <a:pt x="64" y="52"/>
                </a:lnTo>
                <a:lnTo>
                  <a:pt x="64" y="52"/>
                </a:lnTo>
                <a:lnTo>
                  <a:pt x="64" y="52"/>
                </a:lnTo>
                <a:lnTo>
                  <a:pt x="64" y="52"/>
                </a:lnTo>
                <a:lnTo>
                  <a:pt x="64" y="52"/>
                </a:lnTo>
                <a:lnTo>
                  <a:pt x="64" y="52"/>
                </a:lnTo>
                <a:lnTo>
                  <a:pt x="64" y="52"/>
                </a:lnTo>
                <a:lnTo>
                  <a:pt x="64" y="50"/>
                </a:lnTo>
                <a:lnTo>
                  <a:pt x="64" y="50"/>
                </a:lnTo>
                <a:lnTo>
                  <a:pt x="64" y="50"/>
                </a:lnTo>
                <a:lnTo>
                  <a:pt x="64" y="50"/>
                </a:lnTo>
                <a:lnTo>
                  <a:pt x="64" y="50"/>
                </a:lnTo>
                <a:lnTo>
                  <a:pt x="64" y="50"/>
                </a:lnTo>
                <a:lnTo>
                  <a:pt x="66" y="50"/>
                </a:lnTo>
                <a:lnTo>
                  <a:pt x="66" y="49"/>
                </a:lnTo>
                <a:lnTo>
                  <a:pt x="66" y="49"/>
                </a:lnTo>
                <a:lnTo>
                  <a:pt x="66" y="49"/>
                </a:lnTo>
                <a:lnTo>
                  <a:pt x="66" y="49"/>
                </a:lnTo>
                <a:lnTo>
                  <a:pt x="66" y="49"/>
                </a:lnTo>
                <a:lnTo>
                  <a:pt x="66" y="49"/>
                </a:lnTo>
                <a:lnTo>
                  <a:pt x="66" y="49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7" y="47"/>
                </a:lnTo>
                <a:lnTo>
                  <a:pt x="67" y="47"/>
                </a:lnTo>
                <a:lnTo>
                  <a:pt x="67" y="47"/>
                </a:lnTo>
                <a:lnTo>
                  <a:pt x="67" y="47"/>
                </a:lnTo>
                <a:lnTo>
                  <a:pt x="67" y="47"/>
                </a:lnTo>
                <a:lnTo>
                  <a:pt x="67" y="47"/>
                </a:lnTo>
                <a:lnTo>
                  <a:pt x="67" y="47"/>
                </a:lnTo>
                <a:lnTo>
                  <a:pt x="67" y="46"/>
                </a:lnTo>
                <a:lnTo>
                  <a:pt x="67" y="46"/>
                </a:lnTo>
                <a:lnTo>
                  <a:pt x="67" y="46"/>
                </a:lnTo>
                <a:lnTo>
                  <a:pt x="67" y="46"/>
                </a:lnTo>
                <a:lnTo>
                  <a:pt x="67" y="46"/>
                </a:lnTo>
                <a:lnTo>
                  <a:pt x="67" y="46"/>
                </a:lnTo>
                <a:lnTo>
                  <a:pt x="67" y="45"/>
                </a:lnTo>
                <a:lnTo>
                  <a:pt x="67" y="45"/>
                </a:lnTo>
                <a:lnTo>
                  <a:pt x="67" y="45"/>
                </a:lnTo>
                <a:lnTo>
                  <a:pt x="67" y="45"/>
                </a:lnTo>
                <a:lnTo>
                  <a:pt x="67" y="45"/>
                </a:lnTo>
                <a:lnTo>
                  <a:pt x="67" y="45"/>
                </a:lnTo>
                <a:lnTo>
                  <a:pt x="67" y="44"/>
                </a:lnTo>
                <a:lnTo>
                  <a:pt x="67" y="44"/>
                </a:lnTo>
                <a:lnTo>
                  <a:pt x="68" y="44"/>
                </a:lnTo>
                <a:lnTo>
                  <a:pt x="68" y="44"/>
                </a:lnTo>
                <a:lnTo>
                  <a:pt x="68" y="44"/>
                </a:lnTo>
                <a:lnTo>
                  <a:pt x="68" y="44"/>
                </a:lnTo>
                <a:lnTo>
                  <a:pt x="68" y="44"/>
                </a:lnTo>
                <a:lnTo>
                  <a:pt x="68" y="43"/>
                </a:lnTo>
                <a:lnTo>
                  <a:pt x="68" y="43"/>
                </a:lnTo>
                <a:lnTo>
                  <a:pt x="68" y="43"/>
                </a:lnTo>
                <a:lnTo>
                  <a:pt x="68" y="43"/>
                </a:lnTo>
                <a:lnTo>
                  <a:pt x="68" y="43"/>
                </a:lnTo>
                <a:lnTo>
                  <a:pt x="68" y="43"/>
                </a:lnTo>
                <a:lnTo>
                  <a:pt x="68" y="41"/>
                </a:lnTo>
                <a:lnTo>
                  <a:pt x="68" y="41"/>
                </a:lnTo>
                <a:lnTo>
                  <a:pt x="68" y="41"/>
                </a:lnTo>
                <a:lnTo>
                  <a:pt x="68" y="41"/>
                </a:lnTo>
                <a:lnTo>
                  <a:pt x="68" y="41"/>
                </a:lnTo>
                <a:lnTo>
                  <a:pt x="68" y="41"/>
                </a:lnTo>
                <a:lnTo>
                  <a:pt x="68" y="40"/>
                </a:lnTo>
                <a:lnTo>
                  <a:pt x="68" y="40"/>
                </a:lnTo>
                <a:lnTo>
                  <a:pt x="68" y="40"/>
                </a:lnTo>
                <a:lnTo>
                  <a:pt x="68" y="40"/>
                </a:lnTo>
                <a:lnTo>
                  <a:pt x="68" y="40"/>
                </a:lnTo>
                <a:lnTo>
                  <a:pt x="68" y="40"/>
                </a:lnTo>
                <a:lnTo>
                  <a:pt x="68" y="39"/>
                </a:lnTo>
                <a:lnTo>
                  <a:pt x="68" y="39"/>
                </a:lnTo>
                <a:lnTo>
                  <a:pt x="68" y="39"/>
                </a:lnTo>
                <a:lnTo>
                  <a:pt x="68" y="39"/>
                </a:lnTo>
                <a:lnTo>
                  <a:pt x="68" y="39"/>
                </a:lnTo>
                <a:lnTo>
                  <a:pt x="68" y="39"/>
                </a:lnTo>
                <a:lnTo>
                  <a:pt x="68" y="38"/>
                </a:lnTo>
                <a:lnTo>
                  <a:pt x="68" y="38"/>
                </a:lnTo>
                <a:lnTo>
                  <a:pt x="68" y="38"/>
                </a:lnTo>
                <a:lnTo>
                  <a:pt x="68" y="38"/>
                </a:lnTo>
                <a:lnTo>
                  <a:pt x="68" y="38"/>
                </a:lnTo>
                <a:lnTo>
                  <a:pt x="68" y="38"/>
                </a:lnTo>
                <a:lnTo>
                  <a:pt x="68" y="37"/>
                </a:lnTo>
                <a:lnTo>
                  <a:pt x="68" y="37"/>
                </a:lnTo>
                <a:lnTo>
                  <a:pt x="68" y="37"/>
                </a:lnTo>
                <a:lnTo>
                  <a:pt x="68" y="37"/>
                </a:lnTo>
                <a:lnTo>
                  <a:pt x="68" y="37"/>
                </a:lnTo>
                <a:lnTo>
                  <a:pt x="68" y="37"/>
                </a:lnTo>
                <a:lnTo>
                  <a:pt x="68" y="36"/>
                </a:lnTo>
                <a:lnTo>
                  <a:pt x="68" y="36"/>
                </a:lnTo>
                <a:lnTo>
                  <a:pt x="68" y="36"/>
                </a:lnTo>
                <a:lnTo>
                  <a:pt x="68" y="36"/>
                </a:lnTo>
                <a:lnTo>
                  <a:pt x="68" y="36"/>
                </a:lnTo>
                <a:lnTo>
                  <a:pt x="68" y="36"/>
                </a:lnTo>
                <a:lnTo>
                  <a:pt x="68" y="35"/>
                </a:lnTo>
                <a:lnTo>
                  <a:pt x="68" y="35"/>
                </a:lnTo>
                <a:lnTo>
                  <a:pt x="68" y="35"/>
                </a:lnTo>
                <a:lnTo>
                  <a:pt x="68" y="35"/>
                </a:lnTo>
                <a:lnTo>
                  <a:pt x="68" y="35"/>
                </a:lnTo>
                <a:lnTo>
                  <a:pt x="68" y="35"/>
                </a:lnTo>
                <a:lnTo>
                  <a:pt x="68" y="34"/>
                </a:lnTo>
                <a:lnTo>
                  <a:pt x="68" y="34"/>
                </a:lnTo>
                <a:lnTo>
                  <a:pt x="68" y="34"/>
                </a:lnTo>
                <a:lnTo>
                  <a:pt x="68" y="34"/>
                </a:lnTo>
                <a:lnTo>
                  <a:pt x="68" y="34"/>
                </a:lnTo>
                <a:lnTo>
                  <a:pt x="68" y="34"/>
                </a:lnTo>
                <a:lnTo>
                  <a:pt x="68" y="32"/>
                </a:lnTo>
                <a:lnTo>
                  <a:pt x="68" y="32"/>
                </a:lnTo>
                <a:lnTo>
                  <a:pt x="68" y="32"/>
                </a:lnTo>
                <a:lnTo>
                  <a:pt x="68" y="32"/>
                </a:lnTo>
                <a:lnTo>
                  <a:pt x="68" y="32"/>
                </a:lnTo>
                <a:lnTo>
                  <a:pt x="68" y="32"/>
                </a:lnTo>
                <a:lnTo>
                  <a:pt x="68" y="31"/>
                </a:lnTo>
                <a:lnTo>
                  <a:pt x="68" y="31"/>
                </a:lnTo>
                <a:lnTo>
                  <a:pt x="68" y="31"/>
                </a:lnTo>
                <a:lnTo>
                  <a:pt x="68" y="31"/>
                </a:lnTo>
                <a:lnTo>
                  <a:pt x="68" y="31"/>
                </a:lnTo>
                <a:lnTo>
                  <a:pt x="68" y="31"/>
                </a:lnTo>
                <a:lnTo>
                  <a:pt x="68" y="30"/>
                </a:lnTo>
                <a:lnTo>
                  <a:pt x="68" y="30"/>
                </a:lnTo>
                <a:lnTo>
                  <a:pt x="68" y="30"/>
                </a:lnTo>
                <a:lnTo>
                  <a:pt x="68" y="30"/>
                </a:lnTo>
                <a:lnTo>
                  <a:pt x="67" y="30"/>
                </a:lnTo>
                <a:lnTo>
                  <a:pt x="67" y="30"/>
                </a:lnTo>
                <a:lnTo>
                  <a:pt x="67" y="29"/>
                </a:lnTo>
                <a:lnTo>
                  <a:pt x="67" y="29"/>
                </a:lnTo>
                <a:lnTo>
                  <a:pt x="67" y="29"/>
                </a:lnTo>
                <a:lnTo>
                  <a:pt x="67" y="29"/>
                </a:lnTo>
                <a:lnTo>
                  <a:pt x="67" y="29"/>
                </a:lnTo>
                <a:lnTo>
                  <a:pt x="67" y="29"/>
                </a:lnTo>
                <a:lnTo>
                  <a:pt x="67" y="29"/>
                </a:lnTo>
                <a:lnTo>
                  <a:pt x="67" y="28"/>
                </a:lnTo>
                <a:lnTo>
                  <a:pt x="67" y="28"/>
                </a:lnTo>
                <a:lnTo>
                  <a:pt x="67" y="28"/>
                </a:lnTo>
                <a:lnTo>
                  <a:pt x="67" y="28"/>
                </a:lnTo>
                <a:lnTo>
                  <a:pt x="67" y="28"/>
                </a:lnTo>
                <a:lnTo>
                  <a:pt x="67" y="28"/>
                </a:lnTo>
                <a:lnTo>
                  <a:pt x="67" y="27"/>
                </a:lnTo>
                <a:lnTo>
                  <a:pt x="67" y="27"/>
                </a:lnTo>
                <a:lnTo>
                  <a:pt x="67" y="27"/>
                </a:lnTo>
                <a:lnTo>
                  <a:pt x="67" y="27"/>
                </a:lnTo>
                <a:lnTo>
                  <a:pt x="67" y="27"/>
                </a:lnTo>
                <a:lnTo>
                  <a:pt x="67" y="27"/>
                </a:lnTo>
                <a:lnTo>
                  <a:pt x="66" y="27"/>
                </a:lnTo>
                <a:lnTo>
                  <a:pt x="66" y="26"/>
                </a:lnTo>
                <a:lnTo>
                  <a:pt x="66" y="26"/>
                </a:lnTo>
                <a:lnTo>
                  <a:pt x="66" y="26"/>
                </a:lnTo>
                <a:lnTo>
                  <a:pt x="66" y="26"/>
                </a:lnTo>
                <a:lnTo>
                  <a:pt x="66" y="26"/>
                </a:lnTo>
                <a:lnTo>
                  <a:pt x="66" y="26"/>
                </a:lnTo>
                <a:lnTo>
                  <a:pt x="66" y="26"/>
                </a:lnTo>
                <a:lnTo>
                  <a:pt x="66" y="25"/>
                </a:lnTo>
                <a:lnTo>
                  <a:pt x="66" y="25"/>
                </a:lnTo>
                <a:lnTo>
                  <a:pt x="66" y="25"/>
                </a:lnTo>
                <a:lnTo>
                  <a:pt x="66" y="25"/>
                </a:lnTo>
                <a:lnTo>
                  <a:pt x="66" y="25"/>
                </a:lnTo>
                <a:lnTo>
                  <a:pt x="66" y="25"/>
                </a:lnTo>
                <a:lnTo>
                  <a:pt x="66" y="25"/>
                </a:lnTo>
                <a:lnTo>
                  <a:pt x="64" y="23"/>
                </a:lnTo>
                <a:lnTo>
                  <a:pt x="64" y="23"/>
                </a:lnTo>
                <a:lnTo>
                  <a:pt x="64" y="23"/>
                </a:lnTo>
                <a:lnTo>
                  <a:pt x="64" y="23"/>
                </a:lnTo>
                <a:lnTo>
                  <a:pt x="64" y="23"/>
                </a:lnTo>
                <a:lnTo>
                  <a:pt x="64" y="23"/>
                </a:lnTo>
                <a:lnTo>
                  <a:pt x="64" y="23"/>
                </a:lnTo>
                <a:lnTo>
                  <a:pt x="64" y="22"/>
                </a:lnTo>
                <a:lnTo>
                  <a:pt x="64" y="22"/>
                </a:lnTo>
                <a:lnTo>
                  <a:pt x="64" y="22"/>
                </a:lnTo>
                <a:lnTo>
                  <a:pt x="64" y="22"/>
                </a:lnTo>
                <a:lnTo>
                  <a:pt x="64" y="22"/>
                </a:lnTo>
                <a:lnTo>
                  <a:pt x="64" y="22"/>
                </a:lnTo>
                <a:lnTo>
                  <a:pt x="63" y="22"/>
                </a:lnTo>
                <a:lnTo>
                  <a:pt x="63" y="21"/>
                </a:lnTo>
                <a:lnTo>
                  <a:pt x="63" y="21"/>
                </a:lnTo>
                <a:lnTo>
                  <a:pt x="63" y="21"/>
                </a:lnTo>
                <a:lnTo>
                  <a:pt x="63" y="21"/>
                </a:lnTo>
                <a:lnTo>
                  <a:pt x="63" y="21"/>
                </a:lnTo>
                <a:lnTo>
                  <a:pt x="63" y="21"/>
                </a:lnTo>
                <a:lnTo>
                  <a:pt x="63" y="21"/>
                </a:lnTo>
                <a:lnTo>
                  <a:pt x="63" y="20"/>
                </a:lnTo>
                <a:lnTo>
                  <a:pt x="63" y="20"/>
                </a:lnTo>
                <a:lnTo>
                  <a:pt x="63" y="20"/>
                </a:lnTo>
                <a:lnTo>
                  <a:pt x="63" y="20"/>
                </a:lnTo>
                <a:lnTo>
                  <a:pt x="62" y="20"/>
                </a:lnTo>
                <a:lnTo>
                  <a:pt x="62" y="20"/>
                </a:lnTo>
                <a:lnTo>
                  <a:pt x="62" y="20"/>
                </a:lnTo>
                <a:lnTo>
                  <a:pt x="62" y="20"/>
                </a:lnTo>
                <a:lnTo>
                  <a:pt x="62" y="19"/>
                </a:lnTo>
                <a:lnTo>
                  <a:pt x="62" y="19"/>
                </a:lnTo>
                <a:lnTo>
                  <a:pt x="62" y="19"/>
                </a:lnTo>
                <a:lnTo>
                  <a:pt x="62" y="19"/>
                </a:lnTo>
                <a:lnTo>
                  <a:pt x="62" y="19"/>
                </a:lnTo>
                <a:lnTo>
                  <a:pt x="62" y="19"/>
                </a:lnTo>
                <a:lnTo>
                  <a:pt x="62" y="19"/>
                </a:lnTo>
                <a:lnTo>
                  <a:pt x="61" y="19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7" y="14"/>
                </a:lnTo>
                <a:lnTo>
                  <a:pt x="57" y="14"/>
                </a:lnTo>
                <a:lnTo>
                  <a:pt x="57" y="13"/>
                </a:lnTo>
                <a:lnTo>
                  <a:pt x="57" y="13"/>
                </a:lnTo>
                <a:lnTo>
                  <a:pt x="57" y="13"/>
                </a:lnTo>
                <a:lnTo>
                  <a:pt x="57" y="13"/>
                </a:lnTo>
                <a:lnTo>
                  <a:pt x="57" y="13"/>
                </a:lnTo>
                <a:lnTo>
                  <a:pt x="57" y="13"/>
                </a:lnTo>
                <a:lnTo>
                  <a:pt x="55" y="13"/>
                </a:lnTo>
                <a:lnTo>
                  <a:pt x="55" y="13"/>
                </a:lnTo>
                <a:lnTo>
                  <a:pt x="55" y="13"/>
                </a:lnTo>
                <a:lnTo>
                  <a:pt x="55" y="13"/>
                </a:lnTo>
                <a:lnTo>
                  <a:pt x="55" y="12"/>
                </a:lnTo>
                <a:lnTo>
                  <a:pt x="55" y="12"/>
                </a:lnTo>
                <a:lnTo>
                  <a:pt x="55" y="12"/>
                </a:lnTo>
                <a:lnTo>
                  <a:pt x="55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3" y="11"/>
                </a:lnTo>
                <a:lnTo>
                  <a:pt x="53" y="11"/>
                </a:lnTo>
                <a:lnTo>
                  <a:pt x="53" y="11"/>
                </a:lnTo>
                <a:lnTo>
                  <a:pt x="53" y="11"/>
                </a:lnTo>
                <a:lnTo>
                  <a:pt x="53" y="11"/>
                </a:lnTo>
                <a:lnTo>
                  <a:pt x="53" y="11"/>
                </a:lnTo>
                <a:lnTo>
                  <a:pt x="53" y="11"/>
                </a:lnTo>
                <a:lnTo>
                  <a:pt x="52" y="11"/>
                </a:lnTo>
                <a:lnTo>
                  <a:pt x="52" y="11"/>
                </a:lnTo>
                <a:lnTo>
                  <a:pt x="52" y="11"/>
                </a:lnTo>
                <a:lnTo>
                  <a:pt x="52" y="11"/>
                </a:lnTo>
                <a:lnTo>
                  <a:pt x="52" y="11"/>
                </a:lnTo>
                <a:lnTo>
                  <a:pt x="52" y="11"/>
                </a:lnTo>
                <a:lnTo>
                  <a:pt x="52" y="10"/>
                </a:lnTo>
                <a:lnTo>
                  <a:pt x="51" y="10"/>
                </a:lnTo>
                <a:lnTo>
                  <a:pt x="51" y="10"/>
                </a:lnTo>
                <a:lnTo>
                  <a:pt x="51" y="10"/>
                </a:lnTo>
                <a:lnTo>
                  <a:pt x="51" y="10"/>
                </a:lnTo>
                <a:lnTo>
                  <a:pt x="51" y="10"/>
                </a:lnTo>
                <a:lnTo>
                  <a:pt x="51" y="10"/>
                </a:lnTo>
                <a:lnTo>
                  <a:pt x="51" y="10"/>
                </a:lnTo>
                <a:lnTo>
                  <a:pt x="50" y="10"/>
                </a:lnTo>
                <a:lnTo>
                  <a:pt x="50" y="10"/>
                </a:lnTo>
                <a:lnTo>
                  <a:pt x="50" y="10"/>
                </a:lnTo>
                <a:lnTo>
                  <a:pt x="50" y="10"/>
                </a:lnTo>
                <a:lnTo>
                  <a:pt x="50" y="10"/>
                </a:lnTo>
                <a:lnTo>
                  <a:pt x="50" y="10"/>
                </a:lnTo>
                <a:lnTo>
                  <a:pt x="50" y="10"/>
                </a:lnTo>
                <a:lnTo>
                  <a:pt x="49" y="9"/>
                </a:lnTo>
                <a:lnTo>
                  <a:pt x="49" y="9"/>
                </a:lnTo>
                <a:lnTo>
                  <a:pt x="49" y="9"/>
                </a:lnTo>
                <a:lnTo>
                  <a:pt x="49" y="9"/>
                </a:lnTo>
                <a:lnTo>
                  <a:pt x="49" y="9"/>
                </a:lnTo>
                <a:lnTo>
                  <a:pt x="49" y="9"/>
                </a:lnTo>
                <a:lnTo>
                  <a:pt x="48" y="9"/>
                </a:lnTo>
                <a:lnTo>
                  <a:pt x="48" y="9"/>
                </a:lnTo>
                <a:lnTo>
                  <a:pt x="48" y="9"/>
                </a:lnTo>
                <a:lnTo>
                  <a:pt x="48" y="9"/>
                </a:lnTo>
                <a:lnTo>
                  <a:pt x="48" y="9"/>
                </a:lnTo>
                <a:lnTo>
                  <a:pt x="48" y="9"/>
                </a:lnTo>
                <a:lnTo>
                  <a:pt x="48" y="9"/>
                </a:lnTo>
                <a:lnTo>
                  <a:pt x="46" y="9"/>
                </a:lnTo>
                <a:lnTo>
                  <a:pt x="46" y="9"/>
                </a:lnTo>
                <a:lnTo>
                  <a:pt x="46" y="9"/>
                </a:lnTo>
                <a:lnTo>
                  <a:pt x="46" y="9"/>
                </a:lnTo>
                <a:lnTo>
                  <a:pt x="46" y="9"/>
                </a:lnTo>
                <a:lnTo>
                  <a:pt x="46" y="9"/>
                </a:lnTo>
                <a:lnTo>
                  <a:pt x="45" y="9"/>
                </a:lnTo>
                <a:lnTo>
                  <a:pt x="45" y="8"/>
                </a:lnTo>
                <a:lnTo>
                  <a:pt x="45" y="8"/>
                </a:lnTo>
                <a:lnTo>
                  <a:pt x="45" y="8"/>
                </a:lnTo>
                <a:lnTo>
                  <a:pt x="45" y="8"/>
                </a:lnTo>
                <a:lnTo>
                  <a:pt x="45" y="8"/>
                </a:lnTo>
                <a:lnTo>
                  <a:pt x="44" y="8"/>
                </a:lnTo>
                <a:lnTo>
                  <a:pt x="44" y="8"/>
                </a:lnTo>
                <a:lnTo>
                  <a:pt x="44" y="8"/>
                </a:lnTo>
                <a:lnTo>
                  <a:pt x="44" y="8"/>
                </a:lnTo>
                <a:lnTo>
                  <a:pt x="44" y="8"/>
                </a:lnTo>
                <a:lnTo>
                  <a:pt x="44" y="8"/>
                </a:lnTo>
                <a:lnTo>
                  <a:pt x="44" y="8"/>
                </a:lnTo>
                <a:lnTo>
                  <a:pt x="43" y="8"/>
                </a:lnTo>
                <a:lnTo>
                  <a:pt x="43" y="8"/>
                </a:lnTo>
                <a:lnTo>
                  <a:pt x="43" y="8"/>
                </a:lnTo>
                <a:lnTo>
                  <a:pt x="43" y="8"/>
                </a:lnTo>
                <a:lnTo>
                  <a:pt x="43" y="8"/>
                </a:lnTo>
                <a:lnTo>
                  <a:pt x="43" y="8"/>
                </a:lnTo>
                <a:lnTo>
                  <a:pt x="42" y="8"/>
                </a:lnTo>
                <a:lnTo>
                  <a:pt x="42" y="8"/>
                </a:lnTo>
                <a:lnTo>
                  <a:pt x="42" y="8"/>
                </a:lnTo>
                <a:lnTo>
                  <a:pt x="42" y="8"/>
                </a:lnTo>
                <a:lnTo>
                  <a:pt x="42" y="8"/>
                </a:lnTo>
                <a:lnTo>
                  <a:pt x="42" y="8"/>
                </a:lnTo>
                <a:lnTo>
                  <a:pt x="41" y="8"/>
                </a:lnTo>
                <a:lnTo>
                  <a:pt x="41" y="8"/>
                </a:lnTo>
                <a:lnTo>
                  <a:pt x="41" y="8"/>
                </a:lnTo>
                <a:lnTo>
                  <a:pt x="41" y="8"/>
                </a:lnTo>
                <a:lnTo>
                  <a:pt x="41" y="8"/>
                </a:lnTo>
                <a:lnTo>
                  <a:pt x="41" y="8"/>
                </a:lnTo>
                <a:lnTo>
                  <a:pt x="40" y="8"/>
                </a:lnTo>
                <a:lnTo>
                  <a:pt x="40" y="8"/>
                </a:lnTo>
                <a:lnTo>
                  <a:pt x="40" y="8"/>
                </a:lnTo>
                <a:lnTo>
                  <a:pt x="40" y="8"/>
                </a:lnTo>
                <a:lnTo>
                  <a:pt x="40" y="8"/>
                </a:lnTo>
                <a:lnTo>
                  <a:pt x="40" y="8"/>
                </a:lnTo>
                <a:lnTo>
                  <a:pt x="39" y="8"/>
                </a:lnTo>
                <a:lnTo>
                  <a:pt x="39" y="8"/>
                </a:lnTo>
                <a:lnTo>
                  <a:pt x="39" y="8"/>
                </a:lnTo>
                <a:lnTo>
                  <a:pt x="39" y="8"/>
                </a:lnTo>
                <a:lnTo>
                  <a:pt x="39" y="8"/>
                </a:lnTo>
                <a:lnTo>
                  <a:pt x="39" y="8"/>
                </a:lnTo>
                <a:lnTo>
                  <a:pt x="37" y="8"/>
                </a:lnTo>
                <a:lnTo>
                  <a:pt x="37" y="8"/>
                </a:lnTo>
                <a:lnTo>
                  <a:pt x="37" y="8"/>
                </a:lnTo>
                <a:lnTo>
                  <a:pt x="37" y="8"/>
                </a:lnTo>
                <a:lnTo>
                  <a:pt x="37" y="8"/>
                </a:lnTo>
                <a:lnTo>
                  <a:pt x="37" y="8"/>
                </a:lnTo>
                <a:lnTo>
                  <a:pt x="36" y="8"/>
                </a:lnTo>
                <a:lnTo>
                  <a:pt x="36" y="8"/>
                </a:lnTo>
                <a:lnTo>
                  <a:pt x="36" y="8"/>
                </a:lnTo>
                <a:lnTo>
                  <a:pt x="36" y="8"/>
                </a:lnTo>
                <a:lnTo>
                  <a:pt x="36" y="8"/>
                </a:lnTo>
                <a:lnTo>
                  <a:pt x="36" y="8"/>
                </a:lnTo>
                <a:lnTo>
                  <a:pt x="35" y="8"/>
                </a:lnTo>
                <a:lnTo>
                  <a:pt x="35" y="8"/>
                </a:lnTo>
                <a:lnTo>
                  <a:pt x="35" y="8"/>
                </a:lnTo>
                <a:lnTo>
                  <a:pt x="35" y="8"/>
                </a:lnTo>
                <a:lnTo>
                  <a:pt x="35" y="8"/>
                </a:lnTo>
                <a:lnTo>
                  <a:pt x="35" y="8"/>
                </a:lnTo>
                <a:lnTo>
                  <a:pt x="34" y="8"/>
                </a:lnTo>
                <a:lnTo>
                  <a:pt x="34" y="8"/>
                </a:lnTo>
                <a:lnTo>
                  <a:pt x="34" y="8"/>
                </a:lnTo>
                <a:lnTo>
                  <a:pt x="34" y="8"/>
                </a:lnTo>
                <a:lnTo>
                  <a:pt x="34" y="8"/>
                </a:lnTo>
                <a:lnTo>
                  <a:pt x="34" y="8"/>
                </a:lnTo>
                <a:lnTo>
                  <a:pt x="33" y="8"/>
                </a:lnTo>
                <a:lnTo>
                  <a:pt x="33" y="8"/>
                </a:lnTo>
                <a:lnTo>
                  <a:pt x="33" y="8"/>
                </a:lnTo>
                <a:lnTo>
                  <a:pt x="33" y="8"/>
                </a:lnTo>
                <a:lnTo>
                  <a:pt x="33" y="8"/>
                </a:lnTo>
                <a:lnTo>
                  <a:pt x="33" y="8"/>
                </a:lnTo>
                <a:lnTo>
                  <a:pt x="32" y="8"/>
                </a:lnTo>
                <a:lnTo>
                  <a:pt x="32" y="8"/>
                </a:lnTo>
                <a:lnTo>
                  <a:pt x="32" y="8"/>
                </a:lnTo>
                <a:lnTo>
                  <a:pt x="32" y="8"/>
                </a:lnTo>
                <a:lnTo>
                  <a:pt x="32" y="8"/>
                </a:lnTo>
                <a:lnTo>
                  <a:pt x="32" y="8"/>
                </a:lnTo>
                <a:lnTo>
                  <a:pt x="31" y="8"/>
                </a:lnTo>
                <a:lnTo>
                  <a:pt x="31" y="9"/>
                </a:lnTo>
                <a:lnTo>
                  <a:pt x="31" y="9"/>
                </a:lnTo>
                <a:lnTo>
                  <a:pt x="31" y="9"/>
                </a:lnTo>
                <a:lnTo>
                  <a:pt x="31" y="9"/>
                </a:lnTo>
                <a:lnTo>
                  <a:pt x="31" y="9"/>
                </a:lnTo>
                <a:lnTo>
                  <a:pt x="31" y="9"/>
                </a:lnTo>
                <a:lnTo>
                  <a:pt x="30" y="9"/>
                </a:lnTo>
                <a:lnTo>
                  <a:pt x="30" y="9"/>
                </a:lnTo>
                <a:lnTo>
                  <a:pt x="30" y="9"/>
                </a:lnTo>
                <a:lnTo>
                  <a:pt x="30" y="9"/>
                </a:lnTo>
                <a:lnTo>
                  <a:pt x="30" y="9"/>
                </a:lnTo>
                <a:lnTo>
                  <a:pt x="30" y="9"/>
                </a:lnTo>
                <a:lnTo>
                  <a:pt x="28" y="9"/>
                </a:lnTo>
                <a:lnTo>
                  <a:pt x="28" y="9"/>
                </a:lnTo>
                <a:lnTo>
                  <a:pt x="28" y="9"/>
                </a:lnTo>
                <a:lnTo>
                  <a:pt x="28" y="9"/>
                </a:lnTo>
                <a:lnTo>
                  <a:pt x="28" y="9"/>
                </a:lnTo>
                <a:lnTo>
                  <a:pt x="28" y="9"/>
                </a:lnTo>
                <a:lnTo>
                  <a:pt x="28" y="9"/>
                </a:lnTo>
                <a:lnTo>
                  <a:pt x="27" y="9"/>
                </a:lnTo>
                <a:lnTo>
                  <a:pt x="27" y="10"/>
                </a:lnTo>
                <a:lnTo>
                  <a:pt x="27" y="10"/>
                </a:lnTo>
                <a:lnTo>
                  <a:pt x="27" y="10"/>
                </a:lnTo>
                <a:lnTo>
                  <a:pt x="27" y="10"/>
                </a:lnTo>
                <a:lnTo>
                  <a:pt x="27" y="10"/>
                </a:lnTo>
                <a:lnTo>
                  <a:pt x="26" y="10"/>
                </a:lnTo>
                <a:lnTo>
                  <a:pt x="26" y="10"/>
                </a:lnTo>
                <a:lnTo>
                  <a:pt x="26" y="10"/>
                </a:lnTo>
                <a:lnTo>
                  <a:pt x="26" y="10"/>
                </a:lnTo>
                <a:lnTo>
                  <a:pt x="26" y="10"/>
                </a:lnTo>
                <a:lnTo>
                  <a:pt x="26" y="10"/>
                </a:lnTo>
                <a:lnTo>
                  <a:pt x="26" y="10"/>
                </a:lnTo>
                <a:lnTo>
                  <a:pt x="25" y="10"/>
                </a:lnTo>
                <a:lnTo>
                  <a:pt x="25" y="10"/>
                </a:lnTo>
                <a:lnTo>
                  <a:pt x="25" y="10"/>
                </a:lnTo>
                <a:lnTo>
                  <a:pt x="25" y="11"/>
                </a:lnTo>
                <a:lnTo>
                  <a:pt x="25" y="11"/>
                </a:lnTo>
                <a:lnTo>
                  <a:pt x="25" y="11"/>
                </a:lnTo>
                <a:lnTo>
                  <a:pt x="25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3" y="11"/>
                </a:lnTo>
                <a:lnTo>
                  <a:pt x="23" y="12"/>
                </a:lnTo>
                <a:lnTo>
                  <a:pt x="23" y="12"/>
                </a:lnTo>
                <a:lnTo>
                  <a:pt x="23" y="12"/>
                </a:lnTo>
                <a:lnTo>
                  <a:pt x="23" y="12"/>
                </a:lnTo>
                <a:lnTo>
                  <a:pt x="23" y="12"/>
                </a:lnTo>
                <a:lnTo>
                  <a:pt x="23" y="12"/>
                </a:lnTo>
                <a:lnTo>
                  <a:pt x="22" y="12"/>
                </a:lnTo>
                <a:lnTo>
                  <a:pt x="22" y="12"/>
                </a:lnTo>
                <a:lnTo>
                  <a:pt x="22" y="12"/>
                </a:lnTo>
                <a:lnTo>
                  <a:pt x="22" y="12"/>
                </a:lnTo>
                <a:lnTo>
                  <a:pt x="22" y="12"/>
                </a:lnTo>
                <a:lnTo>
                  <a:pt x="22" y="12"/>
                </a:lnTo>
                <a:lnTo>
                  <a:pt x="22" y="13"/>
                </a:lnTo>
                <a:lnTo>
                  <a:pt x="22" y="13"/>
                </a:lnTo>
                <a:lnTo>
                  <a:pt x="21" y="13"/>
                </a:lnTo>
                <a:lnTo>
                  <a:pt x="21" y="13"/>
                </a:lnTo>
                <a:lnTo>
                  <a:pt x="21" y="13"/>
                </a:lnTo>
                <a:lnTo>
                  <a:pt x="21" y="13"/>
                </a:lnTo>
                <a:lnTo>
                  <a:pt x="21" y="13"/>
                </a:lnTo>
                <a:lnTo>
                  <a:pt x="21" y="13"/>
                </a:lnTo>
                <a:lnTo>
                  <a:pt x="21" y="13"/>
                </a:lnTo>
                <a:lnTo>
                  <a:pt x="19" y="13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8" y="14"/>
                </a:lnTo>
                <a:lnTo>
                  <a:pt x="18" y="14"/>
                </a:lnTo>
                <a:lnTo>
                  <a:pt x="18" y="16"/>
                </a:lnTo>
                <a:lnTo>
                  <a:pt x="18" y="16"/>
                </a:lnTo>
                <a:lnTo>
                  <a:pt x="18" y="16"/>
                </a:lnTo>
                <a:lnTo>
                  <a:pt x="18" y="16"/>
                </a:lnTo>
                <a:lnTo>
                  <a:pt x="18" y="16"/>
                </a:lnTo>
                <a:lnTo>
                  <a:pt x="18" y="16"/>
                </a:lnTo>
                <a:lnTo>
                  <a:pt x="17" y="16"/>
                </a:lnTo>
                <a:lnTo>
                  <a:pt x="17" y="16"/>
                </a:lnTo>
                <a:lnTo>
                  <a:pt x="17" y="16"/>
                </a:lnTo>
                <a:lnTo>
                  <a:pt x="17" y="17"/>
                </a:lnTo>
                <a:lnTo>
                  <a:pt x="17" y="17"/>
                </a:lnTo>
                <a:lnTo>
                  <a:pt x="17" y="17"/>
                </a:lnTo>
                <a:lnTo>
                  <a:pt x="17" y="17"/>
                </a:lnTo>
                <a:lnTo>
                  <a:pt x="17" y="17"/>
                </a:lnTo>
                <a:lnTo>
                  <a:pt x="17" y="17"/>
                </a:lnTo>
                <a:lnTo>
                  <a:pt x="16" y="17"/>
                </a:lnTo>
                <a:lnTo>
                  <a:pt x="16" y="17"/>
                </a:lnTo>
                <a:lnTo>
                  <a:pt x="16" y="17"/>
                </a:lnTo>
                <a:lnTo>
                  <a:pt x="16" y="18"/>
                </a:lnTo>
                <a:lnTo>
                  <a:pt x="16" y="18"/>
                </a:lnTo>
                <a:lnTo>
                  <a:pt x="16" y="18"/>
                </a:lnTo>
                <a:lnTo>
                  <a:pt x="16" y="18"/>
                </a:lnTo>
                <a:lnTo>
                  <a:pt x="16" y="18"/>
                </a:lnTo>
                <a:lnTo>
                  <a:pt x="16" y="18"/>
                </a:lnTo>
                <a:lnTo>
                  <a:pt x="16" y="18"/>
                </a:lnTo>
                <a:lnTo>
                  <a:pt x="15" y="18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20"/>
                </a:lnTo>
                <a:lnTo>
                  <a:pt x="14" y="20"/>
                </a:lnTo>
                <a:lnTo>
                  <a:pt x="14" y="20"/>
                </a:lnTo>
                <a:lnTo>
                  <a:pt x="14" y="20"/>
                </a:lnTo>
                <a:lnTo>
                  <a:pt x="14" y="20"/>
                </a:lnTo>
                <a:lnTo>
                  <a:pt x="14" y="20"/>
                </a:lnTo>
                <a:lnTo>
                  <a:pt x="14" y="20"/>
                </a:lnTo>
                <a:lnTo>
                  <a:pt x="14" y="20"/>
                </a:lnTo>
                <a:lnTo>
                  <a:pt x="14" y="21"/>
                </a:lnTo>
                <a:lnTo>
                  <a:pt x="14" y="21"/>
                </a:lnTo>
                <a:lnTo>
                  <a:pt x="14" y="21"/>
                </a:lnTo>
                <a:lnTo>
                  <a:pt x="14" y="21"/>
                </a:lnTo>
                <a:lnTo>
                  <a:pt x="13" y="21"/>
                </a:lnTo>
                <a:lnTo>
                  <a:pt x="13" y="21"/>
                </a:lnTo>
                <a:lnTo>
                  <a:pt x="13" y="21"/>
                </a:lnTo>
                <a:lnTo>
                  <a:pt x="13" y="22"/>
                </a:lnTo>
                <a:lnTo>
                  <a:pt x="13" y="22"/>
                </a:lnTo>
                <a:lnTo>
                  <a:pt x="13" y="22"/>
                </a:lnTo>
                <a:lnTo>
                  <a:pt x="13" y="22"/>
                </a:lnTo>
                <a:lnTo>
                  <a:pt x="13" y="22"/>
                </a:lnTo>
                <a:lnTo>
                  <a:pt x="13" y="22"/>
                </a:lnTo>
                <a:lnTo>
                  <a:pt x="13" y="22"/>
                </a:lnTo>
                <a:lnTo>
                  <a:pt x="13" y="23"/>
                </a:lnTo>
                <a:lnTo>
                  <a:pt x="13" y="23"/>
                </a:lnTo>
                <a:lnTo>
                  <a:pt x="13" y="23"/>
                </a:lnTo>
                <a:lnTo>
                  <a:pt x="12" y="23"/>
                </a:lnTo>
                <a:lnTo>
                  <a:pt x="12" y="23"/>
                </a:lnTo>
                <a:lnTo>
                  <a:pt x="12" y="23"/>
                </a:lnTo>
                <a:lnTo>
                  <a:pt x="12" y="23"/>
                </a:lnTo>
                <a:lnTo>
                  <a:pt x="12" y="25"/>
                </a:lnTo>
                <a:lnTo>
                  <a:pt x="12" y="25"/>
                </a:lnTo>
                <a:lnTo>
                  <a:pt x="12" y="25"/>
                </a:lnTo>
                <a:lnTo>
                  <a:pt x="12" y="25"/>
                </a:lnTo>
                <a:lnTo>
                  <a:pt x="12" y="25"/>
                </a:lnTo>
                <a:lnTo>
                  <a:pt x="12" y="25"/>
                </a:lnTo>
                <a:lnTo>
                  <a:pt x="12" y="25"/>
                </a:lnTo>
                <a:lnTo>
                  <a:pt x="12" y="26"/>
                </a:lnTo>
                <a:lnTo>
                  <a:pt x="12" y="26"/>
                </a:lnTo>
                <a:lnTo>
                  <a:pt x="12" y="26"/>
                </a:lnTo>
                <a:lnTo>
                  <a:pt x="12" y="26"/>
                </a:lnTo>
                <a:lnTo>
                  <a:pt x="10" y="26"/>
                </a:lnTo>
                <a:lnTo>
                  <a:pt x="10" y="26"/>
                </a:lnTo>
                <a:lnTo>
                  <a:pt x="10" y="26"/>
                </a:lnTo>
                <a:lnTo>
                  <a:pt x="10" y="27"/>
                </a:lnTo>
                <a:lnTo>
                  <a:pt x="10" y="27"/>
                </a:lnTo>
                <a:lnTo>
                  <a:pt x="10" y="27"/>
                </a:lnTo>
                <a:lnTo>
                  <a:pt x="10" y="27"/>
                </a:lnTo>
                <a:lnTo>
                  <a:pt x="10" y="27"/>
                </a:lnTo>
                <a:lnTo>
                  <a:pt x="10" y="27"/>
                </a:lnTo>
                <a:lnTo>
                  <a:pt x="10" y="27"/>
                </a:lnTo>
                <a:lnTo>
                  <a:pt x="10" y="28"/>
                </a:lnTo>
                <a:lnTo>
                  <a:pt x="10" y="28"/>
                </a:lnTo>
                <a:lnTo>
                  <a:pt x="10" y="28"/>
                </a:lnTo>
                <a:lnTo>
                  <a:pt x="10" y="28"/>
                </a:lnTo>
                <a:lnTo>
                  <a:pt x="10" y="28"/>
                </a:lnTo>
                <a:lnTo>
                  <a:pt x="10" y="28"/>
                </a:lnTo>
                <a:lnTo>
                  <a:pt x="10" y="29"/>
                </a:lnTo>
                <a:lnTo>
                  <a:pt x="10" y="29"/>
                </a:lnTo>
                <a:lnTo>
                  <a:pt x="10" y="29"/>
                </a:lnTo>
                <a:lnTo>
                  <a:pt x="9" y="29"/>
                </a:lnTo>
                <a:lnTo>
                  <a:pt x="9" y="29"/>
                </a:lnTo>
                <a:lnTo>
                  <a:pt x="9" y="29"/>
                </a:lnTo>
                <a:lnTo>
                  <a:pt x="9" y="29"/>
                </a:lnTo>
                <a:lnTo>
                  <a:pt x="9" y="30"/>
                </a:lnTo>
                <a:lnTo>
                  <a:pt x="9" y="30"/>
                </a:lnTo>
                <a:lnTo>
                  <a:pt x="9" y="30"/>
                </a:lnTo>
                <a:lnTo>
                  <a:pt x="9" y="30"/>
                </a:lnTo>
                <a:lnTo>
                  <a:pt x="9" y="30"/>
                </a:lnTo>
                <a:lnTo>
                  <a:pt x="9" y="30"/>
                </a:lnTo>
                <a:lnTo>
                  <a:pt x="9" y="31"/>
                </a:lnTo>
                <a:lnTo>
                  <a:pt x="9" y="31"/>
                </a:lnTo>
                <a:lnTo>
                  <a:pt x="9" y="31"/>
                </a:lnTo>
                <a:lnTo>
                  <a:pt x="9" y="31"/>
                </a:lnTo>
                <a:lnTo>
                  <a:pt x="9" y="31"/>
                </a:lnTo>
                <a:lnTo>
                  <a:pt x="9" y="31"/>
                </a:lnTo>
                <a:lnTo>
                  <a:pt x="9" y="32"/>
                </a:lnTo>
                <a:lnTo>
                  <a:pt x="9" y="32"/>
                </a:lnTo>
                <a:lnTo>
                  <a:pt x="9" y="32"/>
                </a:lnTo>
                <a:lnTo>
                  <a:pt x="9" y="32"/>
                </a:lnTo>
                <a:lnTo>
                  <a:pt x="9" y="32"/>
                </a:lnTo>
                <a:lnTo>
                  <a:pt x="9" y="32"/>
                </a:lnTo>
                <a:lnTo>
                  <a:pt x="9" y="34"/>
                </a:lnTo>
                <a:lnTo>
                  <a:pt x="9" y="34"/>
                </a:lnTo>
                <a:lnTo>
                  <a:pt x="9" y="34"/>
                </a:lnTo>
                <a:lnTo>
                  <a:pt x="9" y="34"/>
                </a:lnTo>
                <a:lnTo>
                  <a:pt x="9" y="34"/>
                </a:lnTo>
                <a:lnTo>
                  <a:pt x="9" y="34"/>
                </a:lnTo>
                <a:lnTo>
                  <a:pt x="9" y="35"/>
                </a:lnTo>
                <a:lnTo>
                  <a:pt x="9" y="35"/>
                </a:lnTo>
                <a:lnTo>
                  <a:pt x="9" y="35"/>
                </a:lnTo>
                <a:lnTo>
                  <a:pt x="9" y="35"/>
                </a:lnTo>
                <a:lnTo>
                  <a:pt x="9" y="35"/>
                </a:lnTo>
                <a:lnTo>
                  <a:pt x="9" y="35"/>
                </a:lnTo>
                <a:lnTo>
                  <a:pt x="9" y="36"/>
                </a:lnTo>
                <a:lnTo>
                  <a:pt x="9" y="36"/>
                </a:lnTo>
                <a:lnTo>
                  <a:pt x="9" y="36"/>
                </a:lnTo>
                <a:lnTo>
                  <a:pt x="9" y="36"/>
                </a:lnTo>
                <a:lnTo>
                  <a:pt x="9" y="36"/>
                </a:lnTo>
                <a:lnTo>
                  <a:pt x="9" y="36"/>
                </a:lnTo>
                <a:lnTo>
                  <a:pt x="9" y="37"/>
                </a:lnTo>
                <a:lnTo>
                  <a:pt x="9" y="37"/>
                </a:lnTo>
                <a:lnTo>
                  <a:pt x="9" y="37"/>
                </a:lnTo>
                <a:lnTo>
                  <a:pt x="9" y="37"/>
                </a:lnTo>
                <a:lnTo>
                  <a:pt x="9" y="37"/>
                </a:lnTo>
                <a:lnTo>
                  <a:pt x="9" y="37"/>
                </a:lnTo>
                <a:lnTo>
                  <a:pt x="9" y="38"/>
                </a:lnTo>
                <a:lnTo>
                  <a:pt x="9" y="38"/>
                </a:lnTo>
                <a:lnTo>
                  <a:pt x="9" y="38"/>
                </a:lnTo>
                <a:lnTo>
                  <a:pt x="9" y="38"/>
                </a:lnTo>
                <a:lnTo>
                  <a:pt x="9" y="38"/>
                </a:lnTo>
                <a:lnTo>
                  <a:pt x="9" y="38"/>
                </a:lnTo>
                <a:lnTo>
                  <a:pt x="9" y="39"/>
                </a:lnTo>
                <a:lnTo>
                  <a:pt x="9" y="39"/>
                </a:lnTo>
                <a:lnTo>
                  <a:pt x="9" y="39"/>
                </a:lnTo>
                <a:lnTo>
                  <a:pt x="9" y="39"/>
                </a:lnTo>
                <a:lnTo>
                  <a:pt x="9" y="39"/>
                </a:lnTo>
                <a:lnTo>
                  <a:pt x="9" y="39"/>
                </a:lnTo>
                <a:lnTo>
                  <a:pt x="9" y="40"/>
                </a:lnTo>
                <a:lnTo>
                  <a:pt x="9" y="40"/>
                </a:lnTo>
                <a:lnTo>
                  <a:pt x="9" y="40"/>
                </a:lnTo>
                <a:lnTo>
                  <a:pt x="9" y="40"/>
                </a:lnTo>
                <a:lnTo>
                  <a:pt x="9" y="40"/>
                </a:lnTo>
                <a:lnTo>
                  <a:pt x="9" y="40"/>
                </a:lnTo>
                <a:lnTo>
                  <a:pt x="9" y="41"/>
                </a:lnTo>
                <a:lnTo>
                  <a:pt x="9" y="41"/>
                </a:lnTo>
                <a:lnTo>
                  <a:pt x="9" y="41"/>
                </a:lnTo>
                <a:lnTo>
                  <a:pt x="9" y="41"/>
                </a:lnTo>
                <a:lnTo>
                  <a:pt x="9" y="41"/>
                </a:lnTo>
                <a:lnTo>
                  <a:pt x="9" y="41"/>
                </a:lnTo>
                <a:lnTo>
                  <a:pt x="9" y="43"/>
                </a:lnTo>
                <a:lnTo>
                  <a:pt x="9" y="43"/>
                </a:lnTo>
                <a:lnTo>
                  <a:pt x="9" y="43"/>
                </a:lnTo>
                <a:lnTo>
                  <a:pt x="9" y="43"/>
                </a:lnTo>
                <a:lnTo>
                  <a:pt x="9" y="43"/>
                </a:lnTo>
                <a:lnTo>
                  <a:pt x="9" y="43"/>
                </a:lnTo>
                <a:lnTo>
                  <a:pt x="9" y="44"/>
                </a:lnTo>
                <a:lnTo>
                  <a:pt x="9" y="44"/>
                </a:lnTo>
                <a:lnTo>
                  <a:pt x="9" y="44"/>
                </a:lnTo>
                <a:lnTo>
                  <a:pt x="9" y="44"/>
                </a:lnTo>
                <a:lnTo>
                  <a:pt x="9" y="44"/>
                </a:lnTo>
                <a:lnTo>
                  <a:pt x="9" y="44"/>
                </a:lnTo>
                <a:lnTo>
                  <a:pt x="9" y="44"/>
                </a:lnTo>
                <a:lnTo>
                  <a:pt x="9" y="45"/>
                </a:lnTo>
                <a:lnTo>
                  <a:pt x="9" y="45"/>
                </a:lnTo>
                <a:lnTo>
                  <a:pt x="9" y="45"/>
                </a:lnTo>
                <a:lnTo>
                  <a:pt x="9" y="45"/>
                </a:lnTo>
                <a:lnTo>
                  <a:pt x="10" y="45"/>
                </a:lnTo>
                <a:lnTo>
                  <a:pt x="10" y="45"/>
                </a:lnTo>
                <a:lnTo>
                  <a:pt x="10" y="46"/>
                </a:lnTo>
                <a:lnTo>
                  <a:pt x="10" y="46"/>
                </a:lnTo>
                <a:lnTo>
                  <a:pt x="10" y="46"/>
                </a:lnTo>
                <a:lnTo>
                  <a:pt x="10" y="46"/>
                </a:lnTo>
                <a:lnTo>
                  <a:pt x="10" y="46"/>
                </a:lnTo>
                <a:lnTo>
                  <a:pt x="10" y="46"/>
                </a:lnTo>
                <a:lnTo>
                  <a:pt x="10" y="47"/>
                </a:lnTo>
                <a:lnTo>
                  <a:pt x="10" y="47"/>
                </a:lnTo>
                <a:lnTo>
                  <a:pt x="10" y="47"/>
                </a:lnTo>
                <a:lnTo>
                  <a:pt x="10" y="47"/>
                </a:lnTo>
                <a:lnTo>
                  <a:pt x="10" y="47"/>
                </a:lnTo>
                <a:lnTo>
                  <a:pt x="10" y="47"/>
                </a:lnTo>
                <a:lnTo>
                  <a:pt x="10" y="47"/>
                </a:lnTo>
                <a:lnTo>
                  <a:pt x="10" y="48"/>
                </a:lnTo>
                <a:lnTo>
                  <a:pt x="10" y="48"/>
                </a:lnTo>
                <a:lnTo>
                  <a:pt x="10" y="48"/>
                </a:lnTo>
                <a:lnTo>
                  <a:pt x="10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9"/>
                </a:lnTo>
                <a:lnTo>
                  <a:pt x="12" y="49"/>
                </a:lnTo>
                <a:lnTo>
                  <a:pt x="12" y="49"/>
                </a:lnTo>
                <a:lnTo>
                  <a:pt x="12" y="49"/>
                </a:lnTo>
                <a:lnTo>
                  <a:pt x="12" y="49"/>
                </a:lnTo>
                <a:lnTo>
                  <a:pt x="12" y="49"/>
                </a:lnTo>
                <a:lnTo>
                  <a:pt x="12" y="49"/>
                </a:lnTo>
                <a:lnTo>
                  <a:pt x="12" y="50"/>
                </a:lnTo>
                <a:lnTo>
                  <a:pt x="12" y="50"/>
                </a:lnTo>
                <a:lnTo>
                  <a:pt x="12" y="50"/>
                </a:lnTo>
                <a:lnTo>
                  <a:pt x="12" y="50"/>
                </a:lnTo>
                <a:lnTo>
                  <a:pt x="12" y="50"/>
                </a:lnTo>
                <a:lnTo>
                  <a:pt x="13" y="50"/>
                </a:lnTo>
                <a:lnTo>
                  <a:pt x="13" y="50"/>
                </a:lnTo>
                <a:lnTo>
                  <a:pt x="13" y="52"/>
                </a:lnTo>
                <a:lnTo>
                  <a:pt x="13" y="52"/>
                </a:lnTo>
                <a:lnTo>
                  <a:pt x="13" y="52"/>
                </a:lnTo>
                <a:lnTo>
                  <a:pt x="13" y="52"/>
                </a:lnTo>
                <a:lnTo>
                  <a:pt x="13" y="52"/>
                </a:lnTo>
                <a:lnTo>
                  <a:pt x="13" y="52"/>
                </a:lnTo>
                <a:lnTo>
                  <a:pt x="13" y="52"/>
                </a:lnTo>
                <a:lnTo>
                  <a:pt x="13" y="53"/>
                </a:lnTo>
                <a:lnTo>
                  <a:pt x="13" y="53"/>
                </a:lnTo>
                <a:lnTo>
                  <a:pt x="13" y="53"/>
                </a:lnTo>
                <a:lnTo>
                  <a:pt x="13" y="53"/>
                </a:lnTo>
                <a:lnTo>
                  <a:pt x="14" y="53"/>
                </a:lnTo>
                <a:lnTo>
                  <a:pt x="14" y="53"/>
                </a:lnTo>
                <a:lnTo>
                  <a:pt x="14" y="53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6"/>
                </a:lnTo>
                <a:lnTo>
                  <a:pt x="15" y="56"/>
                </a:lnTo>
                <a:lnTo>
                  <a:pt x="16" y="56"/>
                </a:lnTo>
                <a:lnTo>
                  <a:pt x="16" y="56"/>
                </a:lnTo>
                <a:lnTo>
                  <a:pt x="16" y="56"/>
                </a:lnTo>
                <a:lnTo>
                  <a:pt x="16" y="56"/>
                </a:lnTo>
                <a:lnTo>
                  <a:pt x="16" y="56"/>
                </a:lnTo>
                <a:lnTo>
                  <a:pt x="16" y="56"/>
                </a:lnTo>
                <a:lnTo>
                  <a:pt x="16" y="57"/>
                </a:lnTo>
                <a:lnTo>
                  <a:pt x="16" y="57"/>
                </a:lnTo>
                <a:lnTo>
                  <a:pt x="16" y="57"/>
                </a:lnTo>
                <a:lnTo>
                  <a:pt x="16" y="57"/>
                </a:lnTo>
                <a:lnTo>
                  <a:pt x="17" y="57"/>
                </a:lnTo>
                <a:lnTo>
                  <a:pt x="17" y="57"/>
                </a:lnTo>
                <a:lnTo>
                  <a:pt x="17" y="57"/>
                </a:lnTo>
                <a:lnTo>
                  <a:pt x="17" y="57"/>
                </a:lnTo>
                <a:lnTo>
                  <a:pt x="17" y="57"/>
                </a:lnTo>
                <a:lnTo>
                  <a:pt x="17" y="58"/>
                </a:lnTo>
                <a:lnTo>
                  <a:pt x="17" y="58"/>
                </a:lnTo>
                <a:lnTo>
                  <a:pt x="17" y="58"/>
                </a:lnTo>
                <a:lnTo>
                  <a:pt x="17" y="58"/>
                </a:lnTo>
                <a:lnTo>
                  <a:pt x="18" y="58"/>
                </a:lnTo>
                <a:lnTo>
                  <a:pt x="18" y="58"/>
                </a:lnTo>
                <a:lnTo>
                  <a:pt x="18" y="58"/>
                </a:lnTo>
                <a:lnTo>
                  <a:pt x="18" y="58"/>
                </a:lnTo>
                <a:lnTo>
                  <a:pt x="18" y="58"/>
                </a:lnTo>
                <a:lnTo>
                  <a:pt x="18" y="59"/>
                </a:lnTo>
                <a:lnTo>
                  <a:pt x="18" y="59"/>
                </a:lnTo>
                <a:lnTo>
                  <a:pt x="18" y="59"/>
                </a:lnTo>
                <a:lnTo>
                  <a:pt x="19" y="59"/>
                </a:lnTo>
                <a:lnTo>
                  <a:pt x="19" y="59"/>
                </a:lnTo>
                <a:lnTo>
                  <a:pt x="19" y="59"/>
                </a:lnTo>
                <a:lnTo>
                  <a:pt x="19" y="59"/>
                </a:lnTo>
                <a:lnTo>
                  <a:pt x="19" y="59"/>
                </a:lnTo>
                <a:lnTo>
                  <a:pt x="19" y="59"/>
                </a:lnTo>
                <a:lnTo>
                  <a:pt x="19" y="59"/>
                </a:lnTo>
                <a:lnTo>
                  <a:pt x="19" y="61"/>
                </a:lnTo>
                <a:lnTo>
                  <a:pt x="19" y="61"/>
                </a:lnTo>
                <a:lnTo>
                  <a:pt x="21" y="61"/>
                </a:lnTo>
                <a:lnTo>
                  <a:pt x="21" y="61"/>
                </a:lnTo>
                <a:lnTo>
                  <a:pt x="21" y="61"/>
                </a:lnTo>
                <a:lnTo>
                  <a:pt x="21" y="61"/>
                </a:lnTo>
                <a:lnTo>
                  <a:pt x="21" y="61"/>
                </a:lnTo>
                <a:lnTo>
                  <a:pt x="21" y="61"/>
                </a:lnTo>
                <a:lnTo>
                  <a:pt x="21" y="61"/>
                </a:lnTo>
                <a:lnTo>
                  <a:pt x="22" y="61"/>
                </a:lnTo>
                <a:lnTo>
                  <a:pt x="22" y="62"/>
                </a:lnTo>
                <a:lnTo>
                  <a:pt x="22" y="62"/>
                </a:lnTo>
                <a:lnTo>
                  <a:pt x="22" y="62"/>
                </a:lnTo>
                <a:lnTo>
                  <a:pt x="22" y="62"/>
                </a:lnTo>
                <a:lnTo>
                  <a:pt x="22" y="62"/>
                </a:lnTo>
                <a:lnTo>
                  <a:pt x="22" y="62"/>
                </a:lnTo>
                <a:lnTo>
                  <a:pt x="22" y="62"/>
                </a:lnTo>
                <a:lnTo>
                  <a:pt x="23" y="62"/>
                </a:lnTo>
                <a:lnTo>
                  <a:pt x="23" y="62"/>
                </a:lnTo>
                <a:lnTo>
                  <a:pt x="23" y="62"/>
                </a:lnTo>
                <a:lnTo>
                  <a:pt x="23" y="62"/>
                </a:lnTo>
                <a:lnTo>
                  <a:pt x="23" y="63"/>
                </a:lnTo>
                <a:lnTo>
                  <a:pt x="23" y="63"/>
                </a:lnTo>
                <a:lnTo>
                  <a:pt x="23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5" y="63"/>
                </a:lnTo>
                <a:lnTo>
                  <a:pt x="25" y="63"/>
                </a:lnTo>
                <a:lnTo>
                  <a:pt x="25" y="64"/>
                </a:lnTo>
                <a:lnTo>
                  <a:pt x="25" y="64"/>
                </a:lnTo>
                <a:lnTo>
                  <a:pt x="25" y="64"/>
                </a:lnTo>
                <a:lnTo>
                  <a:pt x="25" y="64"/>
                </a:lnTo>
                <a:lnTo>
                  <a:pt x="25" y="64"/>
                </a:lnTo>
                <a:lnTo>
                  <a:pt x="26" y="64"/>
                </a:lnTo>
                <a:lnTo>
                  <a:pt x="26" y="64"/>
                </a:lnTo>
                <a:lnTo>
                  <a:pt x="26" y="64"/>
                </a:lnTo>
                <a:lnTo>
                  <a:pt x="26" y="64"/>
                </a:lnTo>
                <a:lnTo>
                  <a:pt x="26" y="64"/>
                </a:lnTo>
                <a:lnTo>
                  <a:pt x="26" y="64"/>
                </a:lnTo>
                <a:lnTo>
                  <a:pt x="26" y="64"/>
                </a:lnTo>
                <a:lnTo>
                  <a:pt x="27" y="64"/>
                </a:lnTo>
                <a:lnTo>
                  <a:pt x="27" y="64"/>
                </a:lnTo>
                <a:lnTo>
                  <a:pt x="27" y="64"/>
                </a:lnTo>
                <a:lnTo>
                  <a:pt x="27" y="65"/>
                </a:lnTo>
                <a:lnTo>
                  <a:pt x="27" y="65"/>
                </a:lnTo>
                <a:lnTo>
                  <a:pt x="27" y="65"/>
                </a:lnTo>
                <a:lnTo>
                  <a:pt x="28" y="65"/>
                </a:lnTo>
                <a:lnTo>
                  <a:pt x="28" y="65"/>
                </a:lnTo>
                <a:lnTo>
                  <a:pt x="28" y="65"/>
                </a:lnTo>
                <a:lnTo>
                  <a:pt x="28" y="65"/>
                </a:lnTo>
                <a:lnTo>
                  <a:pt x="28" y="65"/>
                </a:lnTo>
                <a:lnTo>
                  <a:pt x="28" y="65"/>
                </a:lnTo>
                <a:lnTo>
                  <a:pt x="28" y="65"/>
                </a:lnTo>
                <a:lnTo>
                  <a:pt x="30" y="65"/>
                </a:lnTo>
                <a:lnTo>
                  <a:pt x="30" y="65"/>
                </a:lnTo>
                <a:lnTo>
                  <a:pt x="30" y="65"/>
                </a:lnTo>
                <a:lnTo>
                  <a:pt x="30" y="65"/>
                </a:lnTo>
                <a:lnTo>
                  <a:pt x="30" y="65"/>
                </a:lnTo>
                <a:lnTo>
                  <a:pt x="30" y="65"/>
                </a:lnTo>
                <a:lnTo>
                  <a:pt x="31" y="65"/>
                </a:lnTo>
                <a:lnTo>
                  <a:pt x="31" y="65"/>
                </a:lnTo>
                <a:lnTo>
                  <a:pt x="31" y="65"/>
                </a:lnTo>
                <a:lnTo>
                  <a:pt x="31" y="66"/>
                </a:lnTo>
                <a:lnTo>
                  <a:pt x="31" y="66"/>
                </a:lnTo>
                <a:lnTo>
                  <a:pt x="31" y="66"/>
                </a:lnTo>
                <a:lnTo>
                  <a:pt x="31" y="66"/>
                </a:lnTo>
                <a:lnTo>
                  <a:pt x="32" y="66"/>
                </a:lnTo>
                <a:lnTo>
                  <a:pt x="32" y="66"/>
                </a:lnTo>
                <a:lnTo>
                  <a:pt x="32" y="66"/>
                </a:lnTo>
                <a:lnTo>
                  <a:pt x="32" y="66"/>
                </a:lnTo>
                <a:lnTo>
                  <a:pt x="32" y="66"/>
                </a:lnTo>
                <a:lnTo>
                  <a:pt x="32" y="66"/>
                </a:lnTo>
                <a:lnTo>
                  <a:pt x="33" y="66"/>
                </a:lnTo>
                <a:lnTo>
                  <a:pt x="33" y="66"/>
                </a:lnTo>
                <a:lnTo>
                  <a:pt x="33" y="66"/>
                </a:lnTo>
                <a:lnTo>
                  <a:pt x="33" y="66"/>
                </a:lnTo>
                <a:lnTo>
                  <a:pt x="33" y="66"/>
                </a:lnTo>
                <a:lnTo>
                  <a:pt x="33" y="66"/>
                </a:lnTo>
                <a:lnTo>
                  <a:pt x="34" y="66"/>
                </a:lnTo>
                <a:lnTo>
                  <a:pt x="34" y="66"/>
                </a:lnTo>
                <a:lnTo>
                  <a:pt x="34" y="66"/>
                </a:lnTo>
                <a:lnTo>
                  <a:pt x="34" y="66"/>
                </a:lnTo>
                <a:lnTo>
                  <a:pt x="34" y="66"/>
                </a:lnTo>
                <a:lnTo>
                  <a:pt x="34" y="66"/>
                </a:lnTo>
                <a:lnTo>
                  <a:pt x="35" y="66"/>
                </a:lnTo>
                <a:lnTo>
                  <a:pt x="35" y="66"/>
                </a:lnTo>
                <a:lnTo>
                  <a:pt x="35" y="66"/>
                </a:lnTo>
                <a:lnTo>
                  <a:pt x="35" y="66"/>
                </a:lnTo>
                <a:lnTo>
                  <a:pt x="35" y="66"/>
                </a:lnTo>
                <a:lnTo>
                  <a:pt x="35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7" y="66"/>
                </a:lnTo>
                <a:lnTo>
                  <a:pt x="37" y="66"/>
                </a:lnTo>
                <a:lnTo>
                  <a:pt x="37" y="66"/>
                </a:lnTo>
                <a:lnTo>
                  <a:pt x="37" y="66"/>
                </a:lnTo>
                <a:lnTo>
                  <a:pt x="37" y="66"/>
                </a:lnTo>
                <a:lnTo>
                  <a:pt x="37" y="66"/>
                </a:lnTo>
                <a:lnTo>
                  <a:pt x="39" y="66"/>
                </a:lnTo>
                <a:lnTo>
                  <a:pt x="39" y="66"/>
                </a:lnTo>
                <a:lnTo>
                  <a:pt x="39" y="66"/>
                </a:lnTo>
                <a:lnTo>
                  <a:pt x="39" y="66"/>
                </a:lnTo>
                <a:close/>
                <a:moveTo>
                  <a:pt x="76" y="37"/>
                </a:moveTo>
                <a:lnTo>
                  <a:pt x="76" y="37"/>
                </a:lnTo>
                <a:lnTo>
                  <a:pt x="76" y="37"/>
                </a:lnTo>
                <a:lnTo>
                  <a:pt x="76" y="38"/>
                </a:lnTo>
                <a:lnTo>
                  <a:pt x="76" y="38"/>
                </a:lnTo>
                <a:lnTo>
                  <a:pt x="76" y="38"/>
                </a:lnTo>
                <a:lnTo>
                  <a:pt x="76" y="38"/>
                </a:lnTo>
                <a:lnTo>
                  <a:pt x="76" y="39"/>
                </a:lnTo>
                <a:lnTo>
                  <a:pt x="76" y="39"/>
                </a:lnTo>
                <a:lnTo>
                  <a:pt x="76" y="39"/>
                </a:lnTo>
                <a:lnTo>
                  <a:pt x="76" y="39"/>
                </a:lnTo>
                <a:lnTo>
                  <a:pt x="76" y="39"/>
                </a:lnTo>
                <a:lnTo>
                  <a:pt x="76" y="40"/>
                </a:lnTo>
                <a:lnTo>
                  <a:pt x="76" y="40"/>
                </a:lnTo>
                <a:lnTo>
                  <a:pt x="76" y="40"/>
                </a:lnTo>
                <a:lnTo>
                  <a:pt x="76" y="40"/>
                </a:lnTo>
                <a:lnTo>
                  <a:pt x="76" y="40"/>
                </a:lnTo>
                <a:lnTo>
                  <a:pt x="76" y="41"/>
                </a:lnTo>
                <a:lnTo>
                  <a:pt x="76" y="41"/>
                </a:lnTo>
                <a:lnTo>
                  <a:pt x="76" y="41"/>
                </a:lnTo>
                <a:lnTo>
                  <a:pt x="76" y="41"/>
                </a:lnTo>
                <a:lnTo>
                  <a:pt x="76" y="43"/>
                </a:lnTo>
                <a:lnTo>
                  <a:pt x="76" y="43"/>
                </a:lnTo>
                <a:lnTo>
                  <a:pt x="76" y="43"/>
                </a:lnTo>
                <a:lnTo>
                  <a:pt x="76" y="43"/>
                </a:lnTo>
                <a:lnTo>
                  <a:pt x="76" y="43"/>
                </a:lnTo>
                <a:lnTo>
                  <a:pt x="76" y="44"/>
                </a:lnTo>
                <a:lnTo>
                  <a:pt x="76" y="44"/>
                </a:lnTo>
                <a:lnTo>
                  <a:pt x="76" y="44"/>
                </a:lnTo>
                <a:lnTo>
                  <a:pt x="76" y="44"/>
                </a:lnTo>
                <a:lnTo>
                  <a:pt x="76" y="44"/>
                </a:lnTo>
                <a:lnTo>
                  <a:pt x="76" y="45"/>
                </a:lnTo>
                <a:lnTo>
                  <a:pt x="76" y="45"/>
                </a:lnTo>
                <a:lnTo>
                  <a:pt x="76" y="45"/>
                </a:lnTo>
                <a:lnTo>
                  <a:pt x="75" y="45"/>
                </a:lnTo>
                <a:lnTo>
                  <a:pt x="75" y="45"/>
                </a:lnTo>
                <a:lnTo>
                  <a:pt x="75" y="46"/>
                </a:lnTo>
                <a:lnTo>
                  <a:pt x="75" y="46"/>
                </a:lnTo>
                <a:lnTo>
                  <a:pt x="75" y="46"/>
                </a:lnTo>
                <a:lnTo>
                  <a:pt x="75" y="46"/>
                </a:lnTo>
                <a:lnTo>
                  <a:pt x="75" y="46"/>
                </a:lnTo>
                <a:lnTo>
                  <a:pt x="75" y="47"/>
                </a:lnTo>
                <a:lnTo>
                  <a:pt x="75" y="47"/>
                </a:lnTo>
                <a:lnTo>
                  <a:pt x="75" y="47"/>
                </a:lnTo>
                <a:lnTo>
                  <a:pt x="75" y="47"/>
                </a:lnTo>
                <a:lnTo>
                  <a:pt x="75" y="47"/>
                </a:lnTo>
                <a:lnTo>
                  <a:pt x="75" y="48"/>
                </a:lnTo>
                <a:lnTo>
                  <a:pt x="75" y="48"/>
                </a:lnTo>
                <a:lnTo>
                  <a:pt x="75" y="48"/>
                </a:lnTo>
                <a:lnTo>
                  <a:pt x="75" y="48"/>
                </a:lnTo>
                <a:lnTo>
                  <a:pt x="75" y="48"/>
                </a:lnTo>
                <a:lnTo>
                  <a:pt x="75" y="49"/>
                </a:lnTo>
                <a:lnTo>
                  <a:pt x="75" y="49"/>
                </a:lnTo>
                <a:lnTo>
                  <a:pt x="73" y="49"/>
                </a:lnTo>
                <a:lnTo>
                  <a:pt x="73" y="49"/>
                </a:lnTo>
                <a:lnTo>
                  <a:pt x="73" y="49"/>
                </a:lnTo>
                <a:lnTo>
                  <a:pt x="73" y="50"/>
                </a:lnTo>
                <a:lnTo>
                  <a:pt x="73" y="50"/>
                </a:lnTo>
                <a:lnTo>
                  <a:pt x="73" y="50"/>
                </a:lnTo>
                <a:lnTo>
                  <a:pt x="73" y="50"/>
                </a:lnTo>
                <a:lnTo>
                  <a:pt x="73" y="50"/>
                </a:lnTo>
                <a:lnTo>
                  <a:pt x="73" y="50"/>
                </a:lnTo>
                <a:lnTo>
                  <a:pt x="73" y="52"/>
                </a:lnTo>
                <a:lnTo>
                  <a:pt x="73" y="52"/>
                </a:lnTo>
                <a:lnTo>
                  <a:pt x="73" y="52"/>
                </a:lnTo>
                <a:lnTo>
                  <a:pt x="73" y="52"/>
                </a:lnTo>
                <a:lnTo>
                  <a:pt x="72" y="52"/>
                </a:lnTo>
                <a:lnTo>
                  <a:pt x="72" y="53"/>
                </a:lnTo>
                <a:lnTo>
                  <a:pt x="72" y="53"/>
                </a:lnTo>
                <a:lnTo>
                  <a:pt x="72" y="53"/>
                </a:lnTo>
                <a:lnTo>
                  <a:pt x="72" y="53"/>
                </a:lnTo>
                <a:lnTo>
                  <a:pt x="72" y="53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1" y="55"/>
                </a:lnTo>
                <a:lnTo>
                  <a:pt x="71" y="55"/>
                </a:lnTo>
                <a:lnTo>
                  <a:pt x="71" y="55"/>
                </a:lnTo>
                <a:lnTo>
                  <a:pt x="71" y="55"/>
                </a:lnTo>
                <a:lnTo>
                  <a:pt x="71" y="55"/>
                </a:lnTo>
                <a:lnTo>
                  <a:pt x="71" y="56"/>
                </a:lnTo>
                <a:lnTo>
                  <a:pt x="71" y="56"/>
                </a:lnTo>
                <a:lnTo>
                  <a:pt x="71" y="56"/>
                </a:lnTo>
                <a:lnTo>
                  <a:pt x="71" y="56"/>
                </a:lnTo>
                <a:lnTo>
                  <a:pt x="71" y="56"/>
                </a:lnTo>
                <a:lnTo>
                  <a:pt x="70" y="56"/>
                </a:lnTo>
                <a:lnTo>
                  <a:pt x="70" y="57"/>
                </a:lnTo>
                <a:lnTo>
                  <a:pt x="70" y="57"/>
                </a:lnTo>
                <a:lnTo>
                  <a:pt x="70" y="57"/>
                </a:lnTo>
                <a:lnTo>
                  <a:pt x="70" y="57"/>
                </a:lnTo>
                <a:lnTo>
                  <a:pt x="70" y="57"/>
                </a:lnTo>
                <a:lnTo>
                  <a:pt x="70" y="57"/>
                </a:lnTo>
                <a:lnTo>
                  <a:pt x="70" y="58"/>
                </a:lnTo>
                <a:lnTo>
                  <a:pt x="70" y="58"/>
                </a:lnTo>
                <a:lnTo>
                  <a:pt x="69" y="58"/>
                </a:lnTo>
                <a:lnTo>
                  <a:pt x="69" y="58"/>
                </a:lnTo>
                <a:lnTo>
                  <a:pt x="69" y="58"/>
                </a:lnTo>
                <a:lnTo>
                  <a:pt x="69" y="58"/>
                </a:lnTo>
                <a:lnTo>
                  <a:pt x="69" y="59"/>
                </a:lnTo>
                <a:lnTo>
                  <a:pt x="69" y="59"/>
                </a:lnTo>
                <a:lnTo>
                  <a:pt x="69" y="59"/>
                </a:lnTo>
                <a:lnTo>
                  <a:pt x="69" y="59"/>
                </a:lnTo>
                <a:lnTo>
                  <a:pt x="69" y="59"/>
                </a:lnTo>
                <a:lnTo>
                  <a:pt x="68" y="59"/>
                </a:lnTo>
                <a:lnTo>
                  <a:pt x="68" y="61"/>
                </a:lnTo>
                <a:lnTo>
                  <a:pt x="68" y="61"/>
                </a:lnTo>
                <a:lnTo>
                  <a:pt x="68" y="61"/>
                </a:lnTo>
                <a:lnTo>
                  <a:pt x="68" y="61"/>
                </a:lnTo>
                <a:lnTo>
                  <a:pt x="68" y="61"/>
                </a:lnTo>
                <a:lnTo>
                  <a:pt x="68" y="61"/>
                </a:lnTo>
                <a:lnTo>
                  <a:pt x="67" y="61"/>
                </a:lnTo>
                <a:lnTo>
                  <a:pt x="67" y="62"/>
                </a:lnTo>
                <a:lnTo>
                  <a:pt x="67" y="62"/>
                </a:lnTo>
                <a:lnTo>
                  <a:pt x="67" y="62"/>
                </a:lnTo>
                <a:lnTo>
                  <a:pt x="67" y="62"/>
                </a:lnTo>
                <a:lnTo>
                  <a:pt x="67" y="62"/>
                </a:lnTo>
                <a:lnTo>
                  <a:pt x="67" y="62"/>
                </a:lnTo>
                <a:lnTo>
                  <a:pt x="67" y="63"/>
                </a:lnTo>
                <a:lnTo>
                  <a:pt x="66" y="63"/>
                </a:lnTo>
                <a:lnTo>
                  <a:pt x="66" y="63"/>
                </a:lnTo>
                <a:lnTo>
                  <a:pt x="66" y="63"/>
                </a:lnTo>
                <a:lnTo>
                  <a:pt x="66" y="63"/>
                </a:lnTo>
                <a:lnTo>
                  <a:pt x="66" y="63"/>
                </a:lnTo>
                <a:lnTo>
                  <a:pt x="66" y="63"/>
                </a:lnTo>
                <a:lnTo>
                  <a:pt x="66" y="64"/>
                </a:lnTo>
                <a:lnTo>
                  <a:pt x="64" y="64"/>
                </a:lnTo>
                <a:lnTo>
                  <a:pt x="64" y="64"/>
                </a:lnTo>
                <a:lnTo>
                  <a:pt x="64" y="64"/>
                </a:lnTo>
                <a:lnTo>
                  <a:pt x="64" y="64"/>
                </a:lnTo>
                <a:lnTo>
                  <a:pt x="64" y="64"/>
                </a:lnTo>
                <a:lnTo>
                  <a:pt x="64" y="64"/>
                </a:lnTo>
                <a:lnTo>
                  <a:pt x="64" y="65"/>
                </a:lnTo>
                <a:lnTo>
                  <a:pt x="63" y="65"/>
                </a:lnTo>
                <a:lnTo>
                  <a:pt x="63" y="65"/>
                </a:lnTo>
                <a:lnTo>
                  <a:pt x="63" y="65"/>
                </a:lnTo>
                <a:lnTo>
                  <a:pt x="63" y="65"/>
                </a:lnTo>
                <a:lnTo>
                  <a:pt x="63" y="65"/>
                </a:lnTo>
                <a:lnTo>
                  <a:pt x="63" y="65"/>
                </a:lnTo>
                <a:lnTo>
                  <a:pt x="63" y="65"/>
                </a:lnTo>
                <a:lnTo>
                  <a:pt x="62" y="66"/>
                </a:lnTo>
                <a:lnTo>
                  <a:pt x="62" y="66"/>
                </a:lnTo>
                <a:lnTo>
                  <a:pt x="62" y="66"/>
                </a:lnTo>
                <a:lnTo>
                  <a:pt x="62" y="66"/>
                </a:lnTo>
                <a:lnTo>
                  <a:pt x="62" y="66"/>
                </a:lnTo>
                <a:lnTo>
                  <a:pt x="62" y="66"/>
                </a:lnTo>
                <a:lnTo>
                  <a:pt x="61" y="66"/>
                </a:lnTo>
                <a:lnTo>
                  <a:pt x="61" y="66"/>
                </a:lnTo>
                <a:lnTo>
                  <a:pt x="61" y="67"/>
                </a:lnTo>
                <a:lnTo>
                  <a:pt x="61" y="67"/>
                </a:lnTo>
                <a:lnTo>
                  <a:pt x="61" y="67"/>
                </a:lnTo>
                <a:lnTo>
                  <a:pt x="61" y="67"/>
                </a:lnTo>
                <a:lnTo>
                  <a:pt x="61" y="67"/>
                </a:lnTo>
                <a:lnTo>
                  <a:pt x="60" y="67"/>
                </a:lnTo>
                <a:lnTo>
                  <a:pt x="60" y="67"/>
                </a:lnTo>
                <a:lnTo>
                  <a:pt x="60" y="67"/>
                </a:lnTo>
                <a:lnTo>
                  <a:pt x="60" y="68"/>
                </a:lnTo>
                <a:lnTo>
                  <a:pt x="60" y="68"/>
                </a:lnTo>
                <a:lnTo>
                  <a:pt x="60" y="68"/>
                </a:lnTo>
                <a:lnTo>
                  <a:pt x="59" y="68"/>
                </a:lnTo>
                <a:lnTo>
                  <a:pt x="59" y="68"/>
                </a:lnTo>
                <a:lnTo>
                  <a:pt x="59" y="68"/>
                </a:lnTo>
                <a:lnTo>
                  <a:pt x="59" y="68"/>
                </a:lnTo>
                <a:lnTo>
                  <a:pt x="59" y="68"/>
                </a:lnTo>
                <a:lnTo>
                  <a:pt x="59" y="68"/>
                </a:lnTo>
                <a:lnTo>
                  <a:pt x="58" y="70"/>
                </a:lnTo>
                <a:lnTo>
                  <a:pt x="58" y="70"/>
                </a:lnTo>
                <a:lnTo>
                  <a:pt x="58" y="70"/>
                </a:lnTo>
                <a:lnTo>
                  <a:pt x="58" y="70"/>
                </a:lnTo>
                <a:lnTo>
                  <a:pt x="58" y="70"/>
                </a:lnTo>
                <a:lnTo>
                  <a:pt x="57" y="70"/>
                </a:lnTo>
                <a:lnTo>
                  <a:pt x="57" y="70"/>
                </a:lnTo>
                <a:lnTo>
                  <a:pt x="57" y="70"/>
                </a:lnTo>
                <a:lnTo>
                  <a:pt x="57" y="70"/>
                </a:lnTo>
                <a:lnTo>
                  <a:pt x="57" y="70"/>
                </a:lnTo>
                <a:lnTo>
                  <a:pt x="57" y="71"/>
                </a:lnTo>
                <a:lnTo>
                  <a:pt x="55" y="71"/>
                </a:lnTo>
                <a:lnTo>
                  <a:pt x="55" y="71"/>
                </a:lnTo>
                <a:lnTo>
                  <a:pt x="55" y="71"/>
                </a:lnTo>
                <a:lnTo>
                  <a:pt x="55" y="71"/>
                </a:lnTo>
                <a:lnTo>
                  <a:pt x="55" y="71"/>
                </a:lnTo>
                <a:lnTo>
                  <a:pt x="55" y="71"/>
                </a:lnTo>
                <a:lnTo>
                  <a:pt x="54" y="71"/>
                </a:lnTo>
                <a:lnTo>
                  <a:pt x="54" y="71"/>
                </a:lnTo>
                <a:lnTo>
                  <a:pt x="54" y="71"/>
                </a:lnTo>
                <a:lnTo>
                  <a:pt x="54" y="71"/>
                </a:lnTo>
                <a:lnTo>
                  <a:pt x="54" y="72"/>
                </a:lnTo>
                <a:lnTo>
                  <a:pt x="53" y="72"/>
                </a:lnTo>
                <a:lnTo>
                  <a:pt x="53" y="72"/>
                </a:lnTo>
                <a:lnTo>
                  <a:pt x="53" y="72"/>
                </a:lnTo>
                <a:lnTo>
                  <a:pt x="53" y="72"/>
                </a:lnTo>
                <a:lnTo>
                  <a:pt x="53" y="72"/>
                </a:lnTo>
                <a:lnTo>
                  <a:pt x="52" y="72"/>
                </a:lnTo>
                <a:lnTo>
                  <a:pt x="52" y="72"/>
                </a:lnTo>
                <a:lnTo>
                  <a:pt x="52" y="72"/>
                </a:lnTo>
                <a:lnTo>
                  <a:pt x="52" y="72"/>
                </a:lnTo>
                <a:lnTo>
                  <a:pt x="52" y="72"/>
                </a:lnTo>
                <a:lnTo>
                  <a:pt x="52" y="72"/>
                </a:lnTo>
                <a:lnTo>
                  <a:pt x="51" y="72"/>
                </a:lnTo>
                <a:lnTo>
                  <a:pt x="51" y="73"/>
                </a:lnTo>
                <a:lnTo>
                  <a:pt x="51" y="73"/>
                </a:lnTo>
                <a:lnTo>
                  <a:pt x="51" y="73"/>
                </a:lnTo>
                <a:lnTo>
                  <a:pt x="51" y="73"/>
                </a:lnTo>
                <a:lnTo>
                  <a:pt x="50" y="73"/>
                </a:lnTo>
                <a:lnTo>
                  <a:pt x="50" y="73"/>
                </a:lnTo>
                <a:lnTo>
                  <a:pt x="50" y="73"/>
                </a:lnTo>
                <a:lnTo>
                  <a:pt x="50" y="73"/>
                </a:lnTo>
                <a:lnTo>
                  <a:pt x="50" y="73"/>
                </a:lnTo>
                <a:lnTo>
                  <a:pt x="49" y="73"/>
                </a:lnTo>
                <a:lnTo>
                  <a:pt x="49" y="73"/>
                </a:lnTo>
                <a:lnTo>
                  <a:pt x="49" y="73"/>
                </a:lnTo>
                <a:lnTo>
                  <a:pt x="49" y="73"/>
                </a:lnTo>
                <a:lnTo>
                  <a:pt x="49" y="73"/>
                </a:lnTo>
                <a:lnTo>
                  <a:pt x="48" y="73"/>
                </a:lnTo>
                <a:lnTo>
                  <a:pt x="48" y="73"/>
                </a:lnTo>
                <a:lnTo>
                  <a:pt x="48" y="73"/>
                </a:lnTo>
                <a:lnTo>
                  <a:pt x="48" y="74"/>
                </a:lnTo>
                <a:lnTo>
                  <a:pt x="48" y="74"/>
                </a:lnTo>
                <a:lnTo>
                  <a:pt x="46" y="74"/>
                </a:lnTo>
                <a:lnTo>
                  <a:pt x="46" y="74"/>
                </a:lnTo>
                <a:lnTo>
                  <a:pt x="46" y="74"/>
                </a:lnTo>
                <a:lnTo>
                  <a:pt x="46" y="74"/>
                </a:lnTo>
                <a:lnTo>
                  <a:pt x="46" y="74"/>
                </a:lnTo>
                <a:lnTo>
                  <a:pt x="45" y="74"/>
                </a:lnTo>
                <a:lnTo>
                  <a:pt x="45" y="74"/>
                </a:lnTo>
                <a:lnTo>
                  <a:pt x="45" y="74"/>
                </a:lnTo>
                <a:lnTo>
                  <a:pt x="45" y="74"/>
                </a:lnTo>
                <a:lnTo>
                  <a:pt x="45" y="74"/>
                </a:lnTo>
                <a:lnTo>
                  <a:pt x="44" y="74"/>
                </a:lnTo>
                <a:lnTo>
                  <a:pt x="44" y="74"/>
                </a:lnTo>
                <a:lnTo>
                  <a:pt x="44" y="74"/>
                </a:lnTo>
                <a:lnTo>
                  <a:pt x="44" y="74"/>
                </a:lnTo>
                <a:lnTo>
                  <a:pt x="44" y="74"/>
                </a:lnTo>
                <a:lnTo>
                  <a:pt x="43" y="74"/>
                </a:lnTo>
                <a:lnTo>
                  <a:pt x="43" y="74"/>
                </a:lnTo>
                <a:lnTo>
                  <a:pt x="43" y="74"/>
                </a:lnTo>
                <a:lnTo>
                  <a:pt x="43" y="74"/>
                </a:lnTo>
                <a:lnTo>
                  <a:pt x="42" y="74"/>
                </a:lnTo>
                <a:lnTo>
                  <a:pt x="42" y="74"/>
                </a:lnTo>
                <a:lnTo>
                  <a:pt x="42" y="74"/>
                </a:lnTo>
                <a:lnTo>
                  <a:pt x="42" y="74"/>
                </a:lnTo>
                <a:lnTo>
                  <a:pt x="42" y="74"/>
                </a:lnTo>
                <a:lnTo>
                  <a:pt x="41" y="74"/>
                </a:lnTo>
                <a:lnTo>
                  <a:pt x="41" y="74"/>
                </a:lnTo>
                <a:lnTo>
                  <a:pt x="41" y="74"/>
                </a:lnTo>
                <a:lnTo>
                  <a:pt x="41" y="74"/>
                </a:lnTo>
                <a:lnTo>
                  <a:pt x="41" y="74"/>
                </a:lnTo>
                <a:lnTo>
                  <a:pt x="40" y="74"/>
                </a:lnTo>
                <a:lnTo>
                  <a:pt x="40" y="74"/>
                </a:lnTo>
                <a:lnTo>
                  <a:pt x="40" y="74"/>
                </a:lnTo>
                <a:lnTo>
                  <a:pt x="40" y="74"/>
                </a:lnTo>
                <a:lnTo>
                  <a:pt x="40" y="74"/>
                </a:lnTo>
                <a:lnTo>
                  <a:pt x="39" y="74"/>
                </a:lnTo>
                <a:lnTo>
                  <a:pt x="39" y="74"/>
                </a:lnTo>
                <a:lnTo>
                  <a:pt x="39" y="74"/>
                </a:lnTo>
                <a:lnTo>
                  <a:pt x="39" y="74"/>
                </a:lnTo>
                <a:lnTo>
                  <a:pt x="37" y="74"/>
                </a:lnTo>
                <a:lnTo>
                  <a:pt x="37" y="74"/>
                </a:lnTo>
                <a:lnTo>
                  <a:pt x="37" y="74"/>
                </a:lnTo>
                <a:lnTo>
                  <a:pt x="37" y="74"/>
                </a:lnTo>
                <a:lnTo>
                  <a:pt x="37" y="74"/>
                </a:lnTo>
                <a:lnTo>
                  <a:pt x="36" y="74"/>
                </a:lnTo>
                <a:lnTo>
                  <a:pt x="36" y="74"/>
                </a:lnTo>
                <a:lnTo>
                  <a:pt x="36" y="74"/>
                </a:lnTo>
                <a:lnTo>
                  <a:pt x="36" y="74"/>
                </a:lnTo>
                <a:lnTo>
                  <a:pt x="36" y="74"/>
                </a:lnTo>
                <a:lnTo>
                  <a:pt x="35" y="74"/>
                </a:lnTo>
                <a:lnTo>
                  <a:pt x="35" y="74"/>
                </a:lnTo>
                <a:lnTo>
                  <a:pt x="35" y="74"/>
                </a:lnTo>
                <a:lnTo>
                  <a:pt x="35" y="74"/>
                </a:lnTo>
                <a:lnTo>
                  <a:pt x="34" y="74"/>
                </a:lnTo>
                <a:lnTo>
                  <a:pt x="34" y="74"/>
                </a:lnTo>
                <a:lnTo>
                  <a:pt x="34" y="74"/>
                </a:lnTo>
                <a:lnTo>
                  <a:pt x="34" y="74"/>
                </a:lnTo>
                <a:lnTo>
                  <a:pt x="34" y="74"/>
                </a:lnTo>
                <a:lnTo>
                  <a:pt x="33" y="74"/>
                </a:lnTo>
                <a:lnTo>
                  <a:pt x="33" y="74"/>
                </a:lnTo>
                <a:lnTo>
                  <a:pt x="33" y="74"/>
                </a:lnTo>
                <a:lnTo>
                  <a:pt x="33" y="74"/>
                </a:lnTo>
                <a:lnTo>
                  <a:pt x="33" y="74"/>
                </a:lnTo>
                <a:lnTo>
                  <a:pt x="32" y="74"/>
                </a:lnTo>
                <a:lnTo>
                  <a:pt x="32" y="74"/>
                </a:lnTo>
                <a:lnTo>
                  <a:pt x="32" y="74"/>
                </a:lnTo>
                <a:lnTo>
                  <a:pt x="32" y="74"/>
                </a:lnTo>
                <a:lnTo>
                  <a:pt x="32" y="74"/>
                </a:lnTo>
                <a:lnTo>
                  <a:pt x="31" y="74"/>
                </a:lnTo>
                <a:lnTo>
                  <a:pt x="31" y="74"/>
                </a:lnTo>
                <a:lnTo>
                  <a:pt x="31" y="74"/>
                </a:lnTo>
                <a:lnTo>
                  <a:pt x="31" y="74"/>
                </a:lnTo>
                <a:lnTo>
                  <a:pt x="31" y="74"/>
                </a:lnTo>
                <a:lnTo>
                  <a:pt x="30" y="74"/>
                </a:lnTo>
                <a:lnTo>
                  <a:pt x="30" y="74"/>
                </a:lnTo>
                <a:lnTo>
                  <a:pt x="30" y="74"/>
                </a:lnTo>
                <a:lnTo>
                  <a:pt x="30" y="73"/>
                </a:lnTo>
                <a:lnTo>
                  <a:pt x="30" y="73"/>
                </a:lnTo>
                <a:lnTo>
                  <a:pt x="28" y="73"/>
                </a:lnTo>
                <a:lnTo>
                  <a:pt x="28" y="73"/>
                </a:lnTo>
                <a:lnTo>
                  <a:pt x="28" y="73"/>
                </a:lnTo>
                <a:lnTo>
                  <a:pt x="28" y="73"/>
                </a:lnTo>
                <a:lnTo>
                  <a:pt x="28" y="73"/>
                </a:lnTo>
                <a:lnTo>
                  <a:pt x="27" y="73"/>
                </a:lnTo>
                <a:lnTo>
                  <a:pt x="27" y="73"/>
                </a:lnTo>
                <a:lnTo>
                  <a:pt x="27" y="73"/>
                </a:lnTo>
                <a:lnTo>
                  <a:pt x="27" y="73"/>
                </a:lnTo>
                <a:lnTo>
                  <a:pt x="27" y="73"/>
                </a:lnTo>
                <a:lnTo>
                  <a:pt x="26" y="73"/>
                </a:lnTo>
                <a:lnTo>
                  <a:pt x="26" y="73"/>
                </a:lnTo>
                <a:lnTo>
                  <a:pt x="26" y="73"/>
                </a:lnTo>
                <a:lnTo>
                  <a:pt x="26" y="73"/>
                </a:lnTo>
                <a:lnTo>
                  <a:pt x="26" y="73"/>
                </a:lnTo>
                <a:lnTo>
                  <a:pt x="25" y="72"/>
                </a:lnTo>
                <a:lnTo>
                  <a:pt x="25" y="72"/>
                </a:lnTo>
                <a:lnTo>
                  <a:pt x="25" y="72"/>
                </a:lnTo>
                <a:lnTo>
                  <a:pt x="25" y="72"/>
                </a:lnTo>
                <a:lnTo>
                  <a:pt x="25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3" y="72"/>
                </a:lnTo>
                <a:lnTo>
                  <a:pt x="23" y="72"/>
                </a:lnTo>
                <a:lnTo>
                  <a:pt x="23" y="71"/>
                </a:lnTo>
                <a:lnTo>
                  <a:pt x="23" y="71"/>
                </a:lnTo>
                <a:lnTo>
                  <a:pt x="23" y="71"/>
                </a:lnTo>
                <a:lnTo>
                  <a:pt x="22" y="71"/>
                </a:lnTo>
                <a:lnTo>
                  <a:pt x="22" y="71"/>
                </a:lnTo>
                <a:lnTo>
                  <a:pt x="22" y="71"/>
                </a:lnTo>
                <a:lnTo>
                  <a:pt x="22" y="71"/>
                </a:lnTo>
                <a:lnTo>
                  <a:pt x="22" y="71"/>
                </a:lnTo>
                <a:lnTo>
                  <a:pt x="22" y="71"/>
                </a:lnTo>
                <a:lnTo>
                  <a:pt x="21" y="71"/>
                </a:lnTo>
                <a:lnTo>
                  <a:pt x="21" y="71"/>
                </a:lnTo>
                <a:lnTo>
                  <a:pt x="21" y="70"/>
                </a:lnTo>
                <a:lnTo>
                  <a:pt x="21" y="70"/>
                </a:lnTo>
                <a:lnTo>
                  <a:pt x="21" y="70"/>
                </a:lnTo>
                <a:lnTo>
                  <a:pt x="19" y="70"/>
                </a:lnTo>
                <a:lnTo>
                  <a:pt x="19" y="70"/>
                </a:lnTo>
                <a:lnTo>
                  <a:pt x="19" y="70"/>
                </a:lnTo>
                <a:lnTo>
                  <a:pt x="19" y="70"/>
                </a:lnTo>
                <a:lnTo>
                  <a:pt x="19" y="70"/>
                </a:lnTo>
                <a:lnTo>
                  <a:pt x="19" y="70"/>
                </a:lnTo>
                <a:lnTo>
                  <a:pt x="18" y="70"/>
                </a:lnTo>
                <a:lnTo>
                  <a:pt x="18" y="68"/>
                </a:lnTo>
                <a:lnTo>
                  <a:pt x="18" y="68"/>
                </a:lnTo>
                <a:lnTo>
                  <a:pt x="18" y="68"/>
                </a:lnTo>
                <a:lnTo>
                  <a:pt x="18" y="68"/>
                </a:lnTo>
                <a:lnTo>
                  <a:pt x="18" y="68"/>
                </a:lnTo>
                <a:lnTo>
                  <a:pt x="17" y="68"/>
                </a:lnTo>
                <a:lnTo>
                  <a:pt x="17" y="68"/>
                </a:lnTo>
                <a:lnTo>
                  <a:pt x="17" y="68"/>
                </a:lnTo>
                <a:lnTo>
                  <a:pt x="17" y="68"/>
                </a:lnTo>
                <a:lnTo>
                  <a:pt x="17" y="67"/>
                </a:lnTo>
                <a:lnTo>
                  <a:pt x="17" y="67"/>
                </a:lnTo>
                <a:lnTo>
                  <a:pt x="16" y="67"/>
                </a:lnTo>
                <a:lnTo>
                  <a:pt x="16" y="67"/>
                </a:lnTo>
                <a:lnTo>
                  <a:pt x="16" y="67"/>
                </a:lnTo>
                <a:lnTo>
                  <a:pt x="16" y="67"/>
                </a:lnTo>
                <a:lnTo>
                  <a:pt x="16" y="67"/>
                </a:lnTo>
                <a:lnTo>
                  <a:pt x="16" y="67"/>
                </a:lnTo>
                <a:lnTo>
                  <a:pt x="15" y="66"/>
                </a:lnTo>
                <a:lnTo>
                  <a:pt x="15" y="66"/>
                </a:lnTo>
                <a:lnTo>
                  <a:pt x="15" y="66"/>
                </a:lnTo>
                <a:lnTo>
                  <a:pt x="15" y="66"/>
                </a:lnTo>
                <a:lnTo>
                  <a:pt x="15" y="66"/>
                </a:lnTo>
                <a:lnTo>
                  <a:pt x="15" y="66"/>
                </a:lnTo>
                <a:lnTo>
                  <a:pt x="14" y="66"/>
                </a:lnTo>
                <a:lnTo>
                  <a:pt x="14" y="66"/>
                </a:lnTo>
                <a:lnTo>
                  <a:pt x="14" y="65"/>
                </a:lnTo>
                <a:lnTo>
                  <a:pt x="14" y="65"/>
                </a:lnTo>
                <a:lnTo>
                  <a:pt x="14" y="65"/>
                </a:lnTo>
                <a:lnTo>
                  <a:pt x="14" y="65"/>
                </a:lnTo>
                <a:lnTo>
                  <a:pt x="14" y="65"/>
                </a:lnTo>
                <a:lnTo>
                  <a:pt x="13" y="65"/>
                </a:lnTo>
                <a:lnTo>
                  <a:pt x="13" y="65"/>
                </a:lnTo>
                <a:lnTo>
                  <a:pt x="13" y="65"/>
                </a:lnTo>
                <a:lnTo>
                  <a:pt x="13" y="64"/>
                </a:lnTo>
                <a:lnTo>
                  <a:pt x="13" y="64"/>
                </a:lnTo>
                <a:lnTo>
                  <a:pt x="13" y="64"/>
                </a:lnTo>
                <a:lnTo>
                  <a:pt x="13" y="64"/>
                </a:lnTo>
                <a:lnTo>
                  <a:pt x="12" y="64"/>
                </a:lnTo>
                <a:lnTo>
                  <a:pt x="12" y="64"/>
                </a:lnTo>
                <a:lnTo>
                  <a:pt x="12" y="64"/>
                </a:lnTo>
                <a:lnTo>
                  <a:pt x="12" y="63"/>
                </a:lnTo>
                <a:lnTo>
                  <a:pt x="12" y="63"/>
                </a:lnTo>
                <a:lnTo>
                  <a:pt x="12" y="63"/>
                </a:lnTo>
                <a:lnTo>
                  <a:pt x="12" y="63"/>
                </a:lnTo>
                <a:lnTo>
                  <a:pt x="10" y="63"/>
                </a:lnTo>
                <a:lnTo>
                  <a:pt x="10" y="63"/>
                </a:lnTo>
                <a:lnTo>
                  <a:pt x="10" y="63"/>
                </a:lnTo>
                <a:lnTo>
                  <a:pt x="10" y="62"/>
                </a:lnTo>
                <a:lnTo>
                  <a:pt x="10" y="62"/>
                </a:lnTo>
                <a:lnTo>
                  <a:pt x="10" y="62"/>
                </a:lnTo>
                <a:lnTo>
                  <a:pt x="10" y="62"/>
                </a:lnTo>
                <a:lnTo>
                  <a:pt x="10" y="62"/>
                </a:lnTo>
                <a:lnTo>
                  <a:pt x="9" y="62"/>
                </a:lnTo>
                <a:lnTo>
                  <a:pt x="9" y="61"/>
                </a:lnTo>
                <a:lnTo>
                  <a:pt x="9" y="61"/>
                </a:lnTo>
                <a:lnTo>
                  <a:pt x="9" y="61"/>
                </a:lnTo>
                <a:lnTo>
                  <a:pt x="9" y="61"/>
                </a:lnTo>
                <a:lnTo>
                  <a:pt x="9" y="61"/>
                </a:lnTo>
                <a:lnTo>
                  <a:pt x="9" y="61"/>
                </a:lnTo>
                <a:lnTo>
                  <a:pt x="8" y="61"/>
                </a:lnTo>
                <a:lnTo>
                  <a:pt x="8" y="59"/>
                </a:lnTo>
                <a:lnTo>
                  <a:pt x="8" y="59"/>
                </a:lnTo>
                <a:lnTo>
                  <a:pt x="8" y="59"/>
                </a:lnTo>
                <a:lnTo>
                  <a:pt x="8" y="59"/>
                </a:lnTo>
                <a:lnTo>
                  <a:pt x="8" y="59"/>
                </a:lnTo>
                <a:lnTo>
                  <a:pt x="8" y="59"/>
                </a:lnTo>
                <a:lnTo>
                  <a:pt x="8" y="58"/>
                </a:lnTo>
                <a:lnTo>
                  <a:pt x="8" y="58"/>
                </a:lnTo>
                <a:lnTo>
                  <a:pt x="7" y="58"/>
                </a:lnTo>
                <a:lnTo>
                  <a:pt x="7" y="58"/>
                </a:lnTo>
                <a:lnTo>
                  <a:pt x="7" y="58"/>
                </a:lnTo>
                <a:lnTo>
                  <a:pt x="7" y="58"/>
                </a:lnTo>
                <a:lnTo>
                  <a:pt x="7" y="57"/>
                </a:lnTo>
                <a:lnTo>
                  <a:pt x="7" y="57"/>
                </a:lnTo>
                <a:lnTo>
                  <a:pt x="7" y="57"/>
                </a:lnTo>
                <a:lnTo>
                  <a:pt x="7" y="57"/>
                </a:lnTo>
                <a:lnTo>
                  <a:pt x="7" y="57"/>
                </a:lnTo>
                <a:lnTo>
                  <a:pt x="6" y="57"/>
                </a:lnTo>
                <a:lnTo>
                  <a:pt x="6" y="56"/>
                </a:lnTo>
                <a:lnTo>
                  <a:pt x="6" y="56"/>
                </a:lnTo>
                <a:lnTo>
                  <a:pt x="6" y="56"/>
                </a:lnTo>
                <a:lnTo>
                  <a:pt x="6" y="56"/>
                </a:lnTo>
                <a:lnTo>
                  <a:pt x="6" y="56"/>
                </a:lnTo>
                <a:lnTo>
                  <a:pt x="6" y="56"/>
                </a:lnTo>
                <a:lnTo>
                  <a:pt x="6" y="55"/>
                </a:lnTo>
                <a:lnTo>
                  <a:pt x="6" y="55"/>
                </a:lnTo>
                <a:lnTo>
                  <a:pt x="6" y="55"/>
                </a:lnTo>
                <a:lnTo>
                  <a:pt x="5" y="55"/>
                </a:lnTo>
                <a:lnTo>
                  <a:pt x="5" y="55"/>
                </a:lnTo>
                <a:lnTo>
                  <a:pt x="5" y="54"/>
                </a:lnTo>
                <a:lnTo>
                  <a:pt x="5" y="54"/>
                </a:lnTo>
                <a:lnTo>
                  <a:pt x="5" y="54"/>
                </a:lnTo>
                <a:lnTo>
                  <a:pt x="5" y="54"/>
                </a:lnTo>
                <a:lnTo>
                  <a:pt x="5" y="54"/>
                </a:lnTo>
                <a:lnTo>
                  <a:pt x="5" y="54"/>
                </a:lnTo>
                <a:lnTo>
                  <a:pt x="5" y="53"/>
                </a:lnTo>
                <a:lnTo>
                  <a:pt x="5" y="53"/>
                </a:lnTo>
                <a:lnTo>
                  <a:pt x="5" y="53"/>
                </a:lnTo>
                <a:lnTo>
                  <a:pt x="4" y="53"/>
                </a:lnTo>
                <a:lnTo>
                  <a:pt x="4" y="53"/>
                </a:lnTo>
                <a:lnTo>
                  <a:pt x="4" y="52"/>
                </a:lnTo>
                <a:lnTo>
                  <a:pt x="4" y="52"/>
                </a:lnTo>
                <a:lnTo>
                  <a:pt x="4" y="52"/>
                </a:lnTo>
                <a:lnTo>
                  <a:pt x="4" y="52"/>
                </a:lnTo>
                <a:lnTo>
                  <a:pt x="4" y="52"/>
                </a:lnTo>
                <a:lnTo>
                  <a:pt x="4" y="50"/>
                </a:lnTo>
                <a:lnTo>
                  <a:pt x="4" y="50"/>
                </a:lnTo>
                <a:lnTo>
                  <a:pt x="4" y="50"/>
                </a:lnTo>
                <a:lnTo>
                  <a:pt x="4" y="50"/>
                </a:lnTo>
                <a:lnTo>
                  <a:pt x="4" y="50"/>
                </a:lnTo>
                <a:lnTo>
                  <a:pt x="4" y="50"/>
                </a:lnTo>
                <a:lnTo>
                  <a:pt x="3" y="49"/>
                </a:lnTo>
                <a:lnTo>
                  <a:pt x="3" y="49"/>
                </a:lnTo>
                <a:lnTo>
                  <a:pt x="3" y="49"/>
                </a:lnTo>
                <a:lnTo>
                  <a:pt x="3" y="49"/>
                </a:lnTo>
                <a:lnTo>
                  <a:pt x="3" y="49"/>
                </a:lnTo>
                <a:lnTo>
                  <a:pt x="3" y="48"/>
                </a:lnTo>
                <a:lnTo>
                  <a:pt x="3" y="48"/>
                </a:lnTo>
                <a:lnTo>
                  <a:pt x="3" y="48"/>
                </a:lnTo>
                <a:lnTo>
                  <a:pt x="3" y="48"/>
                </a:lnTo>
                <a:lnTo>
                  <a:pt x="3" y="48"/>
                </a:lnTo>
                <a:lnTo>
                  <a:pt x="3" y="47"/>
                </a:lnTo>
                <a:lnTo>
                  <a:pt x="3" y="47"/>
                </a:lnTo>
                <a:lnTo>
                  <a:pt x="3" y="47"/>
                </a:lnTo>
                <a:lnTo>
                  <a:pt x="3" y="47"/>
                </a:lnTo>
                <a:lnTo>
                  <a:pt x="3" y="47"/>
                </a:lnTo>
                <a:lnTo>
                  <a:pt x="3" y="46"/>
                </a:lnTo>
                <a:lnTo>
                  <a:pt x="1" y="46"/>
                </a:lnTo>
                <a:lnTo>
                  <a:pt x="1" y="46"/>
                </a:lnTo>
                <a:lnTo>
                  <a:pt x="1" y="46"/>
                </a:lnTo>
                <a:lnTo>
                  <a:pt x="1" y="46"/>
                </a:lnTo>
                <a:lnTo>
                  <a:pt x="1" y="45"/>
                </a:lnTo>
                <a:lnTo>
                  <a:pt x="1" y="45"/>
                </a:lnTo>
                <a:lnTo>
                  <a:pt x="1" y="45"/>
                </a:lnTo>
                <a:lnTo>
                  <a:pt x="1" y="45"/>
                </a:lnTo>
                <a:lnTo>
                  <a:pt x="1" y="45"/>
                </a:lnTo>
                <a:lnTo>
                  <a:pt x="1" y="44"/>
                </a:lnTo>
                <a:lnTo>
                  <a:pt x="1" y="44"/>
                </a:lnTo>
                <a:lnTo>
                  <a:pt x="1" y="44"/>
                </a:lnTo>
                <a:lnTo>
                  <a:pt x="1" y="44"/>
                </a:lnTo>
                <a:lnTo>
                  <a:pt x="1" y="44"/>
                </a:lnTo>
                <a:lnTo>
                  <a:pt x="1" y="43"/>
                </a:lnTo>
                <a:lnTo>
                  <a:pt x="1" y="43"/>
                </a:lnTo>
                <a:lnTo>
                  <a:pt x="1" y="43"/>
                </a:lnTo>
                <a:lnTo>
                  <a:pt x="1" y="43"/>
                </a:lnTo>
                <a:lnTo>
                  <a:pt x="1" y="43"/>
                </a:lnTo>
                <a:lnTo>
                  <a:pt x="1" y="41"/>
                </a:lnTo>
                <a:lnTo>
                  <a:pt x="1" y="41"/>
                </a:lnTo>
                <a:lnTo>
                  <a:pt x="1" y="41"/>
                </a:lnTo>
                <a:lnTo>
                  <a:pt x="1" y="41"/>
                </a:lnTo>
                <a:lnTo>
                  <a:pt x="1" y="40"/>
                </a:lnTo>
                <a:lnTo>
                  <a:pt x="1" y="40"/>
                </a:lnTo>
                <a:lnTo>
                  <a:pt x="1" y="40"/>
                </a:lnTo>
                <a:lnTo>
                  <a:pt x="1" y="40"/>
                </a:lnTo>
                <a:lnTo>
                  <a:pt x="1" y="40"/>
                </a:lnTo>
                <a:lnTo>
                  <a:pt x="1" y="39"/>
                </a:lnTo>
                <a:lnTo>
                  <a:pt x="1" y="39"/>
                </a:lnTo>
                <a:lnTo>
                  <a:pt x="1" y="39"/>
                </a:lnTo>
                <a:lnTo>
                  <a:pt x="1" y="39"/>
                </a:lnTo>
                <a:lnTo>
                  <a:pt x="0" y="39"/>
                </a:lnTo>
                <a:lnTo>
                  <a:pt x="0" y="38"/>
                </a:lnTo>
                <a:lnTo>
                  <a:pt x="0" y="38"/>
                </a:lnTo>
                <a:lnTo>
                  <a:pt x="0" y="38"/>
                </a:lnTo>
                <a:lnTo>
                  <a:pt x="0" y="38"/>
                </a:lnTo>
                <a:lnTo>
                  <a:pt x="0" y="37"/>
                </a:lnTo>
                <a:lnTo>
                  <a:pt x="0" y="37"/>
                </a:lnTo>
                <a:lnTo>
                  <a:pt x="0" y="37"/>
                </a:lnTo>
                <a:lnTo>
                  <a:pt x="0" y="37"/>
                </a:lnTo>
                <a:lnTo>
                  <a:pt x="0" y="37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1" y="35"/>
                </a:lnTo>
                <a:lnTo>
                  <a:pt x="1" y="35"/>
                </a:lnTo>
                <a:lnTo>
                  <a:pt x="1" y="35"/>
                </a:lnTo>
                <a:lnTo>
                  <a:pt x="1" y="35"/>
                </a:lnTo>
                <a:lnTo>
                  <a:pt x="1" y="34"/>
                </a:lnTo>
                <a:lnTo>
                  <a:pt x="1" y="34"/>
                </a:lnTo>
                <a:lnTo>
                  <a:pt x="1" y="34"/>
                </a:lnTo>
                <a:lnTo>
                  <a:pt x="1" y="34"/>
                </a:lnTo>
                <a:lnTo>
                  <a:pt x="1" y="34"/>
                </a:lnTo>
                <a:lnTo>
                  <a:pt x="1" y="32"/>
                </a:lnTo>
                <a:lnTo>
                  <a:pt x="1" y="32"/>
                </a:lnTo>
                <a:lnTo>
                  <a:pt x="1" y="32"/>
                </a:lnTo>
                <a:lnTo>
                  <a:pt x="1" y="32"/>
                </a:lnTo>
                <a:lnTo>
                  <a:pt x="1" y="32"/>
                </a:lnTo>
                <a:lnTo>
                  <a:pt x="1" y="31"/>
                </a:lnTo>
                <a:lnTo>
                  <a:pt x="1" y="31"/>
                </a:lnTo>
                <a:lnTo>
                  <a:pt x="1" y="31"/>
                </a:lnTo>
                <a:lnTo>
                  <a:pt x="1" y="31"/>
                </a:lnTo>
                <a:lnTo>
                  <a:pt x="1" y="31"/>
                </a:lnTo>
                <a:lnTo>
                  <a:pt x="1" y="30"/>
                </a:lnTo>
                <a:lnTo>
                  <a:pt x="1" y="30"/>
                </a:lnTo>
                <a:lnTo>
                  <a:pt x="1" y="30"/>
                </a:lnTo>
                <a:lnTo>
                  <a:pt x="1" y="30"/>
                </a:lnTo>
                <a:lnTo>
                  <a:pt x="1" y="30"/>
                </a:lnTo>
                <a:lnTo>
                  <a:pt x="1" y="29"/>
                </a:lnTo>
                <a:lnTo>
                  <a:pt x="1" y="29"/>
                </a:lnTo>
                <a:lnTo>
                  <a:pt x="1" y="29"/>
                </a:lnTo>
                <a:lnTo>
                  <a:pt x="1" y="29"/>
                </a:lnTo>
                <a:lnTo>
                  <a:pt x="1" y="29"/>
                </a:lnTo>
                <a:lnTo>
                  <a:pt x="1" y="28"/>
                </a:lnTo>
                <a:lnTo>
                  <a:pt x="1" y="28"/>
                </a:lnTo>
                <a:lnTo>
                  <a:pt x="1" y="28"/>
                </a:lnTo>
                <a:lnTo>
                  <a:pt x="3" y="28"/>
                </a:lnTo>
                <a:lnTo>
                  <a:pt x="3" y="28"/>
                </a:lnTo>
                <a:lnTo>
                  <a:pt x="3" y="27"/>
                </a:lnTo>
                <a:lnTo>
                  <a:pt x="3" y="27"/>
                </a:lnTo>
                <a:lnTo>
                  <a:pt x="3" y="27"/>
                </a:lnTo>
                <a:lnTo>
                  <a:pt x="3" y="27"/>
                </a:lnTo>
                <a:lnTo>
                  <a:pt x="3" y="27"/>
                </a:lnTo>
                <a:lnTo>
                  <a:pt x="3" y="26"/>
                </a:lnTo>
                <a:lnTo>
                  <a:pt x="3" y="26"/>
                </a:lnTo>
                <a:lnTo>
                  <a:pt x="3" y="26"/>
                </a:lnTo>
                <a:lnTo>
                  <a:pt x="3" y="26"/>
                </a:lnTo>
                <a:lnTo>
                  <a:pt x="3" y="26"/>
                </a:lnTo>
                <a:lnTo>
                  <a:pt x="3" y="25"/>
                </a:lnTo>
                <a:lnTo>
                  <a:pt x="3" y="25"/>
                </a:lnTo>
                <a:lnTo>
                  <a:pt x="3" y="25"/>
                </a:lnTo>
                <a:lnTo>
                  <a:pt x="3" y="25"/>
                </a:lnTo>
                <a:lnTo>
                  <a:pt x="4" y="25"/>
                </a:lnTo>
                <a:lnTo>
                  <a:pt x="4" y="23"/>
                </a:lnTo>
                <a:lnTo>
                  <a:pt x="4" y="23"/>
                </a:lnTo>
                <a:lnTo>
                  <a:pt x="4" y="23"/>
                </a:lnTo>
                <a:lnTo>
                  <a:pt x="4" y="23"/>
                </a:lnTo>
                <a:lnTo>
                  <a:pt x="4" y="23"/>
                </a:lnTo>
                <a:lnTo>
                  <a:pt x="4" y="22"/>
                </a:lnTo>
                <a:lnTo>
                  <a:pt x="4" y="22"/>
                </a:lnTo>
                <a:lnTo>
                  <a:pt x="4" y="22"/>
                </a:lnTo>
                <a:lnTo>
                  <a:pt x="4" y="22"/>
                </a:lnTo>
                <a:lnTo>
                  <a:pt x="4" y="22"/>
                </a:lnTo>
                <a:lnTo>
                  <a:pt x="4" y="22"/>
                </a:lnTo>
                <a:lnTo>
                  <a:pt x="4" y="21"/>
                </a:lnTo>
                <a:lnTo>
                  <a:pt x="5" y="21"/>
                </a:lnTo>
                <a:lnTo>
                  <a:pt x="5" y="21"/>
                </a:lnTo>
                <a:lnTo>
                  <a:pt x="5" y="21"/>
                </a:lnTo>
                <a:lnTo>
                  <a:pt x="5" y="21"/>
                </a:lnTo>
                <a:lnTo>
                  <a:pt x="5" y="20"/>
                </a:lnTo>
                <a:lnTo>
                  <a:pt x="5" y="20"/>
                </a:lnTo>
                <a:lnTo>
                  <a:pt x="5" y="20"/>
                </a:lnTo>
                <a:lnTo>
                  <a:pt x="5" y="20"/>
                </a:lnTo>
                <a:lnTo>
                  <a:pt x="5" y="20"/>
                </a:lnTo>
                <a:lnTo>
                  <a:pt x="5" y="20"/>
                </a:lnTo>
                <a:lnTo>
                  <a:pt x="5" y="19"/>
                </a:lnTo>
                <a:lnTo>
                  <a:pt x="6" y="19"/>
                </a:lnTo>
                <a:lnTo>
                  <a:pt x="6" y="19"/>
                </a:lnTo>
                <a:lnTo>
                  <a:pt x="6" y="19"/>
                </a:lnTo>
                <a:lnTo>
                  <a:pt x="6" y="19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7" y="17"/>
                </a:lnTo>
                <a:lnTo>
                  <a:pt x="7" y="17"/>
                </a:lnTo>
                <a:lnTo>
                  <a:pt x="7" y="17"/>
                </a:lnTo>
                <a:lnTo>
                  <a:pt x="7" y="17"/>
                </a:lnTo>
                <a:lnTo>
                  <a:pt x="7" y="17"/>
                </a:lnTo>
                <a:lnTo>
                  <a:pt x="7" y="17"/>
                </a:lnTo>
                <a:lnTo>
                  <a:pt x="7" y="16"/>
                </a:lnTo>
                <a:lnTo>
                  <a:pt x="7" y="16"/>
                </a:lnTo>
                <a:lnTo>
                  <a:pt x="7" y="16"/>
                </a:lnTo>
                <a:lnTo>
                  <a:pt x="8" y="16"/>
                </a:lnTo>
                <a:lnTo>
                  <a:pt x="8" y="16"/>
                </a:lnTo>
                <a:lnTo>
                  <a:pt x="8" y="16"/>
                </a:lnTo>
                <a:lnTo>
                  <a:pt x="8" y="14"/>
                </a:lnTo>
                <a:lnTo>
                  <a:pt x="8" y="14"/>
                </a:lnTo>
                <a:lnTo>
                  <a:pt x="8" y="14"/>
                </a:lnTo>
                <a:lnTo>
                  <a:pt x="8" y="14"/>
                </a:lnTo>
                <a:lnTo>
                  <a:pt x="8" y="14"/>
                </a:lnTo>
                <a:lnTo>
                  <a:pt x="8" y="14"/>
                </a:lnTo>
                <a:lnTo>
                  <a:pt x="9" y="13"/>
                </a:lnTo>
                <a:lnTo>
                  <a:pt x="9" y="13"/>
                </a:lnTo>
                <a:lnTo>
                  <a:pt x="9" y="13"/>
                </a:lnTo>
                <a:lnTo>
                  <a:pt x="9" y="13"/>
                </a:lnTo>
                <a:lnTo>
                  <a:pt x="9" y="13"/>
                </a:lnTo>
                <a:lnTo>
                  <a:pt x="9" y="13"/>
                </a:lnTo>
                <a:lnTo>
                  <a:pt x="9" y="13"/>
                </a:lnTo>
                <a:lnTo>
                  <a:pt x="10" y="12"/>
                </a:lnTo>
                <a:lnTo>
                  <a:pt x="10" y="12"/>
                </a:lnTo>
                <a:lnTo>
                  <a:pt x="10" y="12"/>
                </a:lnTo>
                <a:lnTo>
                  <a:pt x="10" y="12"/>
                </a:lnTo>
                <a:lnTo>
                  <a:pt x="10" y="12"/>
                </a:lnTo>
                <a:lnTo>
                  <a:pt x="10" y="12"/>
                </a:lnTo>
                <a:lnTo>
                  <a:pt x="10" y="11"/>
                </a:lnTo>
                <a:lnTo>
                  <a:pt x="10" y="11"/>
                </a:lnTo>
                <a:lnTo>
                  <a:pt x="12" y="11"/>
                </a:lnTo>
                <a:lnTo>
                  <a:pt x="12" y="11"/>
                </a:lnTo>
                <a:lnTo>
                  <a:pt x="12" y="11"/>
                </a:lnTo>
                <a:lnTo>
                  <a:pt x="12" y="11"/>
                </a:lnTo>
                <a:lnTo>
                  <a:pt x="12" y="11"/>
                </a:lnTo>
                <a:lnTo>
                  <a:pt x="12" y="10"/>
                </a:lnTo>
                <a:lnTo>
                  <a:pt x="12" y="10"/>
                </a:lnTo>
                <a:lnTo>
                  <a:pt x="13" y="10"/>
                </a:lnTo>
                <a:lnTo>
                  <a:pt x="13" y="10"/>
                </a:lnTo>
                <a:lnTo>
                  <a:pt x="13" y="10"/>
                </a:lnTo>
                <a:lnTo>
                  <a:pt x="13" y="10"/>
                </a:lnTo>
                <a:lnTo>
                  <a:pt x="13" y="10"/>
                </a:lnTo>
                <a:lnTo>
                  <a:pt x="13" y="9"/>
                </a:lnTo>
                <a:lnTo>
                  <a:pt x="13" y="9"/>
                </a:lnTo>
                <a:lnTo>
                  <a:pt x="14" y="9"/>
                </a:lnTo>
                <a:lnTo>
                  <a:pt x="14" y="9"/>
                </a:lnTo>
                <a:lnTo>
                  <a:pt x="14" y="9"/>
                </a:lnTo>
                <a:lnTo>
                  <a:pt x="14" y="9"/>
                </a:lnTo>
                <a:lnTo>
                  <a:pt x="14" y="9"/>
                </a:lnTo>
                <a:lnTo>
                  <a:pt x="14" y="9"/>
                </a:lnTo>
                <a:lnTo>
                  <a:pt x="14" y="8"/>
                </a:lnTo>
                <a:lnTo>
                  <a:pt x="15" y="8"/>
                </a:lnTo>
                <a:lnTo>
                  <a:pt x="15" y="8"/>
                </a:lnTo>
                <a:lnTo>
                  <a:pt x="15" y="8"/>
                </a:lnTo>
                <a:lnTo>
                  <a:pt x="15" y="8"/>
                </a:lnTo>
                <a:lnTo>
                  <a:pt x="15" y="8"/>
                </a:lnTo>
                <a:lnTo>
                  <a:pt x="15" y="8"/>
                </a:lnTo>
                <a:lnTo>
                  <a:pt x="16" y="8"/>
                </a:lnTo>
                <a:lnTo>
                  <a:pt x="16" y="7"/>
                </a:lnTo>
                <a:lnTo>
                  <a:pt x="16" y="7"/>
                </a:lnTo>
                <a:lnTo>
                  <a:pt x="16" y="7"/>
                </a:lnTo>
                <a:lnTo>
                  <a:pt x="16" y="7"/>
                </a:lnTo>
                <a:lnTo>
                  <a:pt x="16" y="7"/>
                </a:lnTo>
                <a:lnTo>
                  <a:pt x="17" y="7"/>
                </a:lnTo>
                <a:lnTo>
                  <a:pt x="17" y="7"/>
                </a:lnTo>
                <a:lnTo>
                  <a:pt x="17" y="7"/>
                </a:lnTo>
                <a:lnTo>
                  <a:pt x="17" y="5"/>
                </a:lnTo>
                <a:lnTo>
                  <a:pt x="17" y="5"/>
                </a:lnTo>
                <a:lnTo>
                  <a:pt x="17" y="5"/>
                </a:lnTo>
                <a:lnTo>
                  <a:pt x="18" y="5"/>
                </a:lnTo>
                <a:lnTo>
                  <a:pt x="18" y="5"/>
                </a:lnTo>
                <a:lnTo>
                  <a:pt x="18" y="5"/>
                </a:lnTo>
                <a:lnTo>
                  <a:pt x="18" y="5"/>
                </a:lnTo>
                <a:lnTo>
                  <a:pt x="18" y="5"/>
                </a:lnTo>
                <a:lnTo>
                  <a:pt x="18" y="5"/>
                </a:lnTo>
                <a:lnTo>
                  <a:pt x="19" y="5"/>
                </a:lnTo>
                <a:lnTo>
                  <a:pt x="19" y="4"/>
                </a:lnTo>
                <a:lnTo>
                  <a:pt x="19" y="4"/>
                </a:lnTo>
                <a:lnTo>
                  <a:pt x="19" y="4"/>
                </a:lnTo>
                <a:lnTo>
                  <a:pt x="19" y="4"/>
                </a:lnTo>
                <a:lnTo>
                  <a:pt x="19" y="4"/>
                </a:lnTo>
                <a:lnTo>
                  <a:pt x="21" y="4"/>
                </a:lnTo>
                <a:lnTo>
                  <a:pt x="21" y="4"/>
                </a:lnTo>
                <a:lnTo>
                  <a:pt x="21" y="4"/>
                </a:lnTo>
                <a:lnTo>
                  <a:pt x="21" y="4"/>
                </a:lnTo>
                <a:lnTo>
                  <a:pt x="21" y="4"/>
                </a:lnTo>
                <a:lnTo>
                  <a:pt x="22" y="3"/>
                </a:lnTo>
                <a:lnTo>
                  <a:pt x="22" y="3"/>
                </a:lnTo>
                <a:lnTo>
                  <a:pt x="22" y="3"/>
                </a:lnTo>
                <a:lnTo>
                  <a:pt x="22" y="3"/>
                </a:lnTo>
                <a:lnTo>
                  <a:pt x="22" y="3"/>
                </a:lnTo>
                <a:lnTo>
                  <a:pt x="22" y="3"/>
                </a:lnTo>
                <a:lnTo>
                  <a:pt x="23" y="3"/>
                </a:lnTo>
                <a:lnTo>
                  <a:pt x="23" y="3"/>
                </a:lnTo>
                <a:lnTo>
                  <a:pt x="23" y="3"/>
                </a:lnTo>
                <a:lnTo>
                  <a:pt x="23" y="3"/>
                </a:lnTo>
                <a:lnTo>
                  <a:pt x="23" y="3"/>
                </a:lnTo>
                <a:lnTo>
                  <a:pt x="24" y="2"/>
                </a:lnTo>
                <a:lnTo>
                  <a:pt x="24" y="2"/>
                </a:lnTo>
                <a:lnTo>
                  <a:pt x="24" y="2"/>
                </a:lnTo>
                <a:lnTo>
                  <a:pt x="24" y="2"/>
                </a:lnTo>
                <a:lnTo>
                  <a:pt x="24" y="2"/>
                </a:lnTo>
                <a:lnTo>
                  <a:pt x="24" y="2"/>
                </a:lnTo>
                <a:lnTo>
                  <a:pt x="25" y="2"/>
                </a:lnTo>
                <a:lnTo>
                  <a:pt x="25" y="2"/>
                </a:lnTo>
                <a:lnTo>
                  <a:pt x="25" y="2"/>
                </a:lnTo>
                <a:lnTo>
                  <a:pt x="25" y="2"/>
                </a:lnTo>
                <a:lnTo>
                  <a:pt x="25" y="2"/>
                </a:lnTo>
                <a:lnTo>
                  <a:pt x="26" y="2"/>
                </a:lnTo>
                <a:lnTo>
                  <a:pt x="26" y="2"/>
                </a:lnTo>
                <a:lnTo>
                  <a:pt x="26" y="1"/>
                </a:lnTo>
                <a:lnTo>
                  <a:pt x="26" y="1"/>
                </a:lnTo>
                <a:lnTo>
                  <a:pt x="26" y="1"/>
                </a:lnTo>
                <a:lnTo>
                  <a:pt x="27" y="1"/>
                </a:lnTo>
                <a:lnTo>
                  <a:pt x="27" y="1"/>
                </a:lnTo>
                <a:lnTo>
                  <a:pt x="27" y="1"/>
                </a:lnTo>
                <a:lnTo>
                  <a:pt x="27" y="1"/>
                </a:lnTo>
                <a:lnTo>
                  <a:pt x="27" y="1"/>
                </a:lnTo>
                <a:lnTo>
                  <a:pt x="28" y="1"/>
                </a:lnTo>
                <a:lnTo>
                  <a:pt x="28" y="1"/>
                </a:lnTo>
                <a:lnTo>
                  <a:pt x="28" y="1"/>
                </a:lnTo>
                <a:lnTo>
                  <a:pt x="28" y="1"/>
                </a:lnTo>
                <a:lnTo>
                  <a:pt x="28" y="1"/>
                </a:lnTo>
                <a:lnTo>
                  <a:pt x="30" y="1"/>
                </a:lnTo>
                <a:lnTo>
                  <a:pt x="30" y="1"/>
                </a:lnTo>
                <a:lnTo>
                  <a:pt x="30" y="1"/>
                </a:lnTo>
                <a:lnTo>
                  <a:pt x="30" y="1"/>
                </a:lnTo>
                <a:lnTo>
                  <a:pt x="30" y="1"/>
                </a:lnTo>
                <a:lnTo>
                  <a:pt x="31" y="0"/>
                </a:lnTo>
                <a:lnTo>
                  <a:pt x="31" y="0"/>
                </a:lnTo>
                <a:lnTo>
                  <a:pt x="31" y="0"/>
                </a:lnTo>
                <a:lnTo>
                  <a:pt x="31" y="0"/>
                </a:lnTo>
                <a:lnTo>
                  <a:pt x="31" y="0"/>
                </a:lnTo>
                <a:lnTo>
                  <a:pt x="32" y="0"/>
                </a:lnTo>
                <a:lnTo>
                  <a:pt x="32" y="0"/>
                </a:lnTo>
                <a:lnTo>
                  <a:pt x="32" y="0"/>
                </a:lnTo>
                <a:lnTo>
                  <a:pt x="32" y="0"/>
                </a:lnTo>
                <a:lnTo>
                  <a:pt x="32" y="0"/>
                </a:lnTo>
                <a:lnTo>
                  <a:pt x="33" y="0"/>
                </a:lnTo>
                <a:lnTo>
                  <a:pt x="33" y="0"/>
                </a:lnTo>
                <a:lnTo>
                  <a:pt x="33" y="0"/>
                </a:lnTo>
                <a:lnTo>
                  <a:pt x="33" y="0"/>
                </a:lnTo>
                <a:lnTo>
                  <a:pt x="33" y="0"/>
                </a:lnTo>
                <a:lnTo>
                  <a:pt x="34" y="0"/>
                </a:lnTo>
                <a:lnTo>
                  <a:pt x="34" y="0"/>
                </a:lnTo>
                <a:lnTo>
                  <a:pt x="34" y="0"/>
                </a:lnTo>
                <a:lnTo>
                  <a:pt x="34" y="0"/>
                </a:lnTo>
                <a:lnTo>
                  <a:pt x="34" y="0"/>
                </a:lnTo>
                <a:lnTo>
                  <a:pt x="35" y="0"/>
                </a:lnTo>
                <a:lnTo>
                  <a:pt x="35" y="0"/>
                </a:lnTo>
                <a:lnTo>
                  <a:pt x="35" y="0"/>
                </a:lnTo>
                <a:lnTo>
                  <a:pt x="35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7" y="0"/>
                </a:lnTo>
                <a:lnTo>
                  <a:pt x="37" y="0"/>
                </a:lnTo>
                <a:lnTo>
                  <a:pt x="37" y="0"/>
                </a:lnTo>
                <a:lnTo>
                  <a:pt x="37" y="0"/>
                </a:lnTo>
                <a:lnTo>
                  <a:pt x="37" y="0"/>
                </a:lnTo>
                <a:lnTo>
                  <a:pt x="39" y="0"/>
                </a:lnTo>
                <a:lnTo>
                  <a:pt x="39" y="0"/>
                </a:lnTo>
                <a:lnTo>
                  <a:pt x="39" y="0"/>
                </a:lnTo>
                <a:lnTo>
                  <a:pt x="39" y="0"/>
                </a:lnTo>
                <a:lnTo>
                  <a:pt x="40" y="0"/>
                </a:lnTo>
                <a:lnTo>
                  <a:pt x="40" y="0"/>
                </a:lnTo>
                <a:lnTo>
                  <a:pt x="40" y="0"/>
                </a:lnTo>
                <a:lnTo>
                  <a:pt x="40" y="0"/>
                </a:lnTo>
                <a:lnTo>
                  <a:pt x="40" y="0"/>
                </a:lnTo>
                <a:lnTo>
                  <a:pt x="41" y="0"/>
                </a:lnTo>
                <a:lnTo>
                  <a:pt x="41" y="0"/>
                </a:lnTo>
                <a:lnTo>
                  <a:pt x="41" y="0"/>
                </a:lnTo>
                <a:lnTo>
                  <a:pt x="41" y="0"/>
                </a:lnTo>
                <a:lnTo>
                  <a:pt x="41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3" y="0"/>
                </a:lnTo>
                <a:lnTo>
                  <a:pt x="43" y="0"/>
                </a:lnTo>
                <a:lnTo>
                  <a:pt x="43" y="0"/>
                </a:lnTo>
                <a:lnTo>
                  <a:pt x="43" y="0"/>
                </a:lnTo>
                <a:lnTo>
                  <a:pt x="44" y="0"/>
                </a:lnTo>
                <a:lnTo>
                  <a:pt x="44" y="0"/>
                </a:lnTo>
                <a:lnTo>
                  <a:pt x="44" y="0"/>
                </a:lnTo>
                <a:lnTo>
                  <a:pt x="44" y="0"/>
                </a:lnTo>
                <a:lnTo>
                  <a:pt x="44" y="0"/>
                </a:lnTo>
                <a:lnTo>
                  <a:pt x="45" y="0"/>
                </a:lnTo>
                <a:lnTo>
                  <a:pt x="45" y="0"/>
                </a:lnTo>
                <a:lnTo>
                  <a:pt x="45" y="0"/>
                </a:lnTo>
                <a:lnTo>
                  <a:pt x="45" y="0"/>
                </a:lnTo>
                <a:lnTo>
                  <a:pt x="45" y="0"/>
                </a:lnTo>
                <a:lnTo>
                  <a:pt x="46" y="0"/>
                </a:lnTo>
                <a:lnTo>
                  <a:pt x="46" y="0"/>
                </a:lnTo>
                <a:lnTo>
                  <a:pt x="46" y="0"/>
                </a:lnTo>
                <a:lnTo>
                  <a:pt x="46" y="0"/>
                </a:lnTo>
                <a:lnTo>
                  <a:pt x="46" y="1"/>
                </a:lnTo>
                <a:lnTo>
                  <a:pt x="48" y="1"/>
                </a:lnTo>
                <a:lnTo>
                  <a:pt x="48" y="1"/>
                </a:lnTo>
                <a:lnTo>
                  <a:pt x="48" y="1"/>
                </a:lnTo>
                <a:lnTo>
                  <a:pt x="48" y="1"/>
                </a:lnTo>
                <a:lnTo>
                  <a:pt x="48" y="1"/>
                </a:lnTo>
                <a:lnTo>
                  <a:pt x="49" y="1"/>
                </a:lnTo>
                <a:lnTo>
                  <a:pt x="49" y="1"/>
                </a:lnTo>
                <a:lnTo>
                  <a:pt x="49" y="1"/>
                </a:lnTo>
                <a:lnTo>
                  <a:pt x="49" y="1"/>
                </a:lnTo>
                <a:lnTo>
                  <a:pt x="49" y="1"/>
                </a:lnTo>
                <a:lnTo>
                  <a:pt x="50" y="1"/>
                </a:lnTo>
                <a:lnTo>
                  <a:pt x="50" y="1"/>
                </a:lnTo>
                <a:lnTo>
                  <a:pt x="50" y="1"/>
                </a:lnTo>
                <a:lnTo>
                  <a:pt x="50" y="1"/>
                </a:lnTo>
                <a:lnTo>
                  <a:pt x="50" y="1"/>
                </a:lnTo>
                <a:lnTo>
                  <a:pt x="51" y="1"/>
                </a:lnTo>
                <a:lnTo>
                  <a:pt x="51" y="1"/>
                </a:lnTo>
                <a:lnTo>
                  <a:pt x="51" y="2"/>
                </a:lnTo>
                <a:lnTo>
                  <a:pt x="51" y="2"/>
                </a:lnTo>
                <a:lnTo>
                  <a:pt x="51" y="2"/>
                </a:lnTo>
                <a:lnTo>
                  <a:pt x="52" y="2"/>
                </a:lnTo>
                <a:lnTo>
                  <a:pt x="52" y="2"/>
                </a:lnTo>
                <a:lnTo>
                  <a:pt x="52" y="2"/>
                </a:lnTo>
                <a:lnTo>
                  <a:pt x="52" y="2"/>
                </a:lnTo>
                <a:lnTo>
                  <a:pt x="52" y="2"/>
                </a:lnTo>
                <a:lnTo>
                  <a:pt x="52" y="2"/>
                </a:lnTo>
                <a:lnTo>
                  <a:pt x="53" y="2"/>
                </a:lnTo>
                <a:lnTo>
                  <a:pt x="53" y="2"/>
                </a:lnTo>
                <a:lnTo>
                  <a:pt x="53" y="2"/>
                </a:lnTo>
                <a:lnTo>
                  <a:pt x="53" y="2"/>
                </a:lnTo>
                <a:lnTo>
                  <a:pt x="53" y="3"/>
                </a:lnTo>
                <a:lnTo>
                  <a:pt x="54" y="3"/>
                </a:lnTo>
                <a:lnTo>
                  <a:pt x="54" y="3"/>
                </a:lnTo>
                <a:lnTo>
                  <a:pt x="54" y="3"/>
                </a:lnTo>
                <a:lnTo>
                  <a:pt x="54" y="3"/>
                </a:lnTo>
                <a:lnTo>
                  <a:pt x="54" y="3"/>
                </a:lnTo>
                <a:lnTo>
                  <a:pt x="55" y="3"/>
                </a:lnTo>
                <a:lnTo>
                  <a:pt x="55" y="3"/>
                </a:lnTo>
                <a:lnTo>
                  <a:pt x="55" y="3"/>
                </a:lnTo>
                <a:lnTo>
                  <a:pt x="55" y="3"/>
                </a:lnTo>
                <a:lnTo>
                  <a:pt x="55" y="3"/>
                </a:lnTo>
                <a:lnTo>
                  <a:pt x="55" y="4"/>
                </a:lnTo>
                <a:lnTo>
                  <a:pt x="57" y="4"/>
                </a:lnTo>
                <a:lnTo>
                  <a:pt x="57" y="4"/>
                </a:lnTo>
                <a:lnTo>
                  <a:pt x="57" y="4"/>
                </a:lnTo>
                <a:lnTo>
                  <a:pt x="57" y="4"/>
                </a:lnTo>
                <a:lnTo>
                  <a:pt x="57" y="4"/>
                </a:lnTo>
                <a:lnTo>
                  <a:pt x="57" y="4"/>
                </a:lnTo>
                <a:lnTo>
                  <a:pt x="58" y="4"/>
                </a:lnTo>
                <a:lnTo>
                  <a:pt x="58" y="4"/>
                </a:lnTo>
                <a:lnTo>
                  <a:pt x="58" y="4"/>
                </a:lnTo>
                <a:lnTo>
                  <a:pt x="58" y="5"/>
                </a:lnTo>
                <a:lnTo>
                  <a:pt x="58" y="5"/>
                </a:lnTo>
                <a:lnTo>
                  <a:pt x="59" y="5"/>
                </a:lnTo>
                <a:lnTo>
                  <a:pt x="59" y="5"/>
                </a:lnTo>
                <a:lnTo>
                  <a:pt x="59" y="5"/>
                </a:lnTo>
                <a:lnTo>
                  <a:pt x="59" y="5"/>
                </a:lnTo>
                <a:lnTo>
                  <a:pt x="59" y="5"/>
                </a:lnTo>
                <a:lnTo>
                  <a:pt x="59" y="5"/>
                </a:lnTo>
                <a:lnTo>
                  <a:pt x="60" y="5"/>
                </a:lnTo>
                <a:lnTo>
                  <a:pt x="60" y="5"/>
                </a:lnTo>
                <a:lnTo>
                  <a:pt x="60" y="7"/>
                </a:lnTo>
                <a:lnTo>
                  <a:pt x="60" y="7"/>
                </a:lnTo>
                <a:lnTo>
                  <a:pt x="60" y="7"/>
                </a:lnTo>
                <a:lnTo>
                  <a:pt x="60" y="7"/>
                </a:lnTo>
                <a:lnTo>
                  <a:pt x="61" y="7"/>
                </a:lnTo>
                <a:lnTo>
                  <a:pt x="61" y="7"/>
                </a:lnTo>
                <a:lnTo>
                  <a:pt x="61" y="7"/>
                </a:lnTo>
                <a:lnTo>
                  <a:pt x="61" y="7"/>
                </a:lnTo>
                <a:lnTo>
                  <a:pt x="61" y="8"/>
                </a:lnTo>
                <a:lnTo>
                  <a:pt x="61" y="8"/>
                </a:lnTo>
                <a:lnTo>
                  <a:pt x="61" y="8"/>
                </a:lnTo>
                <a:lnTo>
                  <a:pt x="62" y="8"/>
                </a:lnTo>
                <a:lnTo>
                  <a:pt x="62" y="8"/>
                </a:lnTo>
                <a:lnTo>
                  <a:pt x="62" y="8"/>
                </a:lnTo>
                <a:lnTo>
                  <a:pt x="62" y="8"/>
                </a:lnTo>
                <a:lnTo>
                  <a:pt x="62" y="8"/>
                </a:lnTo>
                <a:lnTo>
                  <a:pt x="62" y="9"/>
                </a:lnTo>
                <a:lnTo>
                  <a:pt x="63" y="9"/>
                </a:lnTo>
                <a:lnTo>
                  <a:pt x="63" y="9"/>
                </a:lnTo>
                <a:lnTo>
                  <a:pt x="63" y="9"/>
                </a:lnTo>
                <a:lnTo>
                  <a:pt x="63" y="9"/>
                </a:lnTo>
                <a:lnTo>
                  <a:pt x="63" y="9"/>
                </a:lnTo>
                <a:lnTo>
                  <a:pt x="63" y="9"/>
                </a:lnTo>
                <a:lnTo>
                  <a:pt x="63" y="9"/>
                </a:lnTo>
                <a:lnTo>
                  <a:pt x="64" y="10"/>
                </a:lnTo>
                <a:lnTo>
                  <a:pt x="64" y="10"/>
                </a:lnTo>
                <a:lnTo>
                  <a:pt x="64" y="10"/>
                </a:lnTo>
                <a:lnTo>
                  <a:pt x="64" y="10"/>
                </a:lnTo>
                <a:lnTo>
                  <a:pt x="64" y="10"/>
                </a:lnTo>
                <a:lnTo>
                  <a:pt x="64" y="10"/>
                </a:lnTo>
                <a:lnTo>
                  <a:pt x="64" y="10"/>
                </a:lnTo>
                <a:lnTo>
                  <a:pt x="66" y="11"/>
                </a:lnTo>
                <a:lnTo>
                  <a:pt x="66" y="11"/>
                </a:lnTo>
                <a:lnTo>
                  <a:pt x="66" y="11"/>
                </a:lnTo>
                <a:lnTo>
                  <a:pt x="66" y="11"/>
                </a:lnTo>
                <a:lnTo>
                  <a:pt x="66" y="11"/>
                </a:lnTo>
                <a:lnTo>
                  <a:pt x="66" y="11"/>
                </a:lnTo>
                <a:lnTo>
                  <a:pt x="66" y="11"/>
                </a:lnTo>
                <a:lnTo>
                  <a:pt x="67" y="12"/>
                </a:lnTo>
                <a:lnTo>
                  <a:pt x="67" y="12"/>
                </a:lnTo>
                <a:lnTo>
                  <a:pt x="67" y="12"/>
                </a:lnTo>
                <a:lnTo>
                  <a:pt x="67" y="12"/>
                </a:lnTo>
                <a:lnTo>
                  <a:pt x="67" y="12"/>
                </a:lnTo>
                <a:lnTo>
                  <a:pt x="67" y="12"/>
                </a:lnTo>
                <a:lnTo>
                  <a:pt x="67" y="13"/>
                </a:lnTo>
                <a:lnTo>
                  <a:pt x="67" y="13"/>
                </a:lnTo>
                <a:lnTo>
                  <a:pt x="68" y="13"/>
                </a:lnTo>
                <a:lnTo>
                  <a:pt x="68" y="13"/>
                </a:lnTo>
                <a:lnTo>
                  <a:pt x="68" y="13"/>
                </a:lnTo>
                <a:lnTo>
                  <a:pt x="68" y="13"/>
                </a:lnTo>
                <a:lnTo>
                  <a:pt x="68" y="13"/>
                </a:lnTo>
                <a:lnTo>
                  <a:pt x="68" y="14"/>
                </a:lnTo>
                <a:lnTo>
                  <a:pt x="68" y="14"/>
                </a:lnTo>
                <a:lnTo>
                  <a:pt x="68" y="14"/>
                </a:lnTo>
                <a:lnTo>
                  <a:pt x="69" y="14"/>
                </a:lnTo>
                <a:lnTo>
                  <a:pt x="69" y="14"/>
                </a:lnTo>
                <a:lnTo>
                  <a:pt x="69" y="14"/>
                </a:lnTo>
                <a:lnTo>
                  <a:pt x="69" y="16"/>
                </a:lnTo>
                <a:lnTo>
                  <a:pt x="69" y="16"/>
                </a:lnTo>
                <a:lnTo>
                  <a:pt x="69" y="16"/>
                </a:lnTo>
                <a:lnTo>
                  <a:pt x="69" y="16"/>
                </a:lnTo>
                <a:lnTo>
                  <a:pt x="69" y="16"/>
                </a:lnTo>
                <a:lnTo>
                  <a:pt x="70" y="16"/>
                </a:lnTo>
                <a:lnTo>
                  <a:pt x="70" y="17"/>
                </a:lnTo>
                <a:lnTo>
                  <a:pt x="70" y="17"/>
                </a:lnTo>
                <a:lnTo>
                  <a:pt x="70" y="17"/>
                </a:lnTo>
                <a:lnTo>
                  <a:pt x="70" y="17"/>
                </a:lnTo>
                <a:lnTo>
                  <a:pt x="70" y="17"/>
                </a:lnTo>
                <a:lnTo>
                  <a:pt x="70" y="17"/>
                </a:lnTo>
                <a:lnTo>
                  <a:pt x="70" y="18"/>
                </a:lnTo>
                <a:lnTo>
                  <a:pt x="70" y="18"/>
                </a:lnTo>
                <a:lnTo>
                  <a:pt x="71" y="18"/>
                </a:lnTo>
                <a:lnTo>
                  <a:pt x="71" y="18"/>
                </a:lnTo>
                <a:lnTo>
                  <a:pt x="71" y="18"/>
                </a:lnTo>
                <a:lnTo>
                  <a:pt x="71" y="18"/>
                </a:lnTo>
                <a:lnTo>
                  <a:pt x="71" y="19"/>
                </a:lnTo>
                <a:lnTo>
                  <a:pt x="71" y="19"/>
                </a:lnTo>
                <a:lnTo>
                  <a:pt x="71" y="19"/>
                </a:lnTo>
                <a:lnTo>
                  <a:pt x="71" y="19"/>
                </a:lnTo>
                <a:lnTo>
                  <a:pt x="71" y="19"/>
                </a:lnTo>
                <a:lnTo>
                  <a:pt x="71" y="20"/>
                </a:lnTo>
                <a:lnTo>
                  <a:pt x="72" y="20"/>
                </a:lnTo>
                <a:lnTo>
                  <a:pt x="72" y="20"/>
                </a:lnTo>
                <a:lnTo>
                  <a:pt x="72" y="20"/>
                </a:lnTo>
                <a:lnTo>
                  <a:pt x="72" y="20"/>
                </a:lnTo>
                <a:lnTo>
                  <a:pt x="72" y="20"/>
                </a:lnTo>
                <a:lnTo>
                  <a:pt x="72" y="21"/>
                </a:lnTo>
                <a:lnTo>
                  <a:pt x="72" y="21"/>
                </a:lnTo>
                <a:lnTo>
                  <a:pt x="72" y="21"/>
                </a:lnTo>
                <a:lnTo>
                  <a:pt x="72" y="21"/>
                </a:lnTo>
                <a:lnTo>
                  <a:pt x="72" y="21"/>
                </a:lnTo>
                <a:lnTo>
                  <a:pt x="72" y="22"/>
                </a:lnTo>
                <a:lnTo>
                  <a:pt x="72" y="22"/>
                </a:lnTo>
                <a:lnTo>
                  <a:pt x="73" y="22"/>
                </a:lnTo>
                <a:lnTo>
                  <a:pt x="73" y="22"/>
                </a:lnTo>
                <a:lnTo>
                  <a:pt x="73" y="22"/>
                </a:lnTo>
                <a:lnTo>
                  <a:pt x="73" y="22"/>
                </a:lnTo>
                <a:lnTo>
                  <a:pt x="73" y="23"/>
                </a:lnTo>
                <a:lnTo>
                  <a:pt x="73" y="23"/>
                </a:lnTo>
                <a:lnTo>
                  <a:pt x="73" y="23"/>
                </a:lnTo>
                <a:lnTo>
                  <a:pt x="73" y="23"/>
                </a:lnTo>
                <a:lnTo>
                  <a:pt x="73" y="23"/>
                </a:lnTo>
                <a:lnTo>
                  <a:pt x="73" y="25"/>
                </a:lnTo>
                <a:lnTo>
                  <a:pt x="73" y="25"/>
                </a:lnTo>
                <a:lnTo>
                  <a:pt x="73" y="25"/>
                </a:lnTo>
                <a:lnTo>
                  <a:pt x="73" y="25"/>
                </a:lnTo>
                <a:lnTo>
                  <a:pt x="75" y="25"/>
                </a:lnTo>
                <a:lnTo>
                  <a:pt x="75" y="26"/>
                </a:lnTo>
                <a:lnTo>
                  <a:pt x="75" y="26"/>
                </a:lnTo>
                <a:lnTo>
                  <a:pt x="75" y="26"/>
                </a:lnTo>
                <a:lnTo>
                  <a:pt x="75" y="26"/>
                </a:lnTo>
                <a:lnTo>
                  <a:pt x="75" y="26"/>
                </a:lnTo>
                <a:lnTo>
                  <a:pt x="75" y="27"/>
                </a:lnTo>
                <a:lnTo>
                  <a:pt x="75" y="27"/>
                </a:lnTo>
                <a:lnTo>
                  <a:pt x="75" y="27"/>
                </a:lnTo>
                <a:lnTo>
                  <a:pt x="75" y="27"/>
                </a:lnTo>
                <a:lnTo>
                  <a:pt x="75" y="27"/>
                </a:lnTo>
                <a:lnTo>
                  <a:pt x="75" y="28"/>
                </a:lnTo>
                <a:lnTo>
                  <a:pt x="75" y="28"/>
                </a:lnTo>
                <a:lnTo>
                  <a:pt x="75" y="28"/>
                </a:lnTo>
                <a:lnTo>
                  <a:pt x="75" y="28"/>
                </a:lnTo>
                <a:lnTo>
                  <a:pt x="75" y="28"/>
                </a:lnTo>
                <a:lnTo>
                  <a:pt x="75" y="29"/>
                </a:lnTo>
                <a:lnTo>
                  <a:pt x="75" y="29"/>
                </a:lnTo>
                <a:lnTo>
                  <a:pt x="75" y="29"/>
                </a:lnTo>
                <a:lnTo>
                  <a:pt x="76" y="29"/>
                </a:lnTo>
                <a:lnTo>
                  <a:pt x="76" y="29"/>
                </a:lnTo>
                <a:lnTo>
                  <a:pt x="76" y="30"/>
                </a:lnTo>
                <a:lnTo>
                  <a:pt x="76" y="30"/>
                </a:lnTo>
                <a:lnTo>
                  <a:pt x="76" y="30"/>
                </a:lnTo>
                <a:lnTo>
                  <a:pt x="76" y="30"/>
                </a:lnTo>
                <a:lnTo>
                  <a:pt x="76" y="30"/>
                </a:lnTo>
                <a:lnTo>
                  <a:pt x="76" y="31"/>
                </a:lnTo>
                <a:lnTo>
                  <a:pt x="76" y="31"/>
                </a:lnTo>
                <a:lnTo>
                  <a:pt x="76" y="31"/>
                </a:lnTo>
                <a:lnTo>
                  <a:pt x="76" y="31"/>
                </a:lnTo>
                <a:lnTo>
                  <a:pt x="76" y="31"/>
                </a:lnTo>
                <a:lnTo>
                  <a:pt x="76" y="32"/>
                </a:lnTo>
                <a:lnTo>
                  <a:pt x="76" y="32"/>
                </a:lnTo>
                <a:lnTo>
                  <a:pt x="76" y="32"/>
                </a:lnTo>
                <a:lnTo>
                  <a:pt x="76" y="32"/>
                </a:lnTo>
                <a:lnTo>
                  <a:pt x="76" y="32"/>
                </a:lnTo>
                <a:lnTo>
                  <a:pt x="76" y="34"/>
                </a:lnTo>
                <a:lnTo>
                  <a:pt x="76" y="34"/>
                </a:lnTo>
                <a:lnTo>
                  <a:pt x="76" y="34"/>
                </a:lnTo>
                <a:lnTo>
                  <a:pt x="76" y="34"/>
                </a:lnTo>
                <a:lnTo>
                  <a:pt x="76" y="34"/>
                </a:lnTo>
                <a:lnTo>
                  <a:pt x="76" y="35"/>
                </a:lnTo>
                <a:lnTo>
                  <a:pt x="76" y="35"/>
                </a:lnTo>
                <a:lnTo>
                  <a:pt x="76" y="35"/>
                </a:lnTo>
                <a:lnTo>
                  <a:pt x="76" y="35"/>
                </a:lnTo>
                <a:lnTo>
                  <a:pt x="76" y="36"/>
                </a:lnTo>
                <a:lnTo>
                  <a:pt x="76" y="36"/>
                </a:lnTo>
                <a:lnTo>
                  <a:pt x="76" y="36"/>
                </a:lnTo>
                <a:lnTo>
                  <a:pt x="76" y="36"/>
                </a:lnTo>
                <a:lnTo>
                  <a:pt x="76" y="36"/>
                </a:lnTo>
                <a:lnTo>
                  <a:pt x="76" y="37"/>
                </a:lnTo>
                <a:lnTo>
                  <a:pt x="76" y="37"/>
                </a:lnTo>
                <a:lnTo>
                  <a:pt x="76" y="37"/>
                </a:lnTo>
                <a:lnTo>
                  <a:pt x="76" y="37"/>
                </a:lnTo>
                <a:close/>
                <a:moveTo>
                  <a:pt x="78" y="41"/>
                </a:moveTo>
                <a:lnTo>
                  <a:pt x="78" y="34"/>
                </a:lnTo>
                <a:lnTo>
                  <a:pt x="94" y="34"/>
                </a:lnTo>
                <a:lnTo>
                  <a:pt x="94" y="41"/>
                </a:lnTo>
                <a:lnTo>
                  <a:pt x="78" y="41"/>
                </a:lnTo>
                <a:lnTo>
                  <a:pt x="78" y="41"/>
                </a:lnTo>
                <a:close/>
                <a:moveTo>
                  <a:pt x="125" y="41"/>
                </a:moveTo>
                <a:lnTo>
                  <a:pt x="125" y="34"/>
                </a:lnTo>
                <a:lnTo>
                  <a:pt x="141" y="34"/>
                </a:lnTo>
                <a:lnTo>
                  <a:pt x="141" y="41"/>
                </a:lnTo>
                <a:lnTo>
                  <a:pt x="125" y="41"/>
                </a:lnTo>
                <a:lnTo>
                  <a:pt x="125" y="41"/>
                </a:lnTo>
                <a:close/>
                <a:moveTo>
                  <a:pt x="173" y="41"/>
                </a:moveTo>
                <a:lnTo>
                  <a:pt x="173" y="34"/>
                </a:lnTo>
                <a:lnTo>
                  <a:pt x="188" y="34"/>
                </a:lnTo>
                <a:lnTo>
                  <a:pt x="188" y="41"/>
                </a:lnTo>
                <a:lnTo>
                  <a:pt x="173" y="41"/>
                </a:lnTo>
                <a:lnTo>
                  <a:pt x="173" y="41"/>
                </a:lnTo>
                <a:close/>
                <a:moveTo>
                  <a:pt x="220" y="41"/>
                </a:moveTo>
                <a:lnTo>
                  <a:pt x="220" y="34"/>
                </a:lnTo>
                <a:lnTo>
                  <a:pt x="236" y="34"/>
                </a:lnTo>
                <a:lnTo>
                  <a:pt x="236" y="41"/>
                </a:lnTo>
                <a:lnTo>
                  <a:pt x="220" y="41"/>
                </a:lnTo>
                <a:lnTo>
                  <a:pt x="220" y="41"/>
                </a:lnTo>
                <a:close/>
                <a:moveTo>
                  <a:pt x="267" y="41"/>
                </a:moveTo>
                <a:lnTo>
                  <a:pt x="267" y="34"/>
                </a:lnTo>
                <a:lnTo>
                  <a:pt x="283" y="34"/>
                </a:lnTo>
                <a:lnTo>
                  <a:pt x="283" y="41"/>
                </a:lnTo>
                <a:lnTo>
                  <a:pt x="267" y="41"/>
                </a:lnTo>
                <a:lnTo>
                  <a:pt x="267" y="41"/>
                </a:lnTo>
                <a:close/>
                <a:moveTo>
                  <a:pt x="314" y="41"/>
                </a:moveTo>
                <a:lnTo>
                  <a:pt x="314" y="34"/>
                </a:lnTo>
                <a:lnTo>
                  <a:pt x="330" y="34"/>
                </a:lnTo>
                <a:lnTo>
                  <a:pt x="330" y="41"/>
                </a:lnTo>
                <a:lnTo>
                  <a:pt x="314" y="41"/>
                </a:lnTo>
                <a:lnTo>
                  <a:pt x="314" y="41"/>
                </a:lnTo>
                <a:close/>
                <a:moveTo>
                  <a:pt x="362" y="41"/>
                </a:moveTo>
                <a:lnTo>
                  <a:pt x="362" y="34"/>
                </a:lnTo>
                <a:lnTo>
                  <a:pt x="376" y="34"/>
                </a:lnTo>
                <a:lnTo>
                  <a:pt x="376" y="41"/>
                </a:lnTo>
                <a:lnTo>
                  <a:pt x="362" y="41"/>
                </a:lnTo>
                <a:lnTo>
                  <a:pt x="362" y="41"/>
                </a:lnTo>
                <a:close/>
                <a:moveTo>
                  <a:pt x="408" y="41"/>
                </a:moveTo>
                <a:lnTo>
                  <a:pt x="408" y="34"/>
                </a:lnTo>
                <a:lnTo>
                  <a:pt x="424" y="34"/>
                </a:lnTo>
                <a:lnTo>
                  <a:pt x="424" y="41"/>
                </a:lnTo>
                <a:lnTo>
                  <a:pt x="408" y="41"/>
                </a:lnTo>
                <a:lnTo>
                  <a:pt x="408" y="41"/>
                </a:lnTo>
                <a:close/>
                <a:moveTo>
                  <a:pt x="455" y="41"/>
                </a:moveTo>
                <a:lnTo>
                  <a:pt x="455" y="34"/>
                </a:lnTo>
                <a:lnTo>
                  <a:pt x="471" y="34"/>
                </a:lnTo>
                <a:lnTo>
                  <a:pt x="471" y="41"/>
                </a:lnTo>
                <a:lnTo>
                  <a:pt x="455" y="41"/>
                </a:lnTo>
                <a:close/>
              </a:path>
            </a:pathLst>
          </a:custGeom>
          <a:solidFill>
            <a:srgbClr val="8497B0"/>
          </a:solidFill>
          <a:ln>
            <a:solidFill>
              <a:srgbClr val="FFC000"/>
            </a:solidFill>
          </a:ln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1013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165222E-5D47-4CD4-AF42-79A4FC83D262}"/>
              </a:ext>
            </a:extLst>
          </p:cNvPr>
          <p:cNvSpPr txBox="1"/>
          <p:nvPr/>
        </p:nvSpPr>
        <p:spPr>
          <a:xfrm>
            <a:off x="5438679" y="3627073"/>
            <a:ext cx="1419321" cy="43088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/>
            <a:r>
              <a:rPr lang="ru-RU" sz="1000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СУЛЬТАЦИЯЛАР/</a:t>
            </a:r>
          </a:p>
          <a:p>
            <a:pPr algn="ctr"/>
            <a:r>
              <a:rPr lang="ru-RU" sz="900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ru-RU" sz="900" b="1" dirty="0" err="1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заматтарды</a:t>
            </a:r>
            <a:r>
              <a:rPr lang="ru-RU" sz="900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b="1" dirty="0" err="1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былдау</a:t>
            </a:r>
            <a:endParaRPr lang="en-US" sz="900" b="1" dirty="0">
              <a:solidFill>
                <a:srgbClr val="0066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3" name="Group 4">
            <a:extLst>
              <a:ext uri="{FF2B5EF4-FFF2-40B4-BE49-F238E27FC236}">
                <a16:creationId xmlns:a16="http://schemas.microsoft.com/office/drawing/2014/main" id="{D29413B2-76C9-454C-80ED-A24398AA1109}"/>
              </a:ext>
            </a:extLst>
          </p:cNvPr>
          <p:cNvGrpSpPr/>
          <p:nvPr/>
        </p:nvGrpSpPr>
        <p:grpSpPr>
          <a:xfrm>
            <a:off x="113340" y="1296516"/>
            <a:ext cx="2063166" cy="4158552"/>
            <a:chOff x="490855" y="1094389"/>
            <a:chExt cx="3339270" cy="4327362"/>
          </a:xfrm>
        </p:grpSpPr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F1797468-9149-4173-820B-AC33C603A9B0}"/>
                </a:ext>
              </a:extLst>
            </p:cNvPr>
            <p:cNvSpPr txBox="1"/>
            <p:nvPr/>
          </p:nvSpPr>
          <p:spPr>
            <a:xfrm>
              <a:off x="509784" y="4829251"/>
              <a:ext cx="2004314" cy="5925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ru-RU" sz="1000" b="1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ЕМИНАРЛАР мен</a:t>
              </a:r>
              <a:r>
                <a:rPr lang="ru-RU" sz="900" b="1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БРИФИНГТЕР </a:t>
              </a:r>
              <a:r>
                <a:rPr lang="ru-RU" sz="900" i="1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</a:t>
              </a:r>
              <a:r>
                <a:rPr lang="ru-RU" sz="900" i="1" dirty="0" err="1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ның</a:t>
              </a:r>
              <a:r>
                <a:rPr lang="ru-RU" sz="900" i="1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900" i="1" dirty="0" err="1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ішінде</a:t>
              </a:r>
              <a:r>
                <a:rPr lang="ru-RU" sz="900" i="1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900" i="1" dirty="0" err="1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үшжақты</a:t>
              </a:r>
              <a:r>
                <a:rPr lang="ru-RU" sz="900" i="1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900" i="1" dirty="0" err="1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омиссиялар</a:t>
              </a:r>
              <a:r>
                <a:rPr lang="ru-RU" sz="900" i="1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  <a:endParaRPr lang="en-US" sz="900" i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4479A4B4-D696-4C77-8A2A-FBA165F22205}"/>
                </a:ext>
              </a:extLst>
            </p:cNvPr>
            <p:cNvSpPr txBox="1"/>
            <p:nvPr/>
          </p:nvSpPr>
          <p:spPr>
            <a:xfrm>
              <a:off x="499804" y="3517108"/>
              <a:ext cx="2359633" cy="32027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ru-RU" sz="1000" b="1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ШЫҚ ЕСІК </a:t>
              </a:r>
            </a:p>
            <a:p>
              <a:r>
                <a:rPr lang="ru-RU" sz="1000" b="1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ҮНДЕРІ</a:t>
              </a:r>
              <a:endParaRPr lang="en-US" sz="1000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6B834B17-587C-4334-9136-99B47B57CCD9}"/>
                </a:ext>
              </a:extLst>
            </p:cNvPr>
            <p:cNvSpPr txBox="1"/>
            <p:nvPr/>
          </p:nvSpPr>
          <p:spPr>
            <a:xfrm>
              <a:off x="495091" y="2236096"/>
              <a:ext cx="2263168" cy="32027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ru-RU" sz="1000" b="1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ЕЛЕДИДАР мен РАДИОДА </a:t>
              </a:r>
              <a:r>
                <a:rPr lang="ru-RU" sz="1000" b="1" dirty="0" err="1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өйлеу</a:t>
              </a:r>
              <a:endParaRPr lang="en-US" sz="1000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CA81BE83-321D-4564-89DC-74D23F8BDF57}"/>
                </a:ext>
              </a:extLst>
            </p:cNvPr>
            <p:cNvSpPr txBox="1"/>
            <p:nvPr/>
          </p:nvSpPr>
          <p:spPr>
            <a:xfrm>
              <a:off x="490855" y="1094389"/>
              <a:ext cx="3339270" cy="32027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ru-RU" sz="1000" b="1" dirty="0" err="1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аспа</a:t>
              </a:r>
              <a:r>
                <a:rPr lang="ru-RU" sz="1000" b="1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ж</a:t>
              </a:r>
              <a:r>
                <a:rPr lang="kk-KZ" sz="1000" b="1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әне электрондық БАҚ-та ЖАРИЯЛАНЫМДАР</a:t>
              </a:r>
              <a:endParaRPr lang="en-US" sz="1000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58" name="Group 142">
            <a:extLst>
              <a:ext uri="{FF2B5EF4-FFF2-40B4-BE49-F238E27FC236}">
                <a16:creationId xmlns:a16="http://schemas.microsoft.com/office/drawing/2014/main" id="{61534DD0-312D-49B6-8AC5-7DC11D930EF1}"/>
              </a:ext>
            </a:extLst>
          </p:cNvPr>
          <p:cNvGrpSpPr/>
          <p:nvPr/>
        </p:nvGrpSpPr>
        <p:grpSpPr>
          <a:xfrm flipH="1">
            <a:off x="5107791" y="1053162"/>
            <a:ext cx="2411500" cy="4023438"/>
            <a:chOff x="-81817" y="-826341"/>
            <a:chExt cx="3904704" cy="5949366"/>
          </a:xfrm>
        </p:grpSpPr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29D34C5F-B405-470B-ABD1-262676E6F190}"/>
                </a:ext>
              </a:extLst>
            </p:cNvPr>
            <p:cNvSpPr txBox="1"/>
            <p:nvPr/>
          </p:nvSpPr>
          <p:spPr>
            <a:xfrm>
              <a:off x="897218" y="1171954"/>
              <a:ext cx="2043144" cy="46244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ru-RU" sz="1000" b="1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елефон </a:t>
              </a:r>
              <a:r>
                <a:rPr lang="ru-RU" sz="1000" b="1" dirty="0" err="1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рқылы</a:t>
              </a:r>
              <a:r>
                <a:rPr lang="ru-RU" sz="1000" b="1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КЕҢЕС БЕРУ</a:t>
              </a:r>
              <a:endParaRPr lang="en-US" sz="1000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104261FD-E41D-4123-9A6A-3881EAA2EE5E}"/>
                </a:ext>
              </a:extLst>
            </p:cNvPr>
            <p:cNvSpPr txBox="1"/>
            <p:nvPr/>
          </p:nvSpPr>
          <p:spPr>
            <a:xfrm>
              <a:off x="1095405" y="-826341"/>
              <a:ext cx="2727482" cy="46244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ru-RU" sz="1000" b="1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ТЖ </a:t>
              </a:r>
              <a:r>
                <a:rPr lang="ru-RU" sz="1000" b="1" dirty="0" err="1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ойынша</a:t>
              </a:r>
              <a:r>
                <a:rPr lang="ru-RU" sz="1000" b="1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00" b="1" dirty="0" err="1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іс-шаралар</a:t>
              </a:r>
              <a:r>
                <a:rPr lang="ru-RU" sz="1000" b="1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 </a:t>
              </a:r>
              <a:r>
                <a:rPr lang="ru-RU" sz="1000" i="1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</a:t>
              </a:r>
              <a:r>
                <a:rPr lang="ru-RU" sz="900" i="1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нлайн/офлайн </a:t>
              </a:r>
              <a:r>
                <a:rPr lang="ru-RU" sz="900" i="1" dirty="0" err="1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әрістер</a:t>
              </a:r>
              <a:r>
                <a:rPr lang="ru-RU" sz="1000" i="1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  <a:endParaRPr lang="en-US" sz="1000" i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17C4523E-5C91-4C39-9F5B-7580AAC05253}"/>
                </a:ext>
              </a:extLst>
            </p:cNvPr>
            <p:cNvSpPr txBox="1"/>
            <p:nvPr/>
          </p:nvSpPr>
          <p:spPr>
            <a:xfrm rot="10800000" flipV="1">
              <a:off x="-81817" y="4576470"/>
              <a:ext cx="3418885" cy="54655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ru-RU" sz="788" b="1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ӘСІПКЕРЛЕРДІҢ БЕЛСЕНДІ СУБЪЕКТІЛЕРІНЕ </a:t>
              </a:r>
            </a:p>
            <a:p>
              <a:r>
                <a:rPr lang="ru-RU" sz="788" b="1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ТЖ </a:t>
              </a:r>
              <a:r>
                <a:rPr lang="ru-RU" sz="788" b="1" dirty="0" err="1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өткізу</a:t>
              </a:r>
              <a:r>
                <a:rPr lang="ru-RU" sz="788" b="1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788" b="1" dirty="0" err="1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өніндегі</a:t>
              </a:r>
              <a:r>
                <a:rPr lang="ru-RU" sz="788" b="1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788" b="1" dirty="0" err="1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хаттар</a:t>
              </a:r>
              <a:endParaRPr lang="en-US" sz="1000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90" name="Group 176">
            <a:extLst>
              <a:ext uri="{FF2B5EF4-FFF2-40B4-BE49-F238E27FC236}">
                <a16:creationId xmlns:a16="http://schemas.microsoft.com/office/drawing/2014/main" id="{895263B6-50C1-41BD-A1FF-D3F99C0FA21C}"/>
              </a:ext>
            </a:extLst>
          </p:cNvPr>
          <p:cNvGrpSpPr/>
          <p:nvPr/>
        </p:nvGrpSpPr>
        <p:grpSpPr>
          <a:xfrm>
            <a:off x="3818825" y="3220193"/>
            <a:ext cx="160735" cy="161628"/>
            <a:chOff x="11601450" y="5076825"/>
            <a:chExt cx="285751" cy="287338"/>
          </a:xfrm>
          <a:solidFill>
            <a:schemeClr val="bg1"/>
          </a:solidFill>
        </p:grpSpPr>
        <p:sp>
          <p:nvSpPr>
            <p:cNvPr id="91" name="Freeform 2606">
              <a:extLst>
                <a:ext uri="{FF2B5EF4-FFF2-40B4-BE49-F238E27FC236}">
                  <a16:creationId xmlns:a16="http://schemas.microsoft.com/office/drawing/2014/main" id="{750B61AD-AF49-4E68-B096-27043555D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2413" y="5230813"/>
              <a:ext cx="122238" cy="63500"/>
            </a:xfrm>
            <a:custGeom>
              <a:avLst/>
              <a:gdLst>
                <a:gd name="T0" fmla="*/ 337 w 385"/>
                <a:gd name="T1" fmla="*/ 202 h 202"/>
                <a:gd name="T2" fmla="*/ 346 w 385"/>
                <a:gd name="T3" fmla="*/ 177 h 202"/>
                <a:gd name="T4" fmla="*/ 355 w 385"/>
                <a:gd name="T5" fmla="*/ 151 h 202"/>
                <a:gd name="T6" fmla="*/ 362 w 385"/>
                <a:gd name="T7" fmla="*/ 126 h 202"/>
                <a:gd name="T8" fmla="*/ 369 w 385"/>
                <a:gd name="T9" fmla="*/ 101 h 202"/>
                <a:gd name="T10" fmla="*/ 374 w 385"/>
                <a:gd name="T11" fmla="*/ 75 h 202"/>
                <a:gd name="T12" fmla="*/ 379 w 385"/>
                <a:gd name="T13" fmla="*/ 50 h 202"/>
                <a:gd name="T14" fmla="*/ 383 w 385"/>
                <a:gd name="T15" fmla="*/ 26 h 202"/>
                <a:gd name="T16" fmla="*/ 385 w 385"/>
                <a:gd name="T17" fmla="*/ 0 h 202"/>
                <a:gd name="T18" fmla="*/ 0 w 385"/>
                <a:gd name="T19" fmla="*/ 0 h 202"/>
                <a:gd name="T20" fmla="*/ 3 w 385"/>
                <a:gd name="T21" fmla="*/ 26 h 202"/>
                <a:gd name="T22" fmla="*/ 7 w 385"/>
                <a:gd name="T23" fmla="*/ 50 h 202"/>
                <a:gd name="T24" fmla="*/ 11 w 385"/>
                <a:gd name="T25" fmla="*/ 75 h 202"/>
                <a:gd name="T26" fmla="*/ 16 w 385"/>
                <a:gd name="T27" fmla="*/ 101 h 202"/>
                <a:gd name="T28" fmla="*/ 23 w 385"/>
                <a:gd name="T29" fmla="*/ 126 h 202"/>
                <a:gd name="T30" fmla="*/ 31 w 385"/>
                <a:gd name="T31" fmla="*/ 151 h 202"/>
                <a:gd name="T32" fmla="*/ 40 w 385"/>
                <a:gd name="T33" fmla="*/ 177 h 202"/>
                <a:gd name="T34" fmla="*/ 48 w 385"/>
                <a:gd name="T35" fmla="*/ 202 h 202"/>
                <a:gd name="T36" fmla="*/ 337 w 385"/>
                <a:gd name="T37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85" h="202">
                  <a:moveTo>
                    <a:pt x="337" y="202"/>
                  </a:moveTo>
                  <a:lnTo>
                    <a:pt x="346" y="177"/>
                  </a:lnTo>
                  <a:lnTo>
                    <a:pt x="355" y="151"/>
                  </a:lnTo>
                  <a:lnTo>
                    <a:pt x="362" y="126"/>
                  </a:lnTo>
                  <a:lnTo>
                    <a:pt x="369" y="101"/>
                  </a:lnTo>
                  <a:lnTo>
                    <a:pt x="374" y="75"/>
                  </a:lnTo>
                  <a:lnTo>
                    <a:pt x="379" y="50"/>
                  </a:lnTo>
                  <a:lnTo>
                    <a:pt x="383" y="26"/>
                  </a:lnTo>
                  <a:lnTo>
                    <a:pt x="385" y="0"/>
                  </a:lnTo>
                  <a:lnTo>
                    <a:pt x="0" y="0"/>
                  </a:lnTo>
                  <a:lnTo>
                    <a:pt x="3" y="26"/>
                  </a:lnTo>
                  <a:lnTo>
                    <a:pt x="7" y="50"/>
                  </a:lnTo>
                  <a:lnTo>
                    <a:pt x="11" y="75"/>
                  </a:lnTo>
                  <a:lnTo>
                    <a:pt x="16" y="101"/>
                  </a:lnTo>
                  <a:lnTo>
                    <a:pt x="23" y="126"/>
                  </a:lnTo>
                  <a:lnTo>
                    <a:pt x="31" y="151"/>
                  </a:lnTo>
                  <a:lnTo>
                    <a:pt x="40" y="177"/>
                  </a:lnTo>
                  <a:lnTo>
                    <a:pt x="48" y="202"/>
                  </a:lnTo>
                  <a:lnTo>
                    <a:pt x="337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92" name="Freeform 2607">
              <a:extLst>
                <a:ext uri="{FF2B5EF4-FFF2-40B4-BE49-F238E27FC236}">
                  <a16:creationId xmlns:a16="http://schemas.microsoft.com/office/drawing/2014/main" id="{2E6C8AA9-6C25-40CE-B3F2-48932DE4BF3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2413" y="5156200"/>
              <a:ext cx="123825" cy="65088"/>
            </a:xfrm>
            <a:custGeom>
              <a:avLst/>
              <a:gdLst>
                <a:gd name="T0" fmla="*/ 363 w 390"/>
                <a:gd name="T1" fmla="*/ 0 h 203"/>
                <a:gd name="T2" fmla="*/ 26 w 390"/>
                <a:gd name="T3" fmla="*/ 0 h 203"/>
                <a:gd name="T4" fmla="*/ 18 w 390"/>
                <a:gd name="T5" fmla="*/ 24 h 203"/>
                <a:gd name="T6" fmla="*/ 13 w 390"/>
                <a:gd name="T7" fmla="*/ 50 h 203"/>
                <a:gd name="T8" fmla="*/ 9 w 390"/>
                <a:gd name="T9" fmla="*/ 75 h 203"/>
                <a:gd name="T10" fmla="*/ 4 w 390"/>
                <a:gd name="T11" fmla="*/ 100 h 203"/>
                <a:gd name="T12" fmla="*/ 2 w 390"/>
                <a:gd name="T13" fmla="*/ 126 h 203"/>
                <a:gd name="T14" fmla="*/ 0 w 390"/>
                <a:gd name="T15" fmla="*/ 151 h 203"/>
                <a:gd name="T16" fmla="*/ 0 w 390"/>
                <a:gd name="T17" fmla="*/ 176 h 203"/>
                <a:gd name="T18" fmla="*/ 0 w 390"/>
                <a:gd name="T19" fmla="*/ 203 h 203"/>
                <a:gd name="T20" fmla="*/ 390 w 390"/>
                <a:gd name="T21" fmla="*/ 203 h 203"/>
                <a:gd name="T22" fmla="*/ 390 w 390"/>
                <a:gd name="T23" fmla="*/ 176 h 203"/>
                <a:gd name="T24" fmla="*/ 390 w 390"/>
                <a:gd name="T25" fmla="*/ 151 h 203"/>
                <a:gd name="T26" fmla="*/ 387 w 390"/>
                <a:gd name="T27" fmla="*/ 126 h 203"/>
                <a:gd name="T28" fmla="*/ 385 w 390"/>
                <a:gd name="T29" fmla="*/ 100 h 203"/>
                <a:gd name="T30" fmla="*/ 381 w 390"/>
                <a:gd name="T31" fmla="*/ 75 h 203"/>
                <a:gd name="T32" fmla="*/ 376 w 390"/>
                <a:gd name="T33" fmla="*/ 50 h 203"/>
                <a:gd name="T34" fmla="*/ 371 w 390"/>
                <a:gd name="T35" fmla="*/ 24 h 203"/>
                <a:gd name="T36" fmla="*/ 363 w 390"/>
                <a:gd name="T37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90" h="203">
                  <a:moveTo>
                    <a:pt x="363" y="0"/>
                  </a:moveTo>
                  <a:lnTo>
                    <a:pt x="26" y="0"/>
                  </a:lnTo>
                  <a:lnTo>
                    <a:pt x="18" y="24"/>
                  </a:lnTo>
                  <a:lnTo>
                    <a:pt x="13" y="50"/>
                  </a:lnTo>
                  <a:lnTo>
                    <a:pt x="9" y="75"/>
                  </a:lnTo>
                  <a:lnTo>
                    <a:pt x="4" y="100"/>
                  </a:lnTo>
                  <a:lnTo>
                    <a:pt x="2" y="126"/>
                  </a:lnTo>
                  <a:lnTo>
                    <a:pt x="0" y="151"/>
                  </a:lnTo>
                  <a:lnTo>
                    <a:pt x="0" y="176"/>
                  </a:lnTo>
                  <a:lnTo>
                    <a:pt x="0" y="203"/>
                  </a:lnTo>
                  <a:lnTo>
                    <a:pt x="390" y="203"/>
                  </a:lnTo>
                  <a:lnTo>
                    <a:pt x="390" y="176"/>
                  </a:lnTo>
                  <a:lnTo>
                    <a:pt x="390" y="151"/>
                  </a:lnTo>
                  <a:lnTo>
                    <a:pt x="387" y="126"/>
                  </a:lnTo>
                  <a:lnTo>
                    <a:pt x="385" y="100"/>
                  </a:lnTo>
                  <a:lnTo>
                    <a:pt x="381" y="75"/>
                  </a:lnTo>
                  <a:lnTo>
                    <a:pt x="376" y="50"/>
                  </a:lnTo>
                  <a:lnTo>
                    <a:pt x="371" y="24"/>
                  </a:lnTo>
                  <a:lnTo>
                    <a:pt x="36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93" name="Freeform 2608">
              <a:extLst>
                <a:ext uri="{FF2B5EF4-FFF2-40B4-BE49-F238E27FC236}">
                  <a16:creationId xmlns:a16="http://schemas.microsoft.com/office/drawing/2014/main" id="{69528B2C-FDDE-413D-BFA5-C0C8A94BCB1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99888" y="5230813"/>
              <a:ext cx="87313" cy="63500"/>
            </a:xfrm>
            <a:custGeom>
              <a:avLst/>
              <a:gdLst>
                <a:gd name="T0" fmla="*/ 0 w 274"/>
                <a:gd name="T1" fmla="*/ 202 h 202"/>
                <a:gd name="T2" fmla="*/ 209 w 274"/>
                <a:gd name="T3" fmla="*/ 202 h 202"/>
                <a:gd name="T4" fmla="*/ 222 w 274"/>
                <a:gd name="T5" fmla="*/ 180 h 202"/>
                <a:gd name="T6" fmla="*/ 233 w 274"/>
                <a:gd name="T7" fmla="*/ 156 h 202"/>
                <a:gd name="T8" fmla="*/ 244 w 274"/>
                <a:gd name="T9" fmla="*/ 131 h 202"/>
                <a:gd name="T10" fmla="*/ 253 w 274"/>
                <a:gd name="T11" fmla="*/ 106 h 202"/>
                <a:gd name="T12" fmla="*/ 261 w 274"/>
                <a:gd name="T13" fmla="*/ 81 h 202"/>
                <a:gd name="T14" fmla="*/ 266 w 274"/>
                <a:gd name="T15" fmla="*/ 54 h 202"/>
                <a:gd name="T16" fmla="*/ 271 w 274"/>
                <a:gd name="T17" fmla="*/ 28 h 202"/>
                <a:gd name="T18" fmla="*/ 274 w 274"/>
                <a:gd name="T19" fmla="*/ 0 h 202"/>
                <a:gd name="T20" fmla="*/ 45 w 274"/>
                <a:gd name="T21" fmla="*/ 0 h 202"/>
                <a:gd name="T22" fmla="*/ 43 w 274"/>
                <a:gd name="T23" fmla="*/ 26 h 202"/>
                <a:gd name="T24" fmla="*/ 39 w 274"/>
                <a:gd name="T25" fmla="*/ 50 h 202"/>
                <a:gd name="T26" fmla="*/ 35 w 274"/>
                <a:gd name="T27" fmla="*/ 75 h 202"/>
                <a:gd name="T28" fmla="*/ 29 w 274"/>
                <a:gd name="T29" fmla="*/ 101 h 202"/>
                <a:gd name="T30" fmla="*/ 24 w 274"/>
                <a:gd name="T31" fmla="*/ 126 h 202"/>
                <a:gd name="T32" fmla="*/ 16 w 274"/>
                <a:gd name="T33" fmla="*/ 151 h 202"/>
                <a:gd name="T34" fmla="*/ 9 w 274"/>
                <a:gd name="T35" fmla="*/ 177 h 202"/>
                <a:gd name="T36" fmla="*/ 0 w 274"/>
                <a:gd name="T37" fmla="*/ 202 h 202"/>
                <a:gd name="T38" fmla="*/ 0 w 274"/>
                <a:gd name="T39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4" h="202">
                  <a:moveTo>
                    <a:pt x="0" y="202"/>
                  </a:moveTo>
                  <a:lnTo>
                    <a:pt x="209" y="202"/>
                  </a:lnTo>
                  <a:lnTo>
                    <a:pt x="222" y="180"/>
                  </a:lnTo>
                  <a:lnTo>
                    <a:pt x="233" y="156"/>
                  </a:lnTo>
                  <a:lnTo>
                    <a:pt x="244" y="131"/>
                  </a:lnTo>
                  <a:lnTo>
                    <a:pt x="253" y="106"/>
                  </a:lnTo>
                  <a:lnTo>
                    <a:pt x="261" y="81"/>
                  </a:lnTo>
                  <a:lnTo>
                    <a:pt x="266" y="54"/>
                  </a:lnTo>
                  <a:lnTo>
                    <a:pt x="271" y="28"/>
                  </a:lnTo>
                  <a:lnTo>
                    <a:pt x="274" y="0"/>
                  </a:lnTo>
                  <a:lnTo>
                    <a:pt x="45" y="0"/>
                  </a:lnTo>
                  <a:lnTo>
                    <a:pt x="43" y="26"/>
                  </a:lnTo>
                  <a:lnTo>
                    <a:pt x="39" y="50"/>
                  </a:lnTo>
                  <a:lnTo>
                    <a:pt x="35" y="75"/>
                  </a:lnTo>
                  <a:lnTo>
                    <a:pt x="29" y="101"/>
                  </a:lnTo>
                  <a:lnTo>
                    <a:pt x="24" y="126"/>
                  </a:lnTo>
                  <a:lnTo>
                    <a:pt x="16" y="151"/>
                  </a:lnTo>
                  <a:lnTo>
                    <a:pt x="9" y="177"/>
                  </a:lnTo>
                  <a:lnTo>
                    <a:pt x="0" y="202"/>
                  </a:lnTo>
                  <a:lnTo>
                    <a:pt x="0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94" name="Freeform 2609">
              <a:extLst>
                <a:ext uri="{FF2B5EF4-FFF2-40B4-BE49-F238E27FC236}">
                  <a16:creationId xmlns:a16="http://schemas.microsoft.com/office/drawing/2014/main" id="{DD87DB7E-AD6D-41BD-9591-F667284A33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03050" y="5303838"/>
              <a:ext cx="82550" cy="60325"/>
            </a:xfrm>
            <a:custGeom>
              <a:avLst/>
              <a:gdLst>
                <a:gd name="T0" fmla="*/ 0 w 262"/>
                <a:gd name="T1" fmla="*/ 0 h 186"/>
                <a:gd name="T2" fmla="*/ 10 w 262"/>
                <a:gd name="T3" fmla="*/ 23 h 186"/>
                <a:gd name="T4" fmla="*/ 21 w 262"/>
                <a:gd name="T5" fmla="*/ 46 h 186"/>
                <a:gd name="T6" fmla="*/ 33 w 262"/>
                <a:gd name="T7" fmla="*/ 69 h 186"/>
                <a:gd name="T8" fmla="*/ 46 w 262"/>
                <a:gd name="T9" fmla="*/ 92 h 186"/>
                <a:gd name="T10" fmla="*/ 60 w 262"/>
                <a:gd name="T11" fmla="*/ 115 h 186"/>
                <a:gd name="T12" fmla="*/ 75 w 262"/>
                <a:gd name="T13" fmla="*/ 140 h 186"/>
                <a:gd name="T14" fmla="*/ 90 w 262"/>
                <a:gd name="T15" fmla="*/ 163 h 186"/>
                <a:gd name="T16" fmla="*/ 106 w 262"/>
                <a:gd name="T17" fmla="*/ 186 h 186"/>
                <a:gd name="T18" fmla="*/ 117 w 262"/>
                <a:gd name="T19" fmla="*/ 186 h 186"/>
                <a:gd name="T20" fmla="*/ 130 w 262"/>
                <a:gd name="T21" fmla="*/ 186 h 186"/>
                <a:gd name="T22" fmla="*/ 143 w 262"/>
                <a:gd name="T23" fmla="*/ 186 h 186"/>
                <a:gd name="T24" fmla="*/ 155 w 262"/>
                <a:gd name="T25" fmla="*/ 186 h 186"/>
                <a:gd name="T26" fmla="*/ 171 w 262"/>
                <a:gd name="T27" fmla="*/ 163 h 186"/>
                <a:gd name="T28" fmla="*/ 187 w 262"/>
                <a:gd name="T29" fmla="*/ 138 h 186"/>
                <a:gd name="T30" fmla="*/ 201 w 262"/>
                <a:gd name="T31" fmla="*/ 115 h 186"/>
                <a:gd name="T32" fmla="*/ 215 w 262"/>
                <a:gd name="T33" fmla="*/ 92 h 186"/>
                <a:gd name="T34" fmla="*/ 229 w 262"/>
                <a:gd name="T35" fmla="*/ 69 h 186"/>
                <a:gd name="T36" fmla="*/ 241 w 262"/>
                <a:gd name="T37" fmla="*/ 46 h 186"/>
                <a:gd name="T38" fmla="*/ 252 w 262"/>
                <a:gd name="T39" fmla="*/ 23 h 186"/>
                <a:gd name="T40" fmla="*/ 262 w 262"/>
                <a:gd name="T41" fmla="*/ 0 h 186"/>
                <a:gd name="T42" fmla="*/ 0 w 262"/>
                <a:gd name="T43" fmla="*/ 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62" h="186">
                  <a:moveTo>
                    <a:pt x="0" y="0"/>
                  </a:moveTo>
                  <a:lnTo>
                    <a:pt x="10" y="23"/>
                  </a:lnTo>
                  <a:lnTo>
                    <a:pt x="21" y="46"/>
                  </a:lnTo>
                  <a:lnTo>
                    <a:pt x="33" y="69"/>
                  </a:lnTo>
                  <a:lnTo>
                    <a:pt x="46" y="92"/>
                  </a:lnTo>
                  <a:lnTo>
                    <a:pt x="60" y="115"/>
                  </a:lnTo>
                  <a:lnTo>
                    <a:pt x="75" y="140"/>
                  </a:lnTo>
                  <a:lnTo>
                    <a:pt x="90" y="163"/>
                  </a:lnTo>
                  <a:lnTo>
                    <a:pt x="106" y="186"/>
                  </a:lnTo>
                  <a:lnTo>
                    <a:pt x="117" y="186"/>
                  </a:lnTo>
                  <a:lnTo>
                    <a:pt x="130" y="186"/>
                  </a:lnTo>
                  <a:lnTo>
                    <a:pt x="143" y="186"/>
                  </a:lnTo>
                  <a:lnTo>
                    <a:pt x="155" y="186"/>
                  </a:lnTo>
                  <a:lnTo>
                    <a:pt x="171" y="163"/>
                  </a:lnTo>
                  <a:lnTo>
                    <a:pt x="187" y="138"/>
                  </a:lnTo>
                  <a:lnTo>
                    <a:pt x="201" y="115"/>
                  </a:lnTo>
                  <a:lnTo>
                    <a:pt x="215" y="92"/>
                  </a:lnTo>
                  <a:lnTo>
                    <a:pt x="229" y="69"/>
                  </a:lnTo>
                  <a:lnTo>
                    <a:pt x="241" y="46"/>
                  </a:lnTo>
                  <a:lnTo>
                    <a:pt x="252" y="23"/>
                  </a:lnTo>
                  <a:lnTo>
                    <a:pt x="26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95" name="Freeform 2610">
              <a:extLst>
                <a:ext uri="{FF2B5EF4-FFF2-40B4-BE49-F238E27FC236}">
                  <a16:creationId xmlns:a16="http://schemas.microsoft.com/office/drawing/2014/main" id="{9D9570A0-7A24-4A85-BB3E-943FC6A4C0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3525" y="5076825"/>
              <a:ext cx="101600" cy="69850"/>
            </a:xfrm>
            <a:custGeom>
              <a:avLst/>
              <a:gdLst>
                <a:gd name="T0" fmla="*/ 317 w 317"/>
                <a:gd name="T1" fmla="*/ 220 h 220"/>
                <a:gd name="T2" fmla="*/ 306 w 317"/>
                <a:gd name="T3" fmla="*/ 192 h 220"/>
                <a:gd name="T4" fmla="*/ 294 w 317"/>
                <a:gd name="T5" fmla="*/ 163 h 220"/>
                <a:gd name="T6" fmla="*/ 280 w 317"/>
                <a:gd name="T7" fmla="*/ 136 h 220"/>
                <a:gd name="T8" fmla="*/ 264 w 317"/>
                <a:gd name="T9" fmla="*/ 108 h 220"/>
                <a:gd name="T10" fmla="*/ 247 w 317"/>
                <a:gd name="T11" fmla="*/ 81 h 220"/>
                <a:gd name="T12" fmla="*/ 228 w 317"/>
                <a:gd name="T13" fmla="*/ 54 h 220"/>
                <a:gd name="T14" fmla="*/ 208 w 317"/>
                <a:gd name="T15" fmla="*/ 28 h 220"/>
                <a:gd name="T16" fmla="*/ 187 w 317"/>
                <a:gd name="T17" fmla="*/ 1 h 220"/>
                <a:gd name="T18" fmla="*/ 173 w 317"/>
                <a:gd name="T19" fmla="*/ 0 h 220"/>
                <a:gd name="T20" fmla="*/ 159 w 317"/>
                <a:gd name="T21" fmla="*/ 0 h 220"/>
                <a:gd name="T22" fmla="*/ 149 w 317"/>
                <a:gd name="T23" fmla="*/ 0 h 220"/>
                <a:gd name="T24" fmla="*/ 139 w 317"/>
                <a:gd name="T25" fmla="*/ 0 h 220"/>
                <a:gd name="T26" fmla="*/ 134 w 317"/>
                <a:gd name="T27" fmla="*/ 1 h 220"/>
                <a:gd name="T28" fmla="*/ 130 w 317"/>
                <a:gd name="T29" fmla="*/ 1 h 220"/>
                <a:gd name="T30" fmla="*/ 109 w 317"/>
                <a:gd name="T31" fmla="*/ 28 h 220"/>
                <a:gd name="T32" fmla="*/ 89 w 317"/>
                <a:gd name="T33" fmla="*/ 54 h 220"/>
                <a:gd name="T34" fmla="*/ 71 w 317"/>
                <a:gd name="T35" fmla="*/ 81 h 220"/>
                <a:gd name="T36" fmla="*/ 53 w 317"/>
                <a:gd name="T37" fmla="*/ 108 h 220"/>
                <a:gd name="T38" fmla="*/ 38 w 317"/>
                <a:gd name="T39" fmla="*/ 136 h 220"/>
                <a:gd name="T40" fmla="*/ 23 w 317"/>
                <a:gd name="T41" fmla="*/ 163 h 220"/>
                <a:gd name="T42" fmla="*/ 11 w 317"/>
                <a:gd name="T43" fmla="*/ 192 h 220"/>
                <a:gd name="T44" fmla="*/ 0 w 317"/>
                <a:gd name="T45" fmla="*/ 220 h 220"/>
                <a:gd name="T46" fmla="*/ 317 w 317"/>
                <a:gd name="T47" fmla="*/ 22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17" h="220">
                  <a:moveTo>
                    <a:pt x="317" y="220"/>
                  </a:moveTo>
                  <a:lnTo>
                    <a:pt x="306" y="192"/>
                  </a:lnTo>
                  <a:lnTo>
                    <a:pt x="294" y="163"/>
                  </a:lnTo>
                  <a:lnTo>
                    <a:pt x="280" y="136"/>
                  </a:lnTo>
                  <a:lnTo>
                    <a:pt x="264" y="108"/>
                  </a:lnTo>
                  <a:lnTo>
                    <a:pt x="247" y="81"/>
                  </a:lnTo>
                  <a:lnTo>
                    <a:pt x="228" y="54"/>
                  </a:lnTo>
                  <a:lnTo>
                    <a:pt x="208" y="28"/>
                  </a:lnTo>
                  <a:lnTo>
                    <a:pt x="187" y="1"/>
                  </a:lnTo>
                  <a:lnTo>
                    <a:pt x="173" y="0"/>
                  </a:lnTo>
                  <a:lnTo>
                    <a:pt x="159" y="0"/>
                  </a:lnTo>
                  <a:lnTo>
                    <a:pt x="149" y="0"/>
                  </a:lnTo>
                  <a:lnTo>
                    <a:pt x="139" y="0"/>
                  </a:lnTo>
                  <a:lnTo>
                    <a:pt x="134" y="1"/>
                  </a:lnTo>
                  <a:lnTo>
                    <a:pt x="130" y="1"/>
                  </a:lnTo>
                  <a:lnTo>
                    <a:pt x="109" y="28"/>
                  </a:lnTo>
                  <a:lnTo>
                    <a:pt x="89" y="54"/>
                  </a:lnTo>
                  <a:lnTo>
                    <a:pt x="71" y="81"/>
                  </a:lnTo>
                  <a:lnTo>
                    <a:pt x="53" y="108"/>
                  </a:lnTo>
                  <a:lnTo>
                    <a:pt x="38" y="136"/>
                  </a:lnTo>
                  <a:lnTo>
                    <a:pt x="23" y="163"/>
                  </a:lnTo>
                  <a:lnTo>
                    <a:pt x="11" y="192"/>
                  </a:lnTo>
                  <a:lnTo>
                    <a:pt x="0" y="220"/>
                  </a:lnTo>
                  <a:lnTo>
                    <a:pt x="317" y="2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96" name="Freeform 2611">
              <a:extLst>
                <a:ext uri="{FF2B5EF4-FFF2-40B4-BE49-F238E27FC236}">
                  <a16:creationId xmlns:a16="http://schemas.microsoft.com/office/drawing/2014/main" id="{92CBEAC4-832E-4B6C-B4ED-FC10240EB2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6550" y="5080000"/>
              <a:ext cx="100013" cy="66675"/>
            </a:xfrm>
            <a:custGeom>
              <a:avLst/>
              <a:gdLst>
                <a:gd name="T0" fmla="*/ 316 w 316"/>
                <a:gd name="T1" fmla="*/ 214 h 214"/>
                <a:gd name="T2" fmla="*/ 303 w 316"/>
                <a:gd name="T3" fmla="*/ 193 h 214"/>
                <a:gd name="T4" fmla="*/ 289 w 316"/>
                <a:gd name="T5" fmla="*/ 174 h 214"/>
                <a:gd name="T6" fmla="*/ 273 w 316"/>
                <a:gd name="T7" fmla="*/ 155 h 214"/>
                <a:gd name="T8" fmla="*/ 257 w 316"/>
                <a:gd name="T9" fmla="*/ 136 h 214"/>
                <a:gd name="T10" fmla="*/ 240 w 316"/>
                <a:gd name="T11" fmla="*/ 119 h 214"/>
                <a:gd name="T12" fmla="*/ 222 w 316"/>
                <a:gd name="T13" fmla="*/ 103 h 214"/>
                <a:gd name="T14" fmla="*/ 203 w 316"/>
                <a:gd name="T15" fmla="*/ 88 h 214"/>
                <a:gd name="T16" fmla="*/ 183 w 316"/>
                <a:gd name="T17" fmla="*/ 73 h 214"/>
                <a:gd name="T18" fmla="*/ 162 w 316"/>
                <a:gd name="T19" fmla="*/ 59 h 214"/>
                <a:gd name="T20" fmla="*/ 141 w 316"/>
                <a:gd name="T21" fmla="*/ 47 h 214"/>
                <a:gd name="T22" fmla="*/ 119 w 316"/>
                <a:gd name="T23" fmla="*/ 36 h 214"/>
                <a:gd name="T24" fmla="*/ 96 w 316"/>
                <a:gd name="T25" fmla="*/ 26 h 214"/>
                <a:gd name="T26" fmla="*/ 73 w 316"/>
                <a:gd name="T27" fmla="*/ 18 h 214"/>
                <a:gd name="T28" fmla="*/ 49 w 316"/>
                <a:gd name="T29" fmla="*/ 11 h 214"/>
                <a:gd name="T30" fmla="*/ 24 w 316"/>
                <a:gd name="T31" fmla="*/ 4 h 214"/>
                <a:gd name="T32" fmla="*/ 0 w 316"/>
                <a:gd name="T33" fmla="*/ 0 h 214"/>
                <a:gd name="T34" fmla="*/ 19 w 316"/>
                <a:gd name="T35" fmla="*/ 25 h 214"/>
                <a:gd name="T36" fmla="*/ 38 w 316"/>
                <a:gd name="T37" fmla="*/ 51 h 214"/>
                <a:gd name="T38" fmla="*/ 54 w 316"/>
                <a:gd name="T39" fmla="*/ 78 h 214"/>
                <a:gd name="T40" fmla="*/ 70 w 316"/>
                <a:gd name="T41" fmla="*/ 104 h 214"/>
                <a:gd name="T42" fmla="*/ 84 w 316"/>
                <a:gd name="T43" fmla="*/ 131 h 214"/>
                <a:gd name="T44" fmla="*/ 96 w 316"/>
                <a:gd name="T45" fmla="*/ 158 h 214"/>
                <a:gd name="T46" fmla="*/ 108 w 316"/>
                <a:gd name="T47" fmla="*/ 186 h 214"/>
                <a:gd name="T48" fmla="*/ 118 w 316"/>
                <a:gd name="T49" fmla="*/ 214 h 214"/>
                <a:gd name="T50" fmla="*/ 316 w 316"/>
                <a:gd name="T51" fmla="*/ 21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16" h="214">
                  <a:moveTo>
                    <a:pt x="316" y="214"/>
                  </a:moveTo>
                  <a:lnTo>
                    <a:pt x="303" y="193"/>
                  </a:lnTo>
                  <a:lnTo>
                    <a:pt x="289" y="174"/>
                  </a:lnTo>
                  <a:lnTo>
                    <a:pt x="273" y="155"/>
                  </a:lnTo>
                  <a:lnTo>
                    <a:pt x="257" y="136"/>
                  </a:lnTo>
                  <a:lnTo>
                    <a:pt x="240" y="119"/>
                  </a:lnTo>
                  <a:lnTo>
                    <a:pt x="222" y="103"/>
                  </a:lnTo>
                  <a:lnTo>
                    <a:pt x="203" y="88"/>
                  </a:lnTo>
                  <a:lnTo>
                    <a:pt x="183" y="73"/>
                  </a:lnTo>
                  <a:lnTo>
                    <a:pt x="162" y="59"/>
                  </a:lnTo>
                  <a:lnTo>
                    <a:pt x="141" y="47"/>
                  </a:lnTo>
                  <a:lnTo>
                    <a:pt x="119" y="36"/>
                  </a:lnTo>
                  <a:lnTo>
                    <a:pt x="96" y="26"/>
                  </a:lnTo>
                  <a:lnTo>
                    <a:pt x="73" y="18"/>
                  </a:lnTo>
                  <a:lnTo>
                    <a:pt x="49" y="11"/>
                  </a:lnTo>
                  <a:lnTo>
                    <a:pt x="24" y="4"/>
                  </a:lnTo>
                  <a:lnTo>
                    <a:pt x="0" y="0"/>
                  </a:lnTo>
                  <a:lnTo>
                    <a:pt x="19" y="25"/>
                  </a:lnTo>
                  <a:lnTo>
                    <a:pt x="38" y="51"/>
                  </a:lnTo>
                  <a:lnTo>
                    <a:pt x="54" y="78"/>
                  </a:lnTo>
                  <a:lnTo>
                    <a:pt x="70" y="104"/>
                  </a:lnTo>
                  <a:lnTo>
                    <a:pt x="84" y="131"/>
                  </a:lnTo>
                  <a:lnTo>
                    <a:pt x="96" y="158"/>
                  </a:lnTo>
                  <a:lnTo>
                    <a:pt x="108" y="186"/>
                  </a:lnTo>
                  <a:lnTo>
                    <a:pt x="118" y="214"/>
                  </a:lnTo>
                  <a:lnTo>
                    <a:pt x="316" y="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97" name="Freeform 2612">
              <a:extLst>
                <a:ext uri="{FF2B5EF4-FFF2-40B4-BE49-F238E27FC236}">
                  <a16:creationId xmlns:a16="http://schemas.microsoft.com/office/drawing/2014/main" id="{92B37813-237D-4391-8BF1-8621594CC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07825" y="5156200"/>
              <a:ext cx="79375" cy="65088"/>
            </a:xfrm>
            <a:custGeom>
              <a:avLst/>
              <a:gdLst>
                <a:gd name="T0" fmla="*/ 205 w 252"/>
                <a:gd name="T1" fmla="*/ 0 h 203"/>
                <a:gd name="T2" fmla="*/ 0 w 252"/>
                <a:gd name="T3" fmla="*/ 0 h 203"/>
                <a:gd name="T4" fmla="*/ 6 w 252"/>
                <a:gd name="T5" fmla="*/ 24 h 203"/>
                <a:gd name="T6" fmla="*/ 12 w 252"/>
                <a:gd name="T7" fmla="*/ 50 h 203"/>
                <a:gd name="T8" fmla="*/ 16 w 252"/>
                <a:gd name="T9" fmla="*/ 75 h 203"/>
                <a:gd name="T10" fmla="*/ 20 w 252"/>
                <a:gd name="T11" fmla="*/ 100 h 203"/>
                <a:gd name="T12" fmla="*/ 23 w 252"/>
                <a:gd name="T13" fmla="*/ 126 h 203"/>
                <a:gd name="T14" fmla="*/ 24 w 252"/>
                <a:gd name="T15" fmla="*/ 151 h 203"/>
                <a:gd name="T16" fmla="*/ 24 w 252"/>
                <a:gd name="T17" fmla="*/ 176 h 203"/>
                <a:gd name="T18" fmla="*/ 24 w 252"/>
                <a:gd name="T19" fmla="*/ 203 h 203"/>
                <a:gd name="T20" fmla="*/ 252 w 252"/>
                <a:gd name="T21" fmla="*/ 203 h 203"/>
                <a:gd name="T22" fmla="*/ 252 w 252"/>
                <a:gd name="T23" fmla="*/ 200 h 203"/>
                <a:gd name="T24" fmla="*/ 252 w 252"/>
                <a:gd name="T25" fmla="*/ 199 h 203"/>
                <a:gd name="T26" fmla="*/ 251 w 252"/>
                <a:gd name="T27" fmla="*/ 173 h 203"/>
                <a:gd name="T28" fmla="*/ 249 w 252"/>
                <a:gd name="T29" fmla="*/ 147 h 203"/>
                <a:gd name="T30" fmla="*/ 245 w 252"/>
                <a:gd name="T31" fmla="*/ 120 h 203"/>
                <a:gd name="T32" fmla="*/ 240 w 252"/>
                <a:gd name="T33" fmla="*/ 95 h 203"/>
                <a:gd name="T34" fmla="*/ 233 w 252"/>
                <a:gd name="T35" fmla="*/ 71 h 203"/>
                <a:gd name="T36" fmla="*/ 226 w 252"/>
                <a:gd name="T37" fmla="*/ 46 h 203"/>
                <a:gd name="T38" fmla="*/ 216 w 252"/>
                <a:gd name="T39" fmla="*/ 23 h 203"/>
                <a:gd name="T40" fmla="*/ 205 w 252"/>
                <a:gd name="T41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2" h="203">
                  <a:moveTo>
                    <a:pt x="205" y="0"/>
                  </a:moveTo>
                  <a:lnTo>
                    <a:pt x="0" y="0"/>
                  </a:lnTo>
                  <a:lnTo>
                    <a:pt x="6" y="24"/>
                  </a:lnTo>
                  <a:lnTo>
                    <a:pt x="12" y="50"/>
                  </a:lnTo>
                  <a:lnTo>
                    <a:pt x="16" y="75"/>
                  </a:lnTo>
                  <a:lnTo>
                    <a:pt x="20" y="100"/>
                  </a:lnTo>
                  <a:lnTo>
                    <a:pt x="23" y="126"/>
                  </a:lnTo>
                  <a:lnTo>
                    <a:pt x="24" y="151"/>
                  </a:lnTo>
                  <a:lnTo>
                    <a:pt x="24" y="176"/>
                  </a:lnTo>
                  <a:lnTo>
                    <a:pt x="24" y="203"/>
                  </a:lnTo>
                  <a:lnTo>
                    <a:pt x="252" y="203"/>
                  </a:lnTo>
                  <a:lnTo>
                    <a:pt x="252" y="200"/>
                  </a:lnTo>
                  <a:lnTo>
                    <a:pt x="252" y="199"/>
                  </a:lnTo>
                  <a:lnTo>
                    <a:pt x="251" y="173"/>
                  </a:lnTo>
                  <a:lnTo>
                    <a:pt x="249" y="147"/>
                  </a:lnTo>
                  <a:lnTo>
                    <a:pt x="245" y="120"/>
                  </a:lnTo>
                  <a:lnTo>
                    <a:pt x="240" y="95"/>
                  </a:lnTo>
                  <a:lnTo>
                    <a:pt x="233" y="71"/>
                  </a:lnTo>
                  <a:lnTo>
                    <a:pt x="226" y="46"/>
                  </a:lnTo>
                  <a:lnTo>
                    <a:pt x="216" y="23"/>
                  </a:lnTo>
                  <a:lnTo>
                    <a:pt x="2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98" name="Freeform 2613">
              <a:extLst>
                <a:ext uri="{FF2B5EF4-FFF2-40B4-BE49-F238E27FC236}">
                  <a16:creationId xmlns:a16="http://schemas.microsoft.com/office/drawing/2014/main" id="{31F1F066-FE57-4AB2-AB0C-91088B4E0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963" y="5303838"/>
              <a:ext cx="95250" cy="58738"/>
            </a:xfrm>
            <a:custGeom>
              <a:avLst/>
              <a:gdLst>
                <a:gd name="T0" fmla="*/ 0 w 300"/>
                <a:gd name="T1" fmla="*/ 181 h 181"/>
                <a:gd name="T2" fmla="*/ 23 w 300"/>
                <a:gd name="T3" fmla="*/ 177 h 181"/>
                <a:gd name="T4" fmla="*/ 45 w 300"/>
                <a:gd name="T5" fmla="*/ 173 h 181"/>
                <a:gd name="T6" fmla="*/ 67 w 300"/>
                <a:gd name="T7" fmla="*/ 166 h 181"/>
                <a:gd name="T8" fmla="*/ 89 w 300"/>
                <a:gd name="T9" fmla="*/ 159 h 181"/>
                <a:gd name="T10" fmla="*/ 110 w 300"/>
                <a:gd name="T11" fmla="*/ 151 h 181"/>
                <a:gd name="T12" fmla="*/ 131 w 300"/>
                <a:gd name="T13" fmla="*/ 142 h 181"/>
                <a:gd name="T14" fmla="*/ 150 w 300"/>
                <a:gd name="T15" fmla="*/ 131 h 181"/>
                <a:gd name="T16" fmla="*/ 169 w 300"/>
                <a:gd name="T17" fmla="*/ 120 h 181"/>
                <a:gd name="T18" fmla="*/ 188 w 300"/>
                <a:gd name="T19" fmla="*/ 108 h 181"/>
                <a:gd name="T20" fmla="*/ 207 w 300"/>
                <a:gd name="T21" fmla="*/ 94 h 181"/>
                <a:gd name="T22" fmla="*/ 224 w 300"/>
                <a:gd name="T23" fmla="*/ 81 h 181"/>
                <a:gd name="T24" fmla="*/ 241 w 300"/>
                <a:gd name="T25" fmla="*/ 66 h 181"/>
                <a:gd name="T26" fmla="*/ 256 w 300"/>
                <a:gd name="T27" fmla="*/ 50 h 181"/>
                <a:gd name="T28" fmla="*/ 271 w 300"/>
                <a:gd name="T29" fmla="*/ 34 h 181"/>
                <a:gd name="T30" fmla="*/ 286 w 300"/>
                <a:gd name="T31" fmla="*/ 17 h 181"/>
                <a:gd name="T32" fmla="*/ 300 w 300"/>
                <a:gd name="T33" fmla="*/ 0 h 181"/>
                <a:gd name="T34" fmla="*/ 99 w 300"/>
                <a:gd name="T35" fmla="*/ 0 h 181"/>
                <a:gd name="T36" fmla="*/ 89 w 300"/>
                <a:gd name="T37" fmla="*/ 23 h 181"/>
                <a:gd name="T38" fmla="*/ 79 w 300"/>
                <a:gd name="T39" fmla="*/ 45 h 181"/>
                <a:gd name="T40" fmla="*/ 68 w 300"/>
                <a:gd name="T41" fmla="*/ 68 h 181"/>
                <a:gd name="T42" fmla="*/ 56 w 300"/>
                <a:gd name="T43" fmla="*/ 91 h 181"/>
                <a:gd name="T44" fmla="*/ 42 w 300"/>
                <a:gd name="T45" fmla="*/ 113 h 181"/>
                <a:gd name="T46" fmla="*/ 29 w 300"/>
                <a:gd name="T47" fmla="*/ 136 h 181"/>
                <a:gd name="T48" fmla="*/ 15 w 300"/>
                <a:gd name="T49" fmla="*/ 159 h 181"/>
                <a:gd name="T50" fmla="*/ 0 w 300"/>
                <a:gd name="T51" fmla="*/ 181 h 181"/>
                <a:gd name="T52" fmla="*/ 0 w 300"/>
                <a:gd name="T53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00" h="181">
                  <a:moveTo>
                    <a:pt x="0" y="181"/>
                  </a:moveTo>
                  <a:lnTo>
                    <a:pt x="23" y="177"/>
                  </a:lnTo>
                  <a:lnTo>
                    <a:pt x="45" y="173"/>
                  </a:lnTo>
                  <a:lnTo>
                    <a:pt x="67" y="166"/>
                  </a:lnTo>
                  <a:lnTo>
                    <a:pt x="89" y="159"/>
                  </a:lnTo>
                  <a:lnTo>
                    <a:pt x="110" y="151"/>
                  </a:lnTo>
                  <a:lnTo>
                    <a:pt x="131" y="142"/>
                  </a:lnTo>
                  <a:lnTo>
                    <a:pt x="150" y="131"/>
                  </a:lnTo>
                  <a:lnTo>
                    <a:pt x="169" y="120"/>
                  </a:lnTo>
                  <a:lnTo>
                    <a:pt x="188" y="108"/>
                  </a:lnTo>
                  <a:lnTo>
                    <a:pt x="207" y="94"/>
                  </a:lnTo>
                  <a:lnTo>
                    <a:pt x="224" y="81"/>
                  </a:lnTo>
                  <a:lnTo>
                    <a:pt x="241" y="66"/>
                  </a:lnTo>
                  <a:lnTo>
                    <a:pt x="256" y="50"/>
                  </a:lnTo>
                  <a:lnTo>
                    <a:pt x="271" y="34"/>
                  </a:lnTo>
                  <a:lnTo>
                    <a:pt x="286" y="17"/>
                  </a:lnTo>
                  <a:lnTo>
                    <a:pt x="300" y="0"/>
                  </a:lnTo>
                  <a:lnTo>
                    <a:pt x="99" y="0"/>
                  </a:lnTo>
                  <a:lnTo>
                    <a:pt x="89" y="23"/>
                  </a:lnTo>
                  <a:lnTo>
                    <a:pt x="79" y="45"/>
                  </a:lnTo>
                  <a:lnTo>
                    <a:pt x="68" y="68"/>
                  </a:lnTo>
                  <a:lnTo>
                    <a:pt x="56" y="91"/>
                  </a:lnTo>
                  <a:lnTo>
                    <a:pt x="42" y="113"/>
                  </a:lnTo>
                  <a:lnTo>
                    <a:pt x="29" y="136"/>
                  </a:lnTo>
                  <a:lnTo>
                    <a:pt x="15" y="159"/>
                  </a:lnTo>
                  <a:lnTo>
                    <a:pt x="0" y="181"/>
                  </a:lnTo>
                  <a:lnTo>
                    <a:pt x="0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99" name="Freeform 2614">
              <a:extLst>
                <a:ext uri="{FF2B5EF4-FFF2-40B4-BE49-F238E27FC236}">
                  <a16:creationId xmlns:a16="http://schemas.microsoft.com/office/drawing/2014/main" id="{2170ADA9-5608-4980-BA23-04784B0272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8438" y="5303838"/>
              <a:ext cx="95250" cy="58738"/>
            </a:xfrm>
            <a:custGeom>
              <a:avLst/>
              <a:gdLst>
                <a:gd name="T0" fmla="*/ 0 w 299"/>
                <a:gd name="T1" fmla="*/ 0 h 181"/>
                <a:gd name="T2" fmla="*/ 14 w 299"/>
                <a:gd name="T3" fmla="*/ 17 h 181"/>
                <a:gd name="T4" fmla="*/ 28 w 299"/>
                <a:gd name="T5" fmla="*/ 34 h 181"/>
                <a:gd name="T6" fmla="*/ 43 w 299"/>
                <a:gd name="T7" fmla="*/ 50 h 181"/>
                <a:gd name="T8" fmla="*/ 59 w 299"/>
                <a:gd name="T9" fmla="*/ 66 h 181"/>
                <a:gd name="T10" fmla="*/ 76 w 299"/>
                <a:gd name="T11" fmla="*/ 81 h 181"/>
                <a:gd name="T12" fmla="*/ 93 w 299"/>
                <a:gd name="T13" fmla="*/ 95 h 181"/>
                <a:gd name="T14" fmla="*/ 112 w 299"/>
                <a:gd name="T15" fmla="*/ 108 h 181"/>
                <a:gd name="T16" fmla="*/ 130 w 299"/>
                <a:gd name="T17" fmla="*/ 121 h 181"/>
                <a:gd name="T18" fmla="*/ 149 w 299"/>
                <a:gd name="T19" fmla="*/ 132 h 181"/>
                <a:gd name="T20" fmla="*/ 169 w 299"/>
                <a:gd name="T21" fmla="*/ 142 h 181"/>
                <a:gd name="T22" fmla="*/ 190 w 299"/>
                <a:gd name="T23" fmla="*/ 152 h 181"/>
                <a:gd name="T24" fmla="*/ 211 w 299"/>
                <a:gd name="T25" fmla="*/ 159 h 181"/>
                <a:gd name="T26" fmla="*/ 232 w 299"/>
                <a:gd name="T27" fmla="*/ 167 h 181"/>
                <a:gd name="T28" fmla="*/ 254 w 299"/>
                <a:gd name="T29" fmla="*/ 173 h 181"/>
                <a:gd name="T30" fmla="*/ 276 w 299"/>
                <a:gd name="T31" fmla="*/ 178 h 181"/>
                <a:gd name="T32" fmla="*/ 299 w 299"/>
                <a:gd name="T33" fmla="*/ 181 h 181"/>
                <a:gd name="T34" fmla="*/ 283 w 299"/>
                <a:gd name="T35" fmla="*/ 159 h 181"/>
                <a:gd name="T36" fmla="*/ 269 w 299"/>
                <a:gd name="T37" fmla="*/ 136 h 181"/>
                <a:gd name="T38" fmla="*/ 256 w 299"/>
                <a:gd name="T39" fmla="*/ 113 h 181"/>
                <a:gd name="T40" fmla="*/ 243 w 299"/>
                <a:gd name="T41" fmla="*/ 91 h 181"/>
                <a:gd name="T42" fmla="*/ 231 w 299"/>
                <a:gd name="T43" fmla="*/ 68 h 181"/>
                <a:gd name="T44" fmla="*/ 220 w 299"/>
                <a:gd name="T45" fmla="*/ 45 h 181"/>
                <a:gd name="T46" fmla="*/ 210 w 299"/>
                <a:gd name="T47" fmla="*/ 23 h 181"/>
                <a:gd name="T48" fmla="*/ 200 w 299"/>
                <a:gd name="T49" fmla="*/ 0 h 181"/>
                <a:gd name="T50" fmla="*/ 0 w 299"/>
                <a:gd name="T5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99" h="181">
                  <a:moveTo>
                    <a:pt x="0" y="0"/>
                  </a:moveTo>
                  <a:lnTo>
                    <a:pt x="14" y="17"/>
                  </a:lnTo>
                  <a:lnTo>
                    <a:pt x="28" y="34"/>
                  </a:lnTo>
                  <a:lnTo>
                    <a:pt x="43" y="50"/>
                  </a:lnTo>
                  <a:lnTo>
                    <a:pt x="59" y="66"/>
                  </a:lnTo>
                  <a:lnTo>
                    <a:pt x="76" y="81"/>
                  </a:lnTo>
                  <a:lnTo>
                    <a:pt x="93" y="95"/>
                  </a:lnTo>
                  <a:lnTo>
                    <a:pt x="112" y="108"/>
                  </a:lnTo>
                  <a:lnTo>
                    <a:pt x="130" y="121"/>
                  </a:lnTo>
                  <a:lnTo>
                    <a:pt x="149" y="132"/>
                  </a:lnTo>
                  <a:lnTo>
                    <a:pt x="169" y="142"/>
                  </a:lnTo>
                  <a:lnTo>
                    <a:pt x="190" y="152"/>
                  </a:lnTo>
                  <a:lnTo>
                    <a:pt x="211" y="159"/>
                  </a:lnTo>
                  <a:lnTo>
                    <a:pt x="232" y="167"/>
                  </a:lnTo>
                  <a:lnTo>
                    <a:pt x="254" y="173"/>
                  </a:lnTo>
                  <a:lnTo>
                    <a:pt x="276" y="178"/>
                  </a:lnTo>
                  <a:lnTo>
                    <a:pt x="299" y="181"/>
                  </a:lnTo>
                  <a:lnTo>
                    <a:pt x="283" y="159"/>
                  </a:lnTo>
                  <a:lnTo>
                    <a:pt x="269" y="136"/>
                  </a:lnTo>
                  <a:lnTo>
                    <a:pt x="256" y="113"/>
                  </a:lnTo>
                  <a:lnTo>
                    <a:pt x="243" y="91"/>
                  </a:lnTo>
                  <a:lnTo>
                    <a:pt x="231" y="68"/>
                  </a:lnTo>
                  <a:lnTo>
                    <a:pt x="220" y="45"/>
                  </a:lnTo>
                  <a:lnTo>
                    <a:pt x="210" y="23"/>
                  </a:lnTo>
                  <a:lnTo>
                    <a:pt x="20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100" name="Freeform 2615">
              <a:extLst>
                <a:ext uri="{FF2B5EF4-FFF2-40B4-BE49-F238E27FC236}">
                  <a16:creationId xmlns:a16="http://schemas.microsoft.com/office/drawing/2014/main" id="{755DB173-964B-4060-AFC5-A8964B980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01450" y="5230813"/>
              <a:ext cx="87313" cy="63500"/>
            </a:xfrm>
            <a:custGeom>
              <a:avLst/>
              <a:gdLst>
                <a:gd name="T0" fmla="*/ 229 w 275"/>
                <a:gd name="T1" fmla="*/ 0 h 202"/>
                <a:gd name="T2" fmla="*/ 0 w 275"/>
                <a:gd name="T3" fmla="*/ 0 h 202"/>
                <a:gd name="T4" fmla="*/ 4 w 275"/>
                <a:gd name="T5" fmla="*/ 28 h 202"/>
                <a:gd name="T6" fmla="*/ 9 w 275"/>
                <a:gd name="T7" fmla="*/ 54 h 202"/>
                <a:gd name="T8" fmla="*/ 15 w 275"/>
                <a:gd name="T9" fmla="*/ 81 h 202"/>
                <a:gd name="T10" fmla="*/ 22 w 275"/>
                <a:gd name="T11" fmla="*/ 106 h 202"/>
                <a:gd name="T12" fmla="*/ 32 w 275"/>
                <a:gd name="T13" fmla="*/ 131 h 202"/>
                <a:gd name="T14" fmla="*/ 42 w 275"/>
                <a:gd name="T15" fmla="*/ 156 h 202"/>
                <a:gd name="T16" fmla="*/ 54 w 275"/>
                <a:gd name="T17" fmla="*/ 180 h 202"/>
                <a:gd name="T18" fmla="*/ 68 w 275"/>
                <a:gd name="T19" fmla="*/ 202 h 202"/>
                <a:gd name="T20" fmla="*/ 275 w 275"/>
                <a:gd name="T21" fmla="*/ 202 h 202"/>
                <a:gd name="T22" fmla="*/ 266 w 275"/>
                <a:gd name="T23" fmla="*/ 177 h 202"/>
                <a:gd name="T24" fmla="*/ 258 w 275"/>
                <a:gd name="T25" fmla="*/ 151 h 202"/>
                <a:gd name="T26" fmla="*/ 250 w 275"/>
                <a:gd name="T27" fmla="*/ 126 h 202"/>
                <a:gd name="T28" fmla="*/ 245 w 275"/>
                <a:gd name="T29" fmla="*/ 101 h 202"/>
                <a:gd name="T30" fmla="*/ 239 w 275"/>
                <a:gd name="T31" fmla="*/ 75 h 202"/>
                <a:gd name="T32" fmla="*/ 235 w 275"/>
                <a:gd name="T33" fmla="*/ 51 h 202"/>
                <a:gd name="T34" fmla="*/ 232 w 275"/>
                <a:gd name="T35" fmla="*/ 26 h 202"/>
                <a:gd name="T36" fmla="*/ 229 w 275"/>
                <a:gd name="T37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5" h="202">
                  <a:moveTo>
                    <a:pt x="229" y="0"/>
                  </a:moveTo>
                  <a:lnTo>
                    <a:pt x="0" y="0"/>
                  </a:lnTo>
                  <a:lnTo>
                    <a:pt x="4" y="28"/>
                  </a:lnTo>
                  <a:lnTo>
                    <a:pt x="9" y="54"/>
                  </a:lnTo>
                  <a:lnTo>
                    <a:pt x="15" y="81"/>
                  </a:lnTo>
                  <a:lnTo>
                    <a:pt x="22" y="106"/>
                  </a:lnTo>
                  <a:lnTo>
                    <a:pt x="32" y="131"/>
                  </a:lnTo>
                  <a:lnTo>
                    <a:pt x="42" y="156"/>
                  </a:lnTo>
                  <a:lnTo>
                    <a:pt x="54" y="180"/>
                  </a:lnTo>
                  <a:lnTo>
                    <a:pt x="68" y="202"/>
                  </a:lnTo>
                  <a:lnTo>
                    <a:pt x="275" y="202"/>
                  </a:lnTo>
                  <a:lnTo>
                    <a:pt x="266" y="177"/>
                  </a:lnTo>
                  <a:lnTo>
                    <a:pt x="258" y="151"/>
                  </a:lnTo>
                  <a:lnTo>
                    <a:pt x="250" y="126"/>
                  </a:lnTo>
                  <a:lnTo>
                    <a:pt x="245" y="101"/>
                  </a:lnTo>
                  <a:lnTo>
                    <a:pt x="239" y="75"/>
                  </a:lnTo>
                  <a:lnTo>
                    <a:pt x="235" y="51"/>
                  </a:lnTo>
                  <a:lnTo>
                    <a:pt x="232" y="26"/>
                  </a:lnTo>
                  <a:lnTo>
                    <a:pt x="2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101" name="Freeform 2616">
              <a:extLst>
                <a:ext uri="{FF2B5EF4-FFF2-40B4-BE49-F238E27FC236}">
                  <a16:creationId xmlns:a16="http://schemas.microsoft.com/office/drawing/2014/main" id="{8D565391-949E-4CF2-B17B-28DC283F1F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01450" y="5156200"/>
              <a:ext cx="79375" cy="65088"/>
            </a:xfrm>
            <a:custGeom>
              <a:avLst/>
              <a:gdLst>
                <a:gd name="T0" fmla="*/ 252 w 252"/>
                <a:gd name="T1" fmla="*/ 0 h 203"/>
                <a:gd name="T2" fmla="*/ 42 w 252"/>
                <a:gd name="T3" fmla="*/ 0 h 203"/>
                <a:gd name="T4" fmla="*/ 33 w 252"/>
                <a:gd name="T5" fmla="*/ 22 h 203"/>
                <a:gd name="T6" fmla="*/ 25 w 252"/>
                <a:gd name="T7" fmla="*/ 44 h 203"/>
                <a:gd name="T8" fmla="*/ 17 w 252"/>
                <a:gd name="T9" fmla="*/ 67 h 203"/>
                <a:gd name="T10" fmla="*/ 11 w 252"/>
                <a:gd name="T11" fmla="*/ 91 h 203"/>
                <a:gd name="T12" fmla="*/ 6 w 252"/>
                <a:gd name="T13" fmla="*/ 116 h 203"/>
                <a:gd name="T14" fmla="*/ 3 w 252"/>
                <a:gd name="T15" fmla="*/ 140 h 203"/>
                <a:gd name="T16" fmla="*/ 0 w 252"/>
                <a:gd name="T17" fmla="*/ 165 h 203"/>
                <a:gd name="T18" fmla="*/ 0 w 252"/>
                <a:gd name="T19" fmla="*/ 192 h 203"/>
                <a:gd name="T20" fmla="*/ 0 w 252"/>
                <a:gd name="T21" fmla="*/ 197 h 203"/>
                <a:gd name="T22" fmla="*/ 0 w 252"/>
                <a:gd name="T23" fmla="*/ 203 h 203"/>
                <a:gd name="T24" fmla="*/ 228 w 252"/>
                <a:gd name="T25" fmla="*/ 203 h 203"/>
                <a:gd name="T26" fmla="*/ 228 w 252"/>
                <a:gd name="T27" fmla="*/ 176 h 203"/>
                <a:gd name="T28" fmla="*/ 228 w 252"/>
                <a:gd name="T29" fmla="*/ 151 h 203"/>
                <a:gd name="T30" fmla="*/ 229 w 252"/>
                <a:gd name="T31" fmla="*/ 126 h 203"/>
                <a:gd name="T32" fmla="*/ 233 w 252"/>
                <a:gd name="T33" fmla="*/ 100 h 203"/>
                <a:gd name="T34" fmla="*/ 236 w 252"/>
                <a:gd name="T35" fmla="*/ 75 h 203"/>
                <a:gd name="T36" fmla="*/ 240 w 252"/>
                <a:gd name="T37" fmla="*/ 50 h 203"/>
                <a:gd name="T38" fmla="*/ 246 w 252"/>
                <a:gd name="T39" fmla="*/ 24 h 203"/>
                <a:gd name="T40" fmla="*/ 252 w 252"/>
                <a:gd name="T41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2" h="203">
                  <a:moveTo>
                    <a:pt x="252" y="0"/>
                  </a:moveTo>
                  <a:lnTo>
                    <a:pt x="42" y="0"/>
                  </a:lnTo>
                  <a:lnTo>
                    <a:pt x="33" y="22"/>
                  </a:lnTo>
                  <a:lnTo>
                    <a:pt x="25" y="44"/>
                  </a:lnTo>
                  <a:lnTo>
                    <a:pt x="17" y="67"/>
                  </a:lnTo>
                  <a:lnTo>
                    <a:pt x="11" y="91"/>
                  </a:lnTo>
                  <a:lnTo>
                    <a:pt x="6" y="116"/>
                  </a:lnTo>
                  <a:lnTo>
                    <a:pt x="3" y="140"/>
                  </a:lnTo>
                  <a:lnTo>
                    <a:pt x="0" y="165"/>
                  </a:lnTo>
                  <a:lnTo>
                    <a:pt x="0" y="192"/>
                  </a:lnTo>
                  <a:lnTo>
                    <a:pt x="0" y="197"/>
                  </a:lnTo>
                  <a:lnTo>
                    <a:pt x="0" y="203"/>
                  </a:lnTo>
                  <a:lnTo>
                    <a:pt x="228" y="203"/>
                  </a:lnTo>
                  <a:lnTo>
                    <a:pt x="228" y="176"/>
                  </a:lnTo>
                  <a:lnTo>
                    <a:pt x="228" y="151"/>
                  </a:lnTo>
                  <a:lnTo>
                    <a:pt x="229" y="126"/>
                  </a:lnTo>
                  <a:lnTo>
                    <a:pt x="233" y="100"/>
                  </a:lnTo>
                  <a:lnTo>
                    <a:pt x="236" y="75"/>
                  </a:lnTo>
                  <a:lnTo>
                    <a:pt x="240" y="50"/>
                  </a:lnTo>
                  <a:lnTo>
                    <a:pt x="246" y="24"/>
                  </a:lnTo>
                  <a:lnTo>
                    <a:pt x="25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102" name="Freeform 2617">
              <a:extLst>
                <a:ext uri="{FF2B5EF4-FFF2-40B4-BE49-F238E27FC236}">
                  <a16:creationId xmlns:a16="http://schemas.microsoft.com/office/drawing/2014/main" id="{7BEF6694-5F31-424E-AB8A-FA7D2EB312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0500" y="5080000"/>
              <a:ext cx="101600" cy="66675"/>
            </a:xfrm>
            <a:custGeom>
              <a:avLst/>
              <a:gdLst>
                <a:gd name="T0" fmla="*/ 321 w 321"/>
                <a:gd name="T1" fmla="*/ 0 h 214"/>
                <a:gd name="T2" fmla="*/ 295 w 321"/>
                <a:gd name="T3" fmla="*/ 4 h 214"/>
                <a:gd name="T4" fmla="*/ 269 w 321"/>
                <a:gd name="T5" fmla="*/ 10 h 214"/>
                <a:gd name="T6" fmla="*/ 245 w 321"/>
                <a:gd name="T7" fmla="*/ 17 h 214"/>
                <a:gd name="T8" fmla="*/ 221 w 321"/>
                <a:gd name="T9" fmla="*/ 26 h 214"/>
                <a:gd name="T10" fmla="*/ 198 w 321"/>
                <a:gd name="T11" fmla="*/ 36 h 214"/>
                <a:gd name="T12" fmla="*/ 175 w 321"/>
                <a:gd name="T13" fmla="*/ 46 h 214"/>
                <a:gd name="T14" fmla="*/ 153 w 321"/>
                <a:gd name="T15" fmla="*/ 59 h 214"/>
                <a:gd name="T16" fmla="*/ 132 w 321"/>
                <a:gd name="T17" fmla="*/ 72 h 214"/>
                <a:gd name="T18" fmla="*/ 112 w 321"/>
                <a:gd name="T19" fmla="*/ 87 h 214"/>
                <a:gd name="T20" fmla="*/ 93 w 321"/>
                <a:gd name="T21" fmla="*/ 102 h 214"/>
                <a:gd name="T22" fmla="*/ 75 w 321"/>
                <a:gd name="T23" fmla="*/ 119 h 214"/>
                <a:gd name="T24" fmla="*/ 58 w 321"/>
                <a:gd name="T25" fmla="*/ 135 h 214"/>
                <a:gd name="T26" fmla="*/ 42 w 321"/>
                <a:gd name="T27" fmla="*/ 154 h 214"/>
                <a:gd name="T28" fmla="*/ 26 w 321"/>
                <a:gd name="T29" fmla="*/ 174 h 214"/>
                <a:gd name="T30" fmla="*/ 12 w 321"/>
                <a:gd name="T31" fmla="*/ 193 h 214"/>
                <a:gd name="T32" fmla="*/ 0 w 321"/>
                <a:gd name="T33" fmla="*/ 214 h 214"/>
                <a:gd name="T34" fmla="*/ 202 w 321"/>
                <a:gd name="T35" fmla="*/ 214 h 214"/>
                <a:gd name="T36" fmla="*/ 213 w 321"/>
                <a:gd name="T37" fmla="*/ 186 h 214"/>
                <a:gd name="T38" fmla="*/ 224 w 321"/>
                <a:gd name="T39" fmla="*/ 158 h 214"/>
                <a:gd name="T40" fmla="*/ 238 w 321"/>
                <a:gd name="T41" fmla="*/ 131 h 214"/>
                <a:gd name="T42" fmla="*/ 251 w 321"/>
                <a:gd name="T43" fmla="*/ 104 h 214"/>
                <a:gd name="T44" fmla="*/ 266 w 321"/>
                <a:gd name="T45" fmla="*/ 77 h 214"/>
                <a:gd name="T46" fmla="*/ 284 w 321"/>
                <a:gd name="T47" fmla="*/ 50 h 214"/>
                <a:gd name="T48" fmla="*/ 301 w 321"/>
                <a:gd name="T49" fmla="*/ 25 h 214"/>
                <a:gd name="T50" fmla="*/ 321 w 321"/>
                <a:gd name="T51" fmla="*/ 0 h 214"/>
                <a:gd name="T52" fmla="*/ 321 w 321"/>
                <a:gd name="T53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1" h="214">
                  <a:moveTo>
                    <a:pt x="321" y="0"/>
                  </a:moveTo>
                  <a:lnTo>
                    <a:pt x="295" y="4"/>
                  </a:lnTo>
                  <a:lnTo>
                    <a:pt x="269" y="10"/>
                  </a:lnTo>
                  <a:lnTo>
                    <a:pt x="245" y="17"/>
                  </a:lnTo>
                  <a:lnTo>
                    <a:pt x="221" y="26"/>
                  </a:lnTo>
                  <a:lnTo>
                    <a:pt x="198" y="36"/>
                  </a:lnTo>
                  <a:lnTo>
                    <a:pt x="175" y="46"/>
                  </a:lnTo>
                  <a:lnTo>
                    <a:pt x="153" y="59"/>
                  </a:lnTo>
                  <a:lnTo>
                    <a:pt x="132" y="72"/>
                  </a:lnTo>
                  <a:lnTo>
                    <a:pt x="112" y="87"/>
                  </a:lnTo>
                  <a:lnTo>
                    <a:pt x="93" y="102"/>
                  </a:lnTo>
                  <a:lnTo>
                    <a:pt x="75" y="119"/>
                  </a:lnTo>
                  <a:lnTo>
                    <a:pt x="58" y="135"/>
                  </a:lnTo>
                  <a:lnTo>
                    <a:pt x="42" y="154"/>
                  </a:lnTo>
                  <a:lnTo>
                    <a:pt x="26" y="174"/>
                  </a:lnTo>
                  <a:lnTo>
                    <a:pt x="12" y="193"/>
                  </a:lnTo>
                  <a:lnTo>
                    <a:pt x="0" y="214"/>
                  </a:lnTo>
                  <a:lnTo>
                    <a:pt x="202" y="214"/>
                  </a:lnTo>
                  <a:lnTo>
                    <a:pt x="213" y="186"/>
                  </a:lnTo>
                  <a:lnTo>
                    <a:pt x="224" y="158"/>
                  </a:lnTo>
                  <a:lnTo>
                    <a:pt x="238" y="131"/>
                  </a:lnTo>
                  <a:lnTo>
                    <a:pt x="251" y="104"/>
                  </a:lnTo>
                  <a:lnTo>
                    <a:pt x="266" y="77"/>
                  </a:lnTo>
                  <a:lnTo>
                    <a:pt x="284" y="50"/>
                  </a:lnTo>
                  <a:lnTo>
                    <a:pt x="301" y="25"/>
                  </a:lnTo>
                  <a:lnTo>
                    <a:pt x="321" y="0"/>
                  </a:lnTo>
                  <a:lnTo>
                    <a:pt x="32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</p:grpSp>
      <p:sp>
        <p:nvSpPr>
          <p:cNvPr id="106" name="TextBox 105">
            <a:extLst>
              <a:ext uri="{FF2B5EF4-FFF2-40B4-BE49-F238E27FC236}">
                <a16:creationId xmlns:a16="http://schemas.microsoft.com/office/drawing/2014/main" id="{3EB59F30-94E5-4B4C-B2B3-AB8F16A079CD}"/>
              </a:ext>
            </a:extLst>
          </p:cNvPr>
          <p:cNvSpPr txBox="1"/>
          <p:nvPr/>
        </p:nvSpPr>
        <p:spPr>
          <a:xfrm>
            <a:off x="2925592" y="2609793"/>
            <a:ext cx="1037498" cy="248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13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ТЖ</a:t>
            </a:r>
            <a:endParaRPr lang="ru-KZ" sz="1013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20" name="Группа 119">
            <a:extLst>
              <a:ext uri="{FF2B5EF4-FFF2-40B4-BE49-F238E27FC236}">
                <a16:creationId xmlns:a16="http://schemas.microsoft.com/office/drawing/2014/main" id="{044CFE5A-4583-4D92-8D66-A9A5C37D0A58}"/>
              </a:ext>
            </a:extLst>
          </p:cNvPr>
          <p:cNvGrpSpPr/>
          <p:nvPr/>
        </p:nvGrpSpPr>
        <p:grpSpPr>
          <a:xfrm>
            <a:off x="4713296" y="3663832"/>
            <a:ext cx="2029021" cy="998961"/>
            <a:chOff x="5699570" y="925512"/>
            <a:chExt cx="1454311" cy="787400"/>
          </a:xfrm>
        </p:grpSpPr>
        <p:sp>
          <p:nvSpPr>
            <p:cNvPr id="67" name="Freeform 71">
              <a:extLst>
                <a:ext uri="{FF2B5EF4-FFF2-40B4-BE49-F238E27FC236}">
                  <a16:creationId xmlns:a16="http://schemas.microsoft.com/office/drawing/2014/main" id="{6D8306A4-CDAB-4C6A-B59F-33E7F0F2B6E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9570" y="925512"/>
              <a:ext cx="787400" cy="787400"/>
            </a:xfrm>
            <a:custGeom>
              <a:avLst/>
              <a:gdLst>
                <a:gd name="T0" fmla="*/ 62 w 510"/>
                <a:gd name="T1" fmla="*/ 367 h 510"/>
                <a:gd name="T2" fmla="*/ 144 w 510"/>
                <a:gd name="T3" fmla="*/ 62 h 510"/>
                <a:gd name="T4" fmla="*/ 449 w 510"/>
                <a:gd name="T5" fmla="*/ 144 h 510"/>
                <a:gd name="T6" fmla="*/ 367 w 510"/>
                <a:gd name="T7" fmla="*/ 449 h 510"/>
                <a:gd name="T8" fmla="*/ 62 w 510"/>
                <a:gd name="T9" fmla="*/ 36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0" h="510">
                  <a:moveTo>
                    <a:pt x="62" y="367"/>
                  </a:moveTo>
                  <a:cubicBezTo>
                    <a:pt x="0" y="260"/>
                    <a:pt x="37" y="124"/>
                    <a:pt x="144" y="62"/>
                  </a:cubicBezTo>
                  <a:cubicBezTo>
                    <a:pt x="250" y="0"/>
                    <a:pt x="387" y="37"/>
                    <a:pt x="449" y="144"/>
                  </a:cubicBezTo>
                  <a:cubicBezTo>
                    <a:pt x="510" y="251"/>
                    <a:pt x="474" y="387"/>
                    <a:pt x="367" y="449"/>
                  </a:cubicBezTo>
                  <a:cubicBezTo>
                    <a:pt x="260" y="510"/>
                    <a:pt x="124" y="474"/>
                    <a:pt x="62" y="367"/>
                  </a:cubicBezTo>
                  <a:close/>
                </a:path>
              </a:pathLst>
            </a:custGeom>
            <a:noFill/>
            <a:ln w="19050">
              <a:solidFill>
                <a:schemeClr val="bg1"/>
              </a:solidFill>
            </a:ln>
            <a:effectLst/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C5F89707-BF47-4261-A4A5-1091191EDAB1}"/>
                </a:ext>
              </a:extLst>
            </p:cNvPr>
            <p:cNvSpPr txBox="1"/>
            <p:nvPr/>
          </p:nvSpPr>
          <p:spPr>
            <a:xfrm>
              <a:off x="5871282" y="1215333"/>
              <a:ext cx="1282599" cy="1819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0 003</a:t>
              </a:r>
              <a:endParaRPr lang="ru-KZ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38" name="Freeform 83">
            <a:extLst>
              <a:ext uri="{FF2B5EF4-FFF2-40B4-BE49-F238E27FC236}">
                <a16:creationId xmlns:a16="http://schemas.microsoft.com/office/drawing/2014/main" id="{6DD21B9C-C733-4A8B-B155-0BE5199ED830}"/>
              </a:ext>
            </a:extLst>
          </p:cNvPr>
          <p:cNvSpPr>
            <a:spLocks noEditPoints="1"/>
          </p:cNvSpPr>
          <p:nvPr/>
        </p:nvSpPr>
        <p:spPr bwMode="auto">
          <a:xfrm rot="5400000" flipV="1">
            <a:off x="3260122" y="5488758"/>
            <a:ext cx="399158" cy="60471"/>
          </a:xfrm>
          <a:custGeom>
            <a:avLst/>
            <a:gdLst>
              <a:gd name="T0" fmla="*/ 43 w 518"/>
              <a:gd name="T1" fmla="*/ 66 h 74"/>
              <a:gd name="T2" fmla="*/ 49 w 518"/>
              <a:gd name="T3" fmla="*/ 65 h 74"/>
              <a:gd name="T4" fmla="*/ 54 w 518"/>
              <a:gd name="T5" fmla="*/ 62 h 74"/>
              <a:gd name="T6" fmla="*/ 59 w 518"/>
              <a:gd name="T7" fmla="*/ 58 h 74"/>
              <a:gd name="T8" fmla="*/ 63 w 518"/>
              <a:gd name="T9" fmla="*/ 54 h 74"/>
              <a:gd name="T10" fmla="*/ 66 w 518"/>
              <a:gd name="T11" fmla="*/ 48 h 74"/>
              <a:gd name="T12" fmla="*/ 68 w 518"/>
              <a:gd name="T13" fmla="*/ 43 h 74"/>
              <a:gd name="T14" fmla="*/ 68 w 518"/>
              <a:gd name="T15" fmla="*/ 37 h 74"/>
              <a:gd name="T16" fmla="*/ 68 w 518"/>
              <a:gd name="T17" fmla="*/ 30 h 74"/>
              <a:gd name="T18" fmla="*/ 66 w 518"/>
              <a:gd name="T19" fmla="*/ 25 h 74"/>
              <a:gd name="T20" fmla="*/ 62 w 518"/>
              <a:gd name="T21" fmla="*/ 20 h 74"/>
              <a:gd name="T22" fmla="*/ 59 w 518"/>
              <a:gd name="T23" fmla="*/ 16 h 74"/>
              <a:gd name="T24" fmla="*/ 54 w 518"/>
              <a:gd name="T25" fmla="*/ 12 h 74"/>
              <a:gd name="T26" fmla="*/ 49 w 518"/>
              <a:gd name="T27" fmla="*/ 9 h 74"/>
              <a:gd name="T28" fmla="*/ 43 w 518"/>
              <a:gd name="T29" fmla="*/ 8 h 74"/>
              <a:gd name="T30" fmla="*/ 36 w 518"/>
              <a:gd name="T31" fmla="*/ 8 h 74"/>
              <a:gd name="T32" fmla="*/ 31 w 518"/>
              <a:gd name="T33" fmla="*/ 9 h 74"/>
              <a:gd name="T34" fmla="*/ 25 w 518"/>
              <a:gd name="T35" fmla="*/ 11 h 74"/>
              <a:gd name="T36" fmla="*/ 21 w 518"/>
              <a:gd name="T37" fmla="*/ 13 h 74"/>
              <a:gd name="T38" fmla="*/ 16 w 518"/>
              <a:gd name="T39" fmla="*/ 18 h 74"/>
              <a:gd name="T40" fmla="*/ 13 w 518"/>
              <a:gd name="T41" fmla="*/ 22 h 74"/>
              <a:gd name="T42" fmla="*/ 10 w 518"/>
              <a:gd name="T43" fmla="*/ 28 h 74"/>
              <a:gd name="T44" fmla="*/ 9 w 518"/>
              <a:gd name="T45" fmla="*/ 34 h 74"/>
              <a:gd name="T46" fmla="*/ 9 w 518"/>
              <a:gd name="T47" fmla="*/ 40 h 74"/>
              <a:gd name="T48" fmla="*/ 10 w 518"/>
              <a:gd name="T49" fmla="*/ 46 h 74"/>
              <a:gd name="T50" fmla="*/ 13 w 518"/>
              <a:gd name="T51" fmla="*/ 52 h 74"/>
              <a:gd name="T52" fmla="*/ 16 w 518"/>
              <a:gd name="T53" fmla="*/ 56 h 74"/>
              <a:gd name="T54" fmla="*/ 21 w 518"/>
              <a:gd name="T55" fmla="*/ 61 h 74"/>
              <a:gd name="T56" fmla="*/ 25 w 518"/>
              <a:gd name="T57" fmla="*/ 64 h 74"/>
              <a:gd name="T58" fmla="*/ 31 w 518"/>
              <a:gd name="T59" fmla="*/ 66 h 74"/>
              <a:gd name="T60" fmla="*/ 37 w 518"/>
              <a:gd name="T61" fmla="*/ 66 h 74"/>
              <a:gd name="T62" fmla="*/ 76 w 518"/>
              <a:gd name="T63" fmla="*/ 43 h 74"/>
              <a:gd name="T64" fmla="*/ 73 w 518"/>
              <a:gd name="T65" fmla="*/ 50 h 74"/>
              <a:gd name="T66" fmla="*/ 70 w 518"/>
              <a:gd name="T67" fmla="*/ 57 h 74"/>
              <a:gd name="T68" fmla="*/ 66 w 518"/>
              <a:gd name="T69" fmla="*/ 63 h 74"/>
              <a:gd name="T70" fmla="*/ 60 w 518"/>
              <a:gd name="T71" fmla="*/ 67 h 74"/>
              <a:gd name="T72" fmla="*/ 54 w 518"/>
              <a:gd name="T73" fmla="*/ 72 h 74"/>
              <a:gd name="T74" fmla="*/ 46 w 518"/>
              <a:gd name="T75" fmla="*/ 74 h 74"/>
              <a:gd name="T76" fmla="*/ 39 w 518"/>
              <a:gd name="T77" fmla="*/ 74 h 74"/>
              <a:gd name="T78" fmla="*/ 31 w 518"/>
              <a:gd name="T79" fmla="*/ 74 h 74"/>
              <a:gd name="T80" fmla="*/ 24 w 518"/>
              <a:gd name="T81" fmla="*/ 72 h 74"/>
              <a:gd name="T82" fmla="*/ 17 w 518"/>
              <a:gd name="T83" fmla="*/ 68 h 74"/>
              <a:gd name="T84" fmla="*/ 12 w 518"/>
              <a:gd name="T85" fmla="*/ 63 h 74"/>
              <a:gd name="T86" fmla="*/ 7 w 518"/>
              <a:gd name="T87" fmla="*/ 57 h 74"/>
              <a:gd name="T88" fmla="*/ 4 w 518"/>
              <a:gd name="T89" fmla="*/ 50 h 74"/>
              <a:gd name="T90" fmla="*/ 1 w 518"/>
              <a:gd name="T91" fmla="*/ 44 h 74"/>
              <a:gd name="T92" fmla="*/ 0 w 518"/>
              <a:gd name="T93" fmla="*/ 36 h 74"/>
              <a:gd name="T94" fmla="*/ 1 w 518"/>
              <a:gd name="T95" fmla="*/ 28 h 74"/>
              <a:gd name="T96" fmla="*/ 5 w 518"/>
              <a:gd name="T97" fmla="*/ 21 h 74"/>
              <a:gd name="T98" fmla="*/ 8 w 518"/>
              <a:gd name="T99" fmla="*/ 14 h 74"/>
              <a:gd name="T100" fmla="*/ 14 w 518"/>
              <a:gd name="T101" fmla="*/ 9 h 74"/>
              <a:gd name="T102" fmla="*/ 19 w 518"/>
              <a:gd name="T103" fmla="*/ 4 h 74"/>
              <a:gd name="T104" fmla="*/ 26 w 518"/>
              <a:gd name="T105" fmla="*/ 1 h 74"/>
              <a:gd name="T106" fmla="*/ 34 w 518"/>
              <a:gd name="T107" fmla="*/ 0 h 74"/>
              <a:gd name="T108" fmla="*/ 42 w 518"/>
              <a:gd name="T109" fmla="*/ 0 h 74"/>
              <a:gd name="T110" fmla="*/ 50 w 518"/>
              <a:gd name="T111" fmla="*/ 1 h 74"/>
              <a:gd name="T112" fmla="*/ 57 w 518"/>
              <a:gd name="T113" fmla="*/ 4 h 74"/>
              <a:gd name="T114" fmla="*/ 62 w 518"/>
              <a:gd name="T115" fmla="*/ 8 h 74"/>
              <a:gd name="T116" fmla="*/ 68 w 518"/>
              <a:gd name="T117" fmla="*/ 13 h 74"/>
              <a:gd name="T118" fmla="*/ 72 w 518"/>
              <a:gd name="T119" fmla="*/ 20 h 74"/>
              <a:gd name="T120" fmla="*/ 75 w 518"/>
              <a:gd name="T121" fmla="*/ 27 h 74"/>
              <a:gd name="T122" fmla="*/ 76 w 518"/>
              <a:gd name="T123" fmla="*/ 35 h 74"/>
              <a:gd name="T124" fmla="*/ 236 w 518"/>
              <a:gd name="T125" fmla="*/ 34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8" h="74">
                <a:moveTo>
                  <a:pt x="502" y="41"/>
                </a:moveTo>
                <a:lnTo>
                  <a:pt x="502" y="34"/>
                </a:lnTo>
                <a:lnTo>
                  <a:pt x="518" y="34"/>
                </a:lnTo>
                <a:lnTo>
                  <a:pt x="518" y="41"/>
                </a:lnTo>
                <a:lnTo>
                  <a:pt x="502" y="41"/>
                </a:lnTo>
                <a:lnTo>
                  <a:pt x="502" y="41"/>
                </a:lnTo>
                <a:close/>
                <a:moveTo>
                  <a:pt x="39" y="66"/>
                </a:moveTo>
                <a:lnTo>
                  <a:pt x="39" y="66"/>
                </a:lnTo>
                <a:lnTo>
                  <a:pt x="39" y="66"/>
                </a:lnTo>
                <a:lnTo>
                  <a:pt x="39" y="66"/>
                </a:lnTo>
                <a:lnTo>
                  <a:pt x="40" y="66"/>
                </a:lnTo>
                <a:lnTo>
                  <a:pt x="40" y="66"/>
                </a:lnTo>
                <a:lnTo>
                  <a:pt x="40" y="66"/>
                </a:lnTo>
                <a:lnTo>
                  <a:pt x="40" y="66"/>
                </a:lnTo>
                <a:lnTo>
                  <a:pt x="40" y="66"/>
                </a:lnTo>
                <a:lnTo>
                  <a:pt x="40" y="66"/>
                </a:lnTo>
                <a:lnTo>
                  <a:pt x="41" y="66"/>
                </a:lnTo>
                <a:lnTo>
                  <a:pt x="41" y="66"/>
                </a:lnTo>
                <a:lnTo>
                  <a:pt x="41" y="66"/>
                </a:lnTo>
                <a:lnTo>
                  <a:pt x="41" y="66"/>
                </a:lnTo>
                <a:lnTo>
                  <a:pt x="41" y="66"/>
                </a:lnTo>
                <a:lnTo>
                  <a:pt x="41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3" y="66"/>
                </a:lnTo>
                <a:lnTo>
                  <a:pt x="43" y="66"/>
                </a:lnTo>
                <a:lnTo>
                  <a:pt x="43" y="66"/>
                </a:lnTo>
                <a:lnTo>
                  <a:pt x="43" y="66"/>
                </a:lnTo>
                <a:lnTo>
                  <a:pt x="43" y="66"/>
                </a:lnTo>
                <a:lnTo>
                  <a:pt x="43" y="66"/>
                </a:lnTo>
                <a:lnTo>
                  <a:pt x="44" y="66"/>
                </a:lnTo>
                <a:lnTo>
                  <a:pt x="44" y="66"/>
                </a:lnTo>
                <a:lnTo>
                  <a:pt x="44" y="66"/>
                </a:lnTo>
                <a:lnTo>
                  <a:pt x="44" y="66"/>
                </a:lnTo>
                <a:lnTo>
                  <a:pt x="44" y="66"/>
                </a:lnTo>
                <a:lnTo>
                  <a:pt x="44" y="66"/>
                </a:lnTo>
                <a:lnTo>
                  <a:pt x="45" y="66"/>
                </a:lnTo>
                <a:lnTo>
                  <a:pt x="45" y="66"/>
                </a:lnTo>
                <a:lnTo>
                  <a:pt x="45" y="66"/>
                </a:lnTo>
                <a:lnTo>
                  <a:pt x="45" y="66"/>
                </a:lnTo>
                <a:lnTo>
                  <a:pt x="45" y="66"/>
                </a:lnTo>
                <a:lnTo>
                  <a:pt x="45" y="66"/>
                </a:lnTo>
                <a:lnTo>
                  <a:pt x="45" y="66"/>
                </a:lnTo>
                <a:lnTo>
                  <a:pt x="46" y="66"/>
                </a:lnTo>
                <a:lnTo>
                  <a:pt x="46" y="66"/>
                </a:lnTo>
                <a:lnTo>
                  <a:pt x="46" y="65"/>
                </a:lnTo>
                <a:lnTo>
                  <a:pt x="46" y="65"/>
                </a:lnTo>
                <a:lnTo>
                  <a:pt x="46" y="65"/>
                </a:lnTo>
                <a:lnTo>
                  <a:pt x="46" y="65"/>
                </a:lnTo>
                <a:lnTo>
                  <a:pt x="48" y="65"/>
                </a:lnTo>
                <a:lnTo>
                  <a:pt x="48" y="65"/>
                </a:lnTo>
                <a:lnTo>
                  <a:pt x="48" y="65"/>
                </a:lnTo>
                <a:lnTo>
                  <a:pt x="48" y="65"/>
                </a:lnTo>
                <a:lnTo>
                  <a:pt x="48" y="65"/>
                </a:lnTo>
                <a:lnTo>
                  <a:pt x="48" y="65"/>
                </a:lnTo>
                <a:lnTo>
                  <a:pt x="48" y="65"/>
                </a:lnTo>
                <a:lnTo>
                  <a:pt x="49" y="65"/>
                </a:lnTo>
                <a:lnTo>
                  <a:pt x="49" y="65"/>
                </a:lnTo>
                <a:lnTo>
                  <a:pt x="49" y="65"/>
                </a:lnTo>
                <a:lnTo>
                  <a:pt x="49" y="65"/>
                </a:lnTo>
                <a:lnTo>
                  <a:pt x="49" y="65"/>
                </a:lnTo>
                <a:lnTo>
                  <a:pt x="49" y="65"/>
                </a:lnTo>
                <a:lnTo>
                  <a:pt x="50" y="65"/>
                </a:lnTo>
                <a:lnTo>
                  <a:pt x="50" y="65"/>
                </a:lnTo>
                <a:lnTo>
                  <a:pt x="50" y="64"/>
                </a:lnTo>
                <a:lnTo>
                  <a:pt x="50" y="64"/>
                </a:lnTo>
                <a:lnTo>
                  <a:pt x="50" y="64"/>
                </a:lnTo>
                <a:lnTo>
                  <a:pt x="50" y="64"/>
                </a:lnTo>
                <a:lnTo>
                  <a:pt x="50" y="64"/>
                </a:lnTo>
                <a:lnTo>
                  <a:pt x="51" y="64"/>
                </a:lnTo>
                <a:lnTo>
                  <a:pt x="51" y="64"/>
                </a:lnTo>
                <a:lnTo>
                  <a:pt x="51" y="64"/>
                </a:lnTo>
                <a:lnTo>
                  <a:pt x="51" y="64"/>
                </a:lnTo>
                <a:lnTo>
                  <a:pt x="51" y="64"/>
                </a:lnTo>
                <a:lnTo>
                  <a:pt x="51" y="64"/>
                </a:lnTo>
                <a:lnTo>
                  <a:pt x="51" y="64"/>
                </a:lnTo>
                <a:lnTo>
                  <a:pt x="52" y="64"/>
                </a:lnTo>
                <a:lnTo>
                  <a:pt x="52" y="64"/>
                </a:lnTo>
                <a:lnTo>
                  <a:pt x="52" y="64"/>
                </a:lnTo>
                <a:lnTo>
                  <a:pt x="52" y="63"/>
                </a:lnTo>
                <a:lnTo>
                  <a:pt x="52" y="63"/>
                </a:lnTo>
                <a:lnTo>
                  <a:pt x="52" y="63"/>
                </a:lnTo>
                <a:lnTo>
                  <a:pt x="52" y="63"/>
                </a:lnTo>
                <a:lnTo>
                  <a:pt x="53" y="63"/>
                </a:lnTo>
                <a:lnTo>
                  <a:pt x="53" y="63"/>
                </a:lnTo>
                <a:lnTo>
                  <a:pt x="53" y="63"/>
                </a:lnTo>
                <a:lnTo>
                  <a:pt x="53" y="63"/>
                </a:lnTo>
                <a:lnTo>
                  <a:pt x="53" y="63"/>
                </a:lnTo>
                <a:lnTo>
                  <a:pt x="53" y="63"/>
                </a:lnTo>
                <a:lnTo>
                  <a:pt x="53" y="63"/>
                </a:lnTo>
                <a:lnTo>
                  <a:pt x="54" y="63"/>
                </a:lnTo>
                <a:lnTo>
                  <a:pt x="54" y="63"/>
                </a:lnTo>
                <a:lnTo>
                  <a:pt x="54" y="62"/>
                </a:lnTo>
                <a:lnTo>
                  <a:pt x="54" y="62"/>
                </a:lnTo>
                <a:lnTo>
                  <a:pt x="54" y="62"/>
                </a:lnTo>
                <a:lnTo>
                  <a:pt x="54" y="62"/>
                </a:lnTo>
                <a:lnTo>
                  <a:pt x="54" y="62"/>
                </a:lnTo>
                <a:lnTo>
                  <a:pt x="54" y="62"/>
                </a:lnTo>
                <a:lnTo>
                  <a:pt x="55" y="62"/>
                </a:lnTo>
                <a:lnTo>
                  <a:pt x="55" y="62"/>
                </a:lnTo>
                <a:lnTo>
                  <a:pt x="55" y="62"/>
                </a:lnTo>
                <a:lnTo>
                  <a:pt x="55" y="62"/>
                </a:lnTo>
                <a:lnTo>
                  <a:pt x="55" y="62"/>
                </a:lnTo>
                <a:lnTo>
                  <a:pt x="55" y="61"/>
                </a:lnTo>
                <a:lnTo>
                  <a:pt x="55" y="61"/>
                </a:lnTo>
                <a:lnTo>
                  <a:pt x="55" y="61"/>
                </a:lnTo>
                <a:lnTo>
                  <a:pt x="57" y="61"/>
                </a:lnTo>
                <a:lnTo>
                  <a:pt x="57" y="61"/>
                </a:lnTo>
                <a:lnTo>
                  <a:pt x="57" y="61"/>
                </a:lnTo>
                <a:lnTo>
                  <a:pt x="57" y="61"/>
                </a:lnTo>
                <a:lnTo>
                  <a:pt x="57" y="61"/>
                </a:lnTo>
                <a:lnTo>
                  <a:pt x="57" y="61"/>
                </a:lnTo>
                <a:lnTo>
                  <a:pt x="57" y="61"/>
                </a:lnTo>
                <a:lnTo>
                  <a:pt x="57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9" y="59"/>
                </a:lnTo>
                <a:lnTo>
                  <a:pt x="59" y="58"/>
                </a:lnTo>
                <a:lnTo>
                  <a:pt x="59" y="58"/>
                </a:lnTo>
                <a:lnTo>
                  <a:pt x="59" y="58"/>
                </a:lnTo>
                <a:lnTo>
                  <a:pt x="59" y="58"/>
                </a:lnTo>
                <a:lnTo>
                  <a:pt x="59" y="58"/>
                </a:lnTo>
                <a:lnTo>
                  <a:pt x="59" y="58"/>
                </a:lnTo>
                <a:lnTo>
                  <a:pt x="59" y="58"/>
                </a:lnTo>
                <a:lnTo>
                  <a:pt x="60" y="58"/>
                </a:lnTo>
                <a:lnTo>
                  <a:pt x="60" y="58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1" y="57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4"/>
                </a:lnTo>
                <a:lnTo>
                  <a:pt x="62" y="54"/>
                </a:lnTo>
                <a:lnTo>
                  <a:pt x="62" y="54"/>
                </a:lnTo>
                <a:lnTo>
                  <a:pt x="63" y="54"/>
                </a:lnTo>
                <a:lnTo>
                  <a:pt x="63" y="54"/>
                </a:lnTo>
                <a:lnTo>
                  <a:pt x="63" y="54"/>
                </a:lnTo>
                <a:lnTo>
                  <a:pt x="63" y="54"/>
                </a:lnTo>
                <a:lnTo>
                  <a:pt x="63" y="54"/>
                </a:lnTo>
                <a:lnTo>
                  <a:pt x="63" y="53"/>
                </a:lnTo>
                <a:lnTo>
                  <a:pt x="63" y="53"/>
                </a:lnTo>
                <a:lnTo>
                  <a:pt x="63" y="53"/>
                </a:lnTo>
                <a:lnTo>
                  <a:pt x="63" y="53"/>
                </a:lnTo>
                <a:lnTo>
                  <a:pt x="63" y="53"/>
                </a:lnTo>
                <a:lnTo>
                  <a:pt x="63" y="53"/>
                </a:lnTo>
                <a:lnTo>
                  <a:pt x="63" y="53"/>
                </a:lnTo>
                <a:lnTo>
                  <a:pt x="64" y="52"/>
                </a:lnTo>
                <a:lnTo>
                  <a:pt x="64" y="52"/>
                </a:lnTo>
                <a:lnTo>
                  <a:pt x="64" y="52"/>
                </a:lnTo>
                <a:lnTo>
                  <a:pt x="64" y="52"/>
                </a:lnTo>
                <a:lnTo>
                  <a:pt x="64" y="52"/>
                </a:lnTo>
                <a:lnTo>
                  <a:pt x="64" y="52"/>
                </a:lnTo>
                <a:lnTo>
                  <a:pt x="64" y="52"/>
                </a:lnTo>
                <a:lnTo>
                  <a:pt x="64" y="50"/>
                </a:lnTo>
                <a:lnTo>
                  <a:pt x="64" y="50"/>
                </a:lnTo>
                <a:lnTo>
                  <a:pt x="64" y="50"/>
                </a:lnTo>
                <a:lnTo>
                  <a:pt x="64" y="50"/>
                </a:lnTo>
                <a:lnTo>
                  <a:pt x="64" y="50"/>
                </a:lnTo>
                <a:lnTo>
                  <a:pt x="64" y="50"/>
                </a:lnTo>
                <a:lnTo>
                  <a:pt x="66" y="50"/>
                </a:lnTo>
                <a:lnTo>
                  <a:pt x="66" y="49"/>
                </a:lnTo>
                <a:lnTo>
                  <a:pt x="66" y="49"/>
                </a:lnTo>
                <a:lnTo>
                  <a:pt x="66" y="49"/>
                </a:lnTo>
                <a:lnTo>
                  <a:pt x="66" y="49"/>
                </a:lnTo>
                <a:lnTo>
                  <a:pt x="66" y="49"/>
                </a:lnTo>
                <a:lnTo>
                  <a:pt x="66" y="49"/>
                </a:lnTo>
                <a:lnTo>
                  <a:pt x="66" y="49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7" y="47"/>
                </a:lnTo>
                <a:lnTo>
                  <a:pt x="67" y="47"/>
                </a:lnTo>
                <a:lnTo>
                  <a:pt x="67" y="47"/>
                </a:lnTo>
                <a:lnTo>
                  <a:pt x="67" y="47"/>
                </a:lnTo>
                <a:lnTo>
                  <a:pt x="67" y="47"/>
                </a:lnTo>
                <a:lnTo>
                  <a:pt x="67" y="47"/>
                </a:lnTo>
                <a:lnTo>
                  <a:pt x="67" y="47"/>
                </a:lnTo>
                <a:lnTo>
                  <a:pt x="67" y="46"/>
                </a:lnTo>
                <a:lnTo>
                  <a:pt x="67" y="46"/>
                </a:lnTo>
                <a:lnTo>
                  <a:pt x="67" y="46"/>
                </a:lnTo>
                <a:lnTo>
                  <a:pt x="67" y="46"/>
                </a:lnTo>
                <a:lnTo>
                  <a:pt x="67" y="46"/>
                </a:lnTo>
                <a:lnTo>
                  <a:pt x="67" y="46"/>
                </a:lnTo>
                <a:lnTo>
                  <a:pt x="67" y="45"/>
                </a:lnTo>
                <a:lnTo>
                  <a:pt x="67" y="45"/>
                </a:lnTo>
                <a:lnTo>
                  <a:pt x="67" y="45"/>
                </a:lnTo>
                <a:lnTo>
                  <a:pt x="67" y="45"/>
                </a:lnTo>
                <a:lnTo>
                  <a:pt x="67" y="45"/>
                </a:lnTo>
                <a:lnTo>
                  <a:pt x="67" y="45"/>
                </a:lnTo>
                <a:lnTo>
                  <a:pt x="67" y="44"/>
                </a:lnTo>
                <a:lnTo>
                  <a:pt x="67" y="44"/>
                </a:lnTo>
                <a:lnTo>
                  <a:pt x="68" y="44"/>
                </a:lnTo>
                <a:lnTo>
                  <a:pt x="68" y="44"/>
                </a:lnTo>
                <a:lnTo>
                  <a:pt x="68" y="44"/>
                </a:lnTo>
                <a:lnTo>
                  <a:pt x="68" y="44"/>
                </a:lnTo>
                <a:lnTo>
                  <a:pt x="68" y="44"/>
                </a:lnTo>
                <a:lnTo>
                  <a:pt x="68" y="43"/>
                </a:lnTo>
                <a:lnTo>
                  <a:pt x="68" y="43"/>
                </a:lnTo>
                <a:lnTo>
                  <a:pt x="68" y="43"/>
                </a:lnTo>
                <a:lnTo>
                  <a:pt x="68" y="43"/>
                </a:lnTo>
                <a:lnTo>
                  <a:pt x="68" y="43"/>
                </a:lnTo>
                <a:lnTo>
                  <a:pt x="68" y="43"/>
                </a:lnTo>
                <a:lnTo>
                  <a:pt x="68" y="41"/>
                </a:lnTo>
                <a:lnTo>
                  <a:pt x="68" y="41"/>
                </a:lnTo>
                <a:lnTo>
                  <a:pt x="68" y="41"/>
                </a:lnTo>
                <a:lnTo>
                  <a:pt x="68" y="41"/>
                </a:lnTo>
                <a:lnTo>
                  <a:pt x="68" y="41"/>
                </a:lnTo>
                <a:lnTo>
                  <a:pt x="68" y="41"/>
                </a:lnTo>
                <a:lnTo>
                  <a:pt x="68" y="40"/>
                </a:lnTo>
                <a:lnTo>
                  <a:pt x="68" y="40"/>
                </a:lnTo>
                <a:lnTo>
                  <a:pt x="68" y="40"/>
                </a:lnTo>
                <a:lnTo>
                  <a:pt x="68" y="40"/>
                </a:lnTo>
                <a:lnTo>
                  <a:pt x="68" y="40"/>
                </a:lnTo>
                <a:lnTo>
                  <a:pt x="68" y="40"/>
                </a:lnTo>
                <a:lnTo>
                  <a:pt x="68" y="39"/>
                </a:lnTo>
                <a:lnTo>
                  <a:pt x="68" y="39"/>
                </a:lnTo>
                <a:lnTo>
                  <a:pt x="68" y="39"/>
                </a:lnTo>
                <a:lnTo>
                  <a:pt x="68" y="39"/>
                </a:lnTo>
                <a:lnTo>
                  <a:pt x="68" y="39"/>
                </a:lnTo>
                <a:lnTo>
                  <a:pt x="68" y="39"/>
                </a:lnTo>
                <a:lnTo>
                  <a:pt x="68" y="38"/>
                </a:lnTo>
                <a:lnTo>
                  <a:pt x="68" y="38"/>
                </a:lnTo>
                <a:lnTo>
                  <a:pt x="68" y="38"/>
                </a:lnTo>
                <a:lnTo>
                  <a:pt x="68" y="38"/>
                </a:lnTo>
                <a:lnTo>
                  <a:pt x="68" y="38"/>
                </a:lnTo>
                <a:lnTo>
                  <a:pt x="68" y="38"/>
                </a:lnTo>
                <a:lnTo>
                  <a:pt x="68" y="37"/>
                </a:lnTo>
                <a:lnTo>
                  <a:pt x="68" y="37"/>
                </a:lnTo>
                <a:lnTo>
                  <a:pt x="68" y="37"/>
                </a:lnTo>
                <a:lnTo>
                  <a:pt x="68" y="37"/>
                </a:lnTo>
                <a:lnTo>
                  <a:pt x="68" y="37"/>
                </a:lnTo>
                <a:lnTo>
                  <a:pt x="68" y="37"/>
                </a:lnTo>
                <a:lnTo>
                  <a:pt x="68" y="36"/>
                </a:lnTo>
                <a:lnTo>
                  <a:pt x="68" y="36"/>
                </a:lnTo>
                <a:lnTo>
                  <a:pt x="68" y="36"/>
                </a:lnTo>
                <a:lnTo>
                  <a:pt x="68" y="36"/>
                </a:lnTo>
                <a:lnTo>
                  <a:pt x="68" y="36"/>
                </a:lnTo>
                <a:lnTo>
                  <a:pt x="68" y="36"/>
                </a:lnTo>
                <a:lnTo>
                  <a:pt x="68" y="35"/>
                </a:lnTo>
                <a:lnTo>
                  <a:pt x="68" y="35"/>
                </a:lnTo>
                <a:lnTo>
                  <a:pt x="68" y="35"/>
                </a:lnTo>
                <a:lnTo>
                  <a:pt x="68" y="35"/>
                </a:lnTo>
                <a:lnTo>
                  <a:pt x="68" y="35"/>
                </a:lnTo>
                <a:lnTo>
                  <a:pt x="68" y="35"/>
                </a:lnTo>
                <a:lnTo>
                  <a:pt x="68" y="34"/>
                </a:lnTo>
                <a:lnTo>
                  <a:pt x="68" y="34"/>
                </a:lnTo>
                <a:lnTo>
                  <a:pt x="68" y="34"/>
                </a:lnTo>
                <a:lnTo>
                  <a:pt x="68" y="34"/>
                </a:lnTo>
                <a:lnTo>
                  <a:pt x="68" y="34"/>
                </a:lnTo>
                <a:lnTo>
                  <a:pt x="68" y="34"/>
                </a:lnTo>
                <a:lnTo>
                  <a:pt x="68" y="32"/>
                </a:lnTo>
                <a:lnTo>
                  <a:pt x="68" y="32"/>
                </a:lnTo>
                <a:lnTo>
                  <a:pt x="68" y="32"/>
                </a:lnTo>
                <a:lnTo>
                  <a:pt x="68" y="32"/>
                </a:lnTo>
                <a:lnTo>
                  <a:pt x="68" y="32"/>
                </a:lnTo>
                <a:lnTo>
                  <a:pt x="68" y="32"/>
                </a:lnTo>
                <a:lnTo>
                  <a:pt x="68" y="31"/>
                </a:lnTo>
                <a:lnTo>
                  <a:pt x="68" y="31"/>
                </a:lnTo>
                <a:lnTo>
                  <a:pt x="68" y="31"/>
                </a:lnTo>
                <a:lnTo>
                  <a:pt x="68" y="31"/>
                </a:lnTo>
                <a:lnTo>
                  <a:pt x="68" y="31"/>
                </a:lnTo>
                <a:lnTo>
                  <a:pt x="68" y="31"/>
                </a:lnTo>
                <a:lnTo>
                  <a:pt x="68" y="30"/>
                </a:lnTo>
                <a:lnTo>
                  <a:pt x="68" y="30"/>
                </a:lnTo>
                <a:lnTo>
                  <a:pt x="68" y="30"/>
                </a:lnTo>
                <a:lnTo>
                  <a:pt x="68" y="30"/>
                </a:lnTo>
                <a:lnTo>
                  <a:pt x="67" y="30"/>
                </a:lnTo>
                <a:lnTo>
                  <a:pt x="67" y="30"/>
                </a:lnTo>
                <a:lnTo>
                  <a:pt x="67" y="29"/>
                </a:lnTo>
                <a:lnTo>
                  <a:pt x="67" y="29"/>
                </a:lnTo>
                <a:lnTo>
                  <a:pt x="67" y="29"/>
                </a:lnTo>
                <a:lnTo>
                  <a:pt x="67" y="29"/>
                </a:lnTo>
                <a:lnTo>
                  <a:pt x="67" y="29"/>
                </a:lnTo>
                <a:lnTo>
                  <a:pt x="67" y="29"/>
                </a:lnTo>
                <a:lnTo>
                  <a:pt x="67" y="29"/>
                </a:lnTo>
                <a:lnTo>
                  <a:pt x="67" y="28"/>
                </a:lnTo>
                <a:lnTo>
                  <a:pt x="67" y="28"/>
                </a:lnTo>
                <a:lnTo>
                  <a:pt x="67" y="28"/>
                </a:lnTo>
                <a:lnTo>
                  <a:pt x="67" y="28"/>
                </a:lnTo>
                <a:lnTo>
                  <a:pt x="67" y="28"/>
                </a:lnTo>
                <a:lnTo>
                  <a:pt x="67" y="28"/>
                </a:lnTo>
                <a:lnTo>
                  <a:pt x="67" y="27"/>
                </a:lnTo>
                <a:lnTo>
                  <a:pt x="67" y="27"/>
                </a:lnTo>
                <a:lnTo>
                  <a:pt x="67" y="27"/>
                </a:lnTo>
                <a:lnTo>
                  <a:pt x="67" y="27"/>
                </a:lnTo>
                <a:lnTo>
                  <a:pt x="67" y="27"/>
                </a:lnTo>
                <a:lnTo>
                  <a:pt x="67" y="27"/>
                </a:lnTo>
                <a:lnTo>
                  <a:pt x="66" y="27"/>
                </a:lnTo>
                <a:lnTo>
                  <a:pt x="66" y="26"/>
                </a:lnTo>
                <a:lnTo>
                  <a:pt x="66" y="26"/>
                </a:lnTo>
                <a:lnTo>
                  <a:pt x="66" y="26"/>
                </a:lnTo>
                <a:lnTo>
                  <a:pt x="66" y="26"/>
                </a:lnTo>
                <a:lnTo>
                  <a:pt x="66" y="26"/>
                </a:lnTo>
                <a:lnTo>
                  <a:pt x="66" y="26"/>
                </a:lnTo>
                <a:lnTo>
                  <a:pt x="66" y="26"/>
                </a:lnTo>
                <a:lnTo>
                  <a:pt x="66" y="25"/>
                </a:lnTo>
                <a:lnTo>
                  <a:pt x="66" y="25"/>
                </a:lnTo>
                <a:lnTo>
                  <a:pt x="66" y="25"/>
                </a:lnTo>
                <a:lnTo>
                  <a:pt x="66" y="25"/>
                </a:lnTo>
                <a:lnTo>
                  <a:pt x="66" y="25"/>
                </a:lnTo>
                <a:lnTo>
                  <a:pt x="66" y="25"/>
                </a:lnTo>
                <a:lnTo>
                  <a:pt x="66" y="25"/>
                </a:lnTo>
                <a:lnTo>
                  <a:pt x="64" y="23"/>
                </a:lnTo>
                <a:lnTo>
                  <a:pt x="64" y="23"/>
                </a:lnTo>
                <a:lnTo>
                  <a:pt x="64" y="23"/>
                </a:lnTo>
                <a:lnTo>
                  <a:pt x="64" y="23"/>
                </a:lnTo>
                <a:lnTo>
                  <a:pt x="64" y="23"/>
                </a:lnTo>
                <a:lnTo>
                  <a:pt x="64" y="23"/>
                </a:lnTo>
                <a:lnTo>
                  <a:pt x="64" y="23"/>
                </a:lnTo>
                <a:lnTo>
                  <a:pt x="64" y="22"/>
                </a:lnTo>
                <a:lnTo>
                  <a:pt x="64" y="22"/>
                </a:lnTo>
                <a:lnTo>
                  <a:pt x="64" y="22"/>
                </a:lnTo>
                <a:lnTo>
                  <a:pt x="64" y="22"/>
                </a:lnTo>
                <a:lnTo>
                  <a:pt x="64" y="22"/>
                </a:lnTo>
                <a:lnTo>
                  <a:pt x="64" y="22"/>
                </a:lnTo>
                <a:lnTo>
                  <a:pt x="63" y="22"/>
                </a:lnTo>
                <a:lnTo>
                  <a:pt x="63" y="21"/>
                </a:lnTo>
                <a:lnTo>
                  <a:pt x="63" y="21"/>
                </a:lnTo>
                <a:lnTo>
                  <a:pt x="63" y="21"/>
                </a:lnTo>
                <a:lnTo>
                  <a:pt x="63" y="21"/>
                </a:lnTo>
                <a:lnTo>
                  <a:pt x="63" y="21"/>
                </a:lnTo>
                <a:lnTo>
                  <a:pt x="63" y="21"/>
                </a:lnTo>
                <a:lnTo>
                  <a:pt x="63" y="21"/>
                </a:lnTo>
                <a:lnTo>
                  <a:pt x="63" y="20"/>
                </a:lnTo>
                <a:lnTo>
                  <a:pt x="63" y="20"/>
                </a:lnTo>
                <a:lnTo>
                  <a:pt x="63" y="20"/>
                </a:lnTo>
                <a:lnTo>
                  <a:pt x="63" y="20"/>
                </a:lnTo>
                <a:lnTo>
                  <a:pt x="62" y="20"/>
                </a:lnTo>
                <a:lnTo>
                  <a:pt x="62" y="20"/>
                </a:lnTo>
                <a:lnTo>
                  <a:pt x="62" y="20"/>
                </a:lnTo>
                <a:lnTo>
                  <a:pt x="62" y="20"/>
                </a:lnTo>
                <a:lnTo>
                  <a:pt x="62" y="19"/>
                </a:lnTo>
                <a:lnTo>
                  <a:pt x="62" y="19"/>
                </a:lnTo>
                <a:lnTo>
                  <a:pt x="62" y="19"/>
                </a:lnTo>
                <a:lnTo>
                  <a:pt x="62" y="19"/>
                </a:lnTo>
                <a:lnTo>
                  <a:pt x="62" y="19"/>
                </a:lnTo>
                <a:lnTo>
                  <a:pt x="62" y="19"/>
                </a:lnTo>
                <a:lnTo>
                  <a:pt x="62" y="19"/>
                </a:lnTo>
                <a:lnTo>
                  <a:pt x="61" y="19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7" y="14"/>
                </a:lnTo>
                <a:lnTo>
                  <a:pt x="57" y="14"/>
                </a:lnTo>
                <a:lnTo>
                  <a:pt x="57" y="13"/>
                </a:lnTo>
                <a:lnTo>
                  <a:pt x="57" y="13"/>
                </a:lnTo>
                <a:lnTo>
                  <a:pt x="57" y="13"/>
                </a:lnTo>
                <a:lnTo>
                  <a:pt x="57" y="13"/>
                </a:lnTo>
                <a:lnTo>
                  <a:pt x="57" y="13"/>
                </a:lnTo>
                <a:lnTo>
                  <a:pt x="57" y="13"/>
                </a:lnTo>
                <a:lnTo>
                  <a:pt x="55" y="13"/>
                </a:lnTo>
                <a:lnTo>
                  <a:pt x="55" y="13"/>
                </a:lnTo>
                <a:lnTo>
                  <a:pt x="55" y="13"/>
                </a:lnTo>
                <a:lnTo>
                  <a:pt x="55" y="13"/>
                </a:lnTo>
                <a:lnTo>
                  <a:pt x="55" y="12"/>
                </a:lnTo>
                <a:lnTo>
                  <a:pt x="55" y="12"/>
                </a:lnTo>
                <a:lnTo>
                  <a:pt x="55" y="12"/>
                </a:lnTo>
                <a:lnTo>
                  <a:pt x="55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3" y="11"/>
                </a:lnTo>
                <a:lnTo>
                  <a:pt x="53" y="11"/>
                </a:lnTo>
                <a:lnTo>
                  <a:pt x="53" y="11"/>
                </a:lnTo>
                <a:lnTo>
                  <a:pt x="53" y="11"/>
                </a:lnTo>
                <a:lnTo>
                  <a:pt x="53" y="11"/>
                </a:lnTo>
                <a:lnTo>
                  <a:pt x="53" y="11"/>
                </a:lnTo>
                <a:lnTo>
                  <a:pt x="53" y="11"/>
                </a:lnTo>
                <a:lnTo>
                  <a:pt x="52" y="11"/>
                </a:lnTo>
                <a:lnTo>
                  <a:pt x="52" y="11"/>
                </a:lnTo>
                <a:lnTo>
                  <a:pt x="52" y="11"/>
                </a:lnTo>
                <a:lnTo>
                  <a:pt x="52" y="11"/>
                </a:lnTo>
                <a:lnTo>
                  <a:pt x="52" y="11"/>
                </a:lnTo>
                <a:lnTo>
                  <a:pt x="52" y="11"/>
                </a:lnTo>
                <a:lnTo>
                  <a:pt x="52" y="10"/>
                </a:lnTo>
                <a:lnTo>
                  <a:pt x="51" y="10"/>
                </a:lnTo>
                <a:lnTo>
                  <a:pt x="51" y="10"/>
                </a:lnTo>
                <a:lnTo>
                  <a:pt x="51" y="10"/>
                </a:lnTo>
                <a:lnTo>
                  <a:pt x="51" y="10"/>
                </a:lnTo>
                <a:lnTo>
                  <a:pt x="51" y="10"/>
                </a:lnTo>
                <a:lnTo>
                  <a:pt x="51" y="10"/>
                </a:lnTo>
                <a:lnTo>
                  <a:pt x="51" y="10"/>
                </a:lnTo>
                <a:lnTo>
                  <a:pt x="50" y="10"/>
                </a:lnTo>
                <a:lnTo>
                  <a:pt x="50" y="10"/>
                </a:lnTo>
                <a:lnTo>
                  <a:pt x="50" y="10"/>
                </a:lnTo>
                <a:lnTo>
                  <a:pt x="50" y="10"/>
                </a:lnTo>
                <a:lnTo>
                  <a:pt x="50" y="10"/>
                </a:lnTo>
                <a:lnTo>
                  <a:pt x="50" y="10"/>
                </a:lnTo>
                <a:lnTo>
                  <a:pt x="50" y="10"/>
                </a:lnTo>
                <a:lnTo>
                  <a:pt x="49" y="9"/>
                </a:lnTo>
                <a:lnTo>
                  <a:pt x="49" y="9"/>
                </a:lnTo>
                <a:lnTo>
                  <a:pt x="49" y="9"/>
                </a:lnTo>
                <a:lnTo>
                  <a:pt x="49" y="9"/>
                </a:lnTo>
                <a:lnTo>
                  <a:pt x="49" y="9"/>
                </a:lnTo>
                <a:lnTo>
                  <a:pt x="49" y="9"/>
                </a:lnTo>
                <a:lnTo>
                  <a:pt x="48" y="9"/>
                </a:lnTo>
                <a:lnTo>
                  <a:pt x="48" y="9"/>
                </a:lnTo>
                <a:lnTo>
                  <a:pt x="48" y="9"/>
                </a:lnTo>
                <a:lnTo>
                  <a:pt x="48" y="9"/>
                </a:lnTo>
                <a:lnTo>
                  <a:pt x="48" y="9"/>
                </a:lnTo>
                <a:lnTo>
                  <a:pt x="48" y="9"/>
                </a:lnTo>
                <a:lnTo>
                  <a:pt x="48" y="9"/>
                </a:lnTo>
                <a:lnTo>
                  <a:pt x="46" y="9"/>
                </a:lnTo>
                <a:lnTo>
                  <a:pt x="46" y="9"/>
                </a:lnTo>
                <a:lnTo>
                  <a:pt x="46" y="9"/>
                </a:lnTo>
                <a:lnTo>
                  <a:pt x="46" y="9"/>
                </a:lnTo>
                <a:lnTo>
                  <a:pt x="46" y="9"/>
                </a:lnTo>
                <a:lnTo>
                  <a:pt x="46" y="9"/>
                </a:lnTo>
                <a:lnTo>
                  <a:pt x="45" y="9"/>
                </a:lnTo>
                <a:lnTo>
                  <a:pt x="45" y="8"/>
                </a:lnTo>
                <a:lnTo>
                  <a:pt x="45" y="8"/>
                </a:lnTo>
                <a:lnTo>
                  <a:pt x="45" y="8"/>
                </a:lnTo>
                <a:lnTo>
                  <a:pt x="45" y="8"/>
                </a:lnTo>
                <a:lnTo>
                  <a:pt x="45" y="8"/>
                </a:lnTo>
                <a:lnTo>
                  <a:pt x="44" y="8"/>
                </a:lnTo>
                <a:lnTo>
                  <a:pt x="44" y="8"/>
                </a:lnTo>
                <a:lnTo>
                  <a:pt x="44" y="8"/>
                </a:lnTo>
                <a:lnTo>
                  <a:pt x="44" y="8"/>
                </a:lnTo>
                <a:lnTo>
                  <a:pt x="44" y="8"/>
                </a:lnTo>
                <a:lnTo>
                  <a:pt x="44" y="8"/>
                </a:lnTo>
                <a:lnTo>
                  <a:pt x="44" y="8"/>
                </a:lnTo>
                <a:lnTo>
                  <a:pt x="43" y="8"/>
                </a:lnTo>
                <a:lnTo>
                  <a:pt x="43" y="8"/>
                </a:lnTo>
                <a:lnTo>
                  <a:pt x="43" y="8"/>
                </a:lnTo>
                <a:lnTo>
                  <a:pt x="43" y="8"/>
                </a:lnTo>
                <a:lnTo>
                  <a:pt x="43" y="8"/>
                </a:lnTo>
                <a:lnTo>
                  <a:pt x="43" y="8"/>
                </a:lnTo>
                <a:lnTo>
                  <a:pt x="42" y="8"/>
                </a:lnTo>
                <a:lnTo>
                  <a:pt x="42" y="8"/>
                </a:lnTo>
                <a:lnTo>
                  <a:pt x="42" y="8"/>
                </a:lnTo>
                <a:lnTo>
                  <a:pt x="42" y="8"/>
                </a:lnTo>
                <a:lnTo>
                  <a:pt x="42" y="8"/>
                </a:lnTo>
                <a:lnTo>
                  <a:pt x="42" y="8"/>
                </a:lnTo>
                <a:lnTo>
                  <a:pt x="41" y="8"/>
                </a:lnTo>
                <a:lnTo>
                  <a:pt x="41" y="8"/>
                </a:lnTo>
                <a:lnTo>
                  <a:pt x="41" y="8"/>
                </a:lnTo>
                <a:lnTo>
                  <a:pt x="41" y="8"/>
                </a:lnTo>
                <a:lnTo>
                  <a:pt x="41" y="8"/>
                </a:lnTo>
                <a:lnTo>
                  <a:pt x="41" y="8"/>
                </a:lnTo>
                <a:lnTo>
                  <a:pt x="40" y="8"/>
                </a:lnTo>
                <a:lnTo>
                  <a:pt x="40" y="8"/>
                </a:lnTo>
                <a:lnTo>
                  <a:pt x="40" y="8"/>
                </a:lnTo>
                <a:lnTo>
                  <a:pt x="40" y="8"/>
                </a:lnTo>
                <a:lnTo>
                  <a:pt x="40" y="8"/>
                </a:lnTo>
                <a:lnTo>
                  <a:pt x="40" y="8"/>
                </a:lnTo>
                <a:lnTo>
                  <a:pt x="39" y="8"/>
                </a:lnTo>
                <a:lnTo>
                  <a:pt x="39" y="8"/>
                </a:lnTo>
                <a:lnTo>
                  <a:pt x="39" y="8"/>
                </a:lnTo>
                <a:lnTo>
                  <a:pt x="39" y="8"/>
                </a:lnTo>
                <a:lnTo>
                  <a:pt x="39" y="8"/>
                </a:lnTo>
                <a:lnTo>
                  <a:pt x="39" y="8"/>
                </a:lnTo>
                <a:lnTo>
                  <a:pt x="37" y="8"/>
                </a:lnTo>
                <a:lnTo>
                  <a:pt x="37" y="8"/>
                </a:lnTo>
                <a:lnTo>
                  <a:pt x="37" y="8"/>
                </a:lnTo>
                <a:lnTo>
                  <a:pt x="37" y="8"/>
                </a:lnTo>
                <a:lnTo>
                  <a:pt x="37" y="8"/>
                </a:lnTo>
                <a:lnTo>
                  <a:pt x="37" y="8"/>
                </a:lnTo>
                <a:lnTo>
                  <a:pt x="36" y="8"/>
                </a:lnTo>
                <a:lnTo>
                  <a:pt x="36" y="8"/>
                </a:lnTo>
                <a:lnTo>
                  <a:pt x="36" y="8"/>
                </a:lnTo>
                <a:lnTo>
                  <a:pt x="36" y="8"/>
                </a:lnTo>
                <a:lnTo>
                  <a:pt x="36" y="8"/>
                </a:lnTo>
                <a:lnTo>
                  <a:pt x="36" y="8"/>
                </a:lnTo>
                <a:lnTo>
                  <a:pt x="35" y="8"/>
                </a:lnTo>
                <a:lnTo>
                  <a:pt x="35" y="8"/>
                </a:lnTo>
                <a:lnTo>
                  <a:pt x="35" y="8"/>
                </a:lnTo>
                <a:lnTo>
                  <a:pt x="35" y="8"/>
                </a:lnTo>
                <a:lnTo>
                  <a:pt x="35" y="8"/>
                </a:lnTo>
                <a:lnTo>
                  <a:pt x="35" y="8"/>
                </a:lnTo>
                <a:lnTo>
                  <a:pt x="34" y="8"/>
                </a:lnTo>
                <a:lnTo>
                  <a:pt x="34" y="8"/>
                </a:lnTo>
                <a:lnTo>
                  <a:pt x="34" y="8"/>
                </a:lnTo>
                <a:lnTo>
                  <a:pt x="34" y="8"/>
                </a:lnTo>
                <a:lnTo>
                  <a:pt x="34" y="8"/>
                </a:lnTo>
                <a:lnTo>
                  <a:pt x="34" y="8"/>
                </a:lnTo>
                <a:lnTo>
                  <a:pt x="33" y="8"/>
                </a:lnTo>
                <a:lnTo>
                  <a:pt x="33" y="8"/>
                </a:lnTo>
                <a:lnTo>
                  <a:pt x="33" y="8"/>
                </a:lnTo>
                <a:lnTo>
                  <a:pt x="33" y="8"/>
                </a:lnTo>
                <a:lnTo>
                  <a:pt x="33" y="8"/>
                </a:lnTo>
                <a:lnTo>
                  <a:pt x="33" y="8"/>
                </a:lnTo>
                <a:lnTo>
                  <a:pt x="32" y="8"/>
                </a:lnTo>
                <a:lnTo>
                  <a:pt x="32" y="8"/>
                </a:lnTo>
                <a:lnTo>
                  <a:pt x="32" y="8"/>
                </a:lnTo>
                <a:lnTo>
                  <a:pt x="32" y="8"/>
                </a:lnTo>
                <a:lnTo>
                  <a:pt x="32" y="8"/>
                </a:lnTo>
                <a:lnTo>
                  <a:pt x="32" y="8"/>
                </a:lnTo>
                <a:lnTo>
                  <a:pt x="31" y="8"/>
                </a:lnTo>
                <a:lnTo>
                  <a:pt x="31" y="9"/>
                </a:lnTo>
                <a:lnTo>
                  <a:pt x="31" y="9"/>
                </a:lnTo>
                <a:lnTo>
                  <a:pt x="31" y="9"/>
                </a:lnTo>
                <a:lnTo>
                  <a:pt x="31" y="9"/>
                </a:lnTo>
                <a:lnTo>
                  <a:pt x="31" y="9"/>
                </a:lnTo>
                <a:lnTo>
                  <a:pt x="31" y="9"/>
                </a:lnTo>
                <a:lnTo>
                  <a:pt x="30" y="9"/>
                </a:lnTo>
                <a:lnTo>
                  <a:pt x="30" y="9"/>
                </a:lnTo>
                <a:lnTo>
                  <a:pt x="30" y="9"/>
                </a:lnTo>
                <a:lnTo>
                  <a:pt x="30" y="9"/>
                </a:lnTo>
                <a:lnTo>
                  <a:pt x="30" y="9"/>
                </a:lnTo>
                <a:lnTo>
                  <a:pt x="30" y="9"/>
                </a:lnTo>
                <a:lnTo>
                  <a:pt x="28" y="9"/>
                </a:lnTo>
                <a:lnTo>
                  <a:pt x="28" y="9"/>
                </a:lnTo>
                <a:lnTo>
                  <a:pt x="28" y="9"/>
                </a:lnTo>
                <a:lnTo>
                  <a:pt x="28" y="9"/>
                </a:lnTo>
                <a:lnTo>
                  <a:pt x="28" y="9"/>
                </a:lnTo>
                <a:lnTo>
                  <a:pt x="28" y="9"/>
                </a:lnTo>
                <a:lnTo>
                  <a:pt x="28" y="9"/>
                </a:lnTo>
                <a:lnTo>
                  <a:pt x="27" y="9"/>
                </a:lnTo>
                <a:lnTo>
                  <a:pt x="27" y="10"/>
                </a:lnTo>
                <a:lnTo>
                  <a:pt x="27" y="10"/>
                </a:lnTo>
                <a:lnTo>
                  <a:pt x="27" y="10"/>
                </a:lnTo>
                <a:lnTo>
                  <a:pt x="27" y="10"/>
                </a:lnTo>
                <a:lnTo>
                  <a:pt x="27" y="10"/>
                </a:lnTo>
                <a:lnTo>
                  <a:pt x="26" y="10"/>
                </a:lnTo>
                <a:lnTo>
                  <a:pt x="26" y="10"/>
                </a:lnTo>
                <a:lnTo>
                  <a:pt x="26" y="10"/>
                </a:lnTo>
                <a:lnTo>
                  <a:pt x="26" y="10"/>
                </a:lnTo>
                <a:lnTo>
                  <a:pt x="26" y="10"/>
                </a:lnTo>
                <a:lnTo>
                  <a:pt x="26" y="10"/>
                </a:lnTo>
                <a:lnTo>
                  <a:pt x="26" y="10"/>
                </a:lnTo>
                <a:lnTo>
                  <a:pt x="25" y="10"/>
                </a:lnTo>
                <a:lnTo>
                  <a:pt x="25" y="10"/>
                </a:lnTo>
                <a:lnTo>
                  <a:pt x="25" y="10"/>
                </a:lnTo>
                <a:lnTo>
                  <a:pt x="25" y="11"/>
                </a:lnTo>
                <a:lnTo>
                  <a:pt x="25" y="11"/>
                </a:lnTo>
                <a:lnTo>
                  <a:pt x="25" y="11"/>
                </a:lnTo>
                <a:lnTo>
                  <a:pt x="25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3" y="11"/>
                </a:lnTo>
                <a:lnTo>
                  <a:pt x="23" y="12"/>
                </a:lnTo>
                <a:lnTo>
                  <a:pt x="23" y="12"/>
                </a:lnTo>
                <a:lnTo>
                  <a:pt x="23" y="12"/>
                </a:lnTo>
                <a:lnTo>
                  <a:pt x="23" y="12"/>
                </a:lnTo>
                <a:lnTo>
                  <a:pt x="23" y="12"/>
                </a:lnTo>
                <a:lnTo>
                  <a:pt x="23" y="12"/>
                </a:lnTo>
                <a:lnTo>
                  <a:pt x="22" y="12"/>
                </a:lnTo>
                <a:lnTo>
                  <a:pt x="22" y="12"/>
                </a:lnTo>
                <a:lnTo>
                  <a:pt x="22" y="12"/>
                </a:lnTo>
                <a:lnTo>
                  <a:pt x="22" y="12"/>
                </a:lnTo>
                <a:lnTo>
                  <a:pt x="22" y="12"/>
                </a:lnTo>
                <a:lnTo>
                  <a:pt x="22" y="12"/>
                </a:lnTo>
                <a:lnTo>
                  <a:pt x="22" y="13"/>
                </a:lnTo>
                <a:lnTo>
                  <a:pt x="22" y="13"/>
                </a:lnTo>
                <a:lnTo>
                  <a:pt x="21" y="13"/>
                </a:lnTo>
                <a:lnTo>
                  <a:pt x="21" y="13"/>
                </a:lnTo>
                <a:lnTo>
                  <a:pt x="21" y="13"/>
                </a:lnTo>
                <a:lnTo>
                  <a:pt x="21" y="13"/>
                </a:lnTo>
                <a:lnTo>
                  <a:pt x="21" y="13"/>
                </a:lnTo>
                <a:lnTo>
                  <a:pt x="21" y="13"/>
                </a:lnTo>
                <a:lnTo>
                  <a:pt x="21" y="13"/>
                </a:lnTo>
                <a:lnTo>
                  <a:pt x="19" y="13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8" y="14"/>
                </a:lnTo>
                <a:lnTo>
                  <a:pt x="18" y="14"/>
                </a:lnTo>
                <a:lnTo>
                  <a:pt x="18" y="16"/>
                </a:lnTo>
                <a:lnTo>
                  <a:pt x="18" y="16"/>
                </a:lnTo>
                <a:lnTo>
                  <a:pt x="18" y="16"/>
                </a:lnTo>
                <a:lnTo>
                  <a:pt x="18" y="16"/>
                </a:lnTo>
                <a:lnTo>
                  <a:pt x="18" y="16"/>
                </a:lnTo>
                <a:lnTo>
                  <a:pt x="18" y="16"/>
                </a:lnTo>
                <a:lnTo>
                  <a:pt x="17" y="16"/>
                </a:lnTo>
                <a:lnTo>
                  <a:pt x="17" y="16"/>
                </a:lnTo>
                <a:lnTo>
                  <a:pt x="17" y="16"/>
                </a:lnTo>
                <a:lnTo>
                  <a:pt x="17" y="17"/>
                </a:lnTo>
                <a:lnTo>
                  <a:pt x="17" y="17"/>
                </a:lnTo>
                <a:lnTo>
                  <a:pt x="17" y="17"/>
                </a:lnTo>
                <a:lnTo>
                  <a:pt x="17" y="17"/>
                </a:lnTo>
                <a:lnTo>
                  <a:pt x="17" y="17"/>
                </a:lnTo>
                <a:lnTo>
                  <a:pt x="17" y="17"/>
                </a:lnTo>
                <a:lnTo>
                  <a:pt x="16" y="17"/>
                </a:lnTo>
                <a:lnTo>
                  <a:pt x="16" y="17"/>
                </a:lnTo>
                <a:lnTo>
                  <a:pt x="16" y="17"/>
                </a:lnTo>
                <a:lnTo>
                  <a:pt x="16" y="18"/>
                </a:lnTo>
                <a:lnTo>
                  <a:pt x="16" y="18"/>
                </a:lnTo>
                <a:lnTo>
                  <a:pt x="16" y="18"/>
                </a:lnTo>
                <a:lnTo>
                  <a:pt x="16" y="18"/>
                </a:lnTo>
                <a:lnTo>
                  <a:pt x="16" y="18"/>
                </a:lnTo>
                <a:lnTo>
                  <a:pt x="16" y="18"/>
                </a:lnTo>
                <a:lnTo>
                  <a:pt x="16" y="18"/>
                </a:lnTo>
                <a:lnTo>
                  <a:pt x="15" y="18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20"/>
                </a:lnTo>
                <a:lnTo>
                  <a:pt x="14" y="20"/>
                </a:lnTo>
                <a:lnTo>
                  <a:pt x="14" y="20"/>
                </a:lnTo>
                <a:lnTo>
                  <a:pt x="14" y="20"/>
                </a:lnTo>
                <a:lnTo>
                  <a:pt x="14" y="20"/>
                </a:lnTo>
                <a:lnTo>
                  <a:pt x="14" y="20"/>
                </a:lnTo>
                <a:lnTo>
                  <a:pt x="14" y="20"/>
                </a:lnTo>
                <a:lnTo>
                  <a:pt x="14" y="20"/>
                </a:lnTo>
                <a:lnTo>
                  <a:pt x="14" y="21"/>
                </a:lnTo>
                <a:lnTo>
                  <a:pt x="14" y="21"/>
                </a:lnTo>
                <a:lnTo>
                  <a:pt x="14" y="21"/>
                </a:lnTo>
                <a:lnTo>
                  <a:pt x="14" y="21"/>
                </a:lnTo>
                <a:lnTo>
                  <a:pt x="13" y="21"/>
                </a:lnTo>
                <a:lnTo>
                  <a:pt x="13" y="21"/>
                </a:lnTo>
                <a:lnTo>
                  <a:pt x="13" y="21"/>
                </a:lnTo>
                <a:lnTo>
                  <a:pt x="13" y="22"/>
                </a:lnTo>
                <a:lnTo>
                  <a:pt x="13" y="22"/>
                </a:lnTo>
                <a:lnTo>
                  <a:pt x="13" y="22"/>
                </a:lnTo>
                <a:lnTo>
                  <a:pt x="13" y="22"/>
                </a:lnTo>
                <a:lnTo>
                  <a:pt x="13" y="22"/>
                </a:lnTo>
                <a:lnTo>
                  <a:pt x="13" y="22"/>
                </a:lnTo>
                <a:lnTo>
                  <a:pt x="13" y="22"/>
                </a:lnTo>
                <a:lnTo>
                  <a:pt x="13" y="23"/>
                </a:lnTo>
                <a:lnTo>
                  <a:pt x="13" y="23"/>
                </a:lnTo>
                <a:lnTo>
                  <a:pt x="13" y="23"/>
                </a:lnTo>
                <a:lnTo>
                  <a:pt x="12" y="23"/>
                </a:lnTo>
                <a:lnTo>
                  <a:pt x="12" y="23"/>
                </a:lnTo>
                <a:lnTo>
                  <a:pt x="12" y="23"/>
                </a:lnTo>
                <a:lnTo>
                  <a:pt x="12" y="23"/>
                </a:lnTo>
                <a:lnTo>
                  <a:pt x="12" y="25"/>
                </a:lnTo>
                <a:lnTo>
                  <a:pt x="12" y="25"/>
                </a:lnTo>
                <a:lnTo>
                  <a:pt x="12" y="25"/>
                </a:lnTo>
                <a:lnTo>
                  <a:pt x="12" y="25"/>
                </a:lnTo>
                <a:lnTo>
                  <a:pt x="12" y="25"/>
                </a:lnTo>
                <a:lnTo>
                  <a:pt x="12" y="25"/>
                </a:lnTo>
                <a:lnTo>
                  <a:pt x="12" y="25"/>
                </a:lnTo>
                <a:lnTo>
                  <a:pt x="12" y="26"/>
                </a:lnTo>
                <a:lnTo>
                  <a:pt x="12" y="26"/>
                </a:lnTo>
                <a:lnTo>
                  <a:pt x="12" y="26"/>
                </a:lnTo>
                <a:lnTo>
                  <a:pt x="12" y="26"/>
                </a:lnTo>
                <a:lnTo>
                  <a:pt x="10" y="26"/>
                </a:lnTo>
                <a:lnTo>
                  <a:pt x="10" y="26"/>
                </a:lnTo>
                <a:lnTo>
                  <a:pt x="10" y="26"/>
                </a:lnTo>
                <a:lnTo>
                  <a:pt x="10" y="27"/>
                </a:lnTo>
                <a:lnTo>
                  <a:pt x="10" y="27"/>
                </a:lnTo>
                <a:lnTo>
                  <a:pt x="10" y="27"/>
                </a:lnTo>
                <a:lnTo>
                  <a:pt x="10" y="27"/>
                </a:lnTo>
                <a:lnTo>
                  <a:pt x="10" y="27"/>
                </a:lnTo>
                <a:lnTo>
                  <a:pt x="10" y="27"/>
                </a:lnTo>
                <a:lnTo>
                  <a:pt x="10" y="27"/>
                </a:lnTo>
                <a:lnTo>
                  <a:pt x="10" y="28"/>
                </a:lnTo>
                <a:lnTo>
                  <a:pt x="10" y="28"/>
                </a:lnTo>
                <a:lnTo>
                  <a:pt x="10" y="28"/>
                </a:lnTo>
                <a:lnTo>
                  <a:pt x="10" y="28"/>
                </a:lnTo>
                <a:lnTo>
                  <a:pt x="10" y="28"/>
                </a:lnTo>
                <a:lnTo>
                  <a:pt x="10" y="28"/>
                </a:lnTo>
                <a:lnTo>
                  <a:pt x="10" y="29"/>
                </a:lnTo>
                <a:lnTo>
                  <a:pt x="10" y="29"/>
                </a:lnTo>
                <a:lnTo>
                  <a:pt x="10" y="29"/>
                </a:lnTo>
                <a:lnTo>
                  <a:pt x="9" y="29"/>
                </a:lnTo>
                <a:lnTo>
                  <a:pt x="9" y="29"/>
                </a:lnTo>
                <a:lnTo>
                  <a:pt x="9" y="29"/>
                </a:lnTo>
                <a:lnTo>
                  <a:pt x="9" y="29"/>
                </a:lnTo>
                <a:lnTo>
                  <a:pt x="9" y="30"/>
                </a:lnTo>
                <a:lnTo>
                  <a:pt x="9" y="30"/>
                </a:lnTo>
                <a:lnTo>
                  <a:pt x="9" y="30"/>
                </a:lnTo>
                <a:lnTo>
                  <a:pt x="9" y="30"/>
                </a:lnTo>
                <a:lnTo>
                  <a:pt x="9" y="30"/>
                </a:lnTo>
                <a:lnTo>
                  <a:pt x="9" y="30"/>
                </a:lnTo>
                <a:lnTo>
                  <a:pt x="9" y="31"/>
                </a:lnTo>
                <a:lnTo>
                  <a:pt x="9" y="31"/>
                </a:lnTo>
                <a:lnTo>
                  <a:pt x="9" y="31"/>
                </a:lnTo>
                <a:lnTo>
                  <a:pt x="9" y="31"/>
                </a:lnTo>
                <a:lnTo>
                  <a:pt x="9" y="31"/>
                </a:lnTo>
                <a:lnTo>
                  <a:pt x="9" y="31"/>
                </a:lnTo>
                <a:lnTo>
                  <a:pt x="9" y="32"/>
                </a:lnTo>
                <a:lnTo>
                  <a:pt x="9" y="32"/>
                </a:lnTo>
                <a:lnTo>
                  <a:pt x="9" y="32"/>
                </a:lnTo>
                <a:lnTo>
                  <a:pt x="9" y="32"/>
                </a:lnTo>
                <a:lnTo>
                  <a:pt x="9" y="32"/>
                </a:lnTo>
                <a:lnTo>
                  <a:pt x="9" y="32"/>
                </a:lnTo>
                <a:lnTo>
                  <a:pt x="9" y="34"/>
                </a:lnTo>
                <a:lnTo>
                  <a:pt x="9" y="34"/>
                </a:lnTo>
                <a:lnTo>
                  <a:pt x="9" y="34"/>
                </a:lnTo>
                <a:lnTo>
                  <a:pt x="9" y="34"/>
                </a:lnTo>
                <a:lnTo>
                  <a:pt x="9" y="34"/>
                </a:lnTo>
                <a:lnTo>
                  <a:pt x="9" y="34"/>
                </a:lnTo>
                <a:lnTo>
                  <a:pt x="9" y="35"/>
                </a:lnTo>
                <a:lnTo>
                  <a:pt x="9" y="35"/>
                </a:lnTo>
                <a:lnTo>
                  <a:pt x="9" y="35"/>
                </a:lnTo>
                <a:lnTo>
                  <a:pt x="9" y="35"/>
                </a:lnTo>
                <a:lnTo>
                  <a:pt x="9" y="35"/>
                </a:lnTo>
                <a:lnTo>
                  <a:pt x="9" y="35"/>
                </a:lnTo>
                <a:lnTo>
                  <a:pt x="9" y="36"/>
                </a:lnTo>
                <a:lnTo>
                  <a:pt x="9" y="36"/>
                </a:lnTo>
                <a:lnTo>
                  <a:pt x="9" y="36"/>
                </a:lnTo>
                <a:lnTo>
                  <a:pt x="9" y="36"/>
                </a:lnTo>
                <a:lnTo>
                  <a:pt x="9" y="36"/>
                </a:lnTo>
                <a:lnTo>
                  <a:pt x="9" y="36"/>
                </a:lnTo>
                <a:lnTo>
                  <a:pt x="9" y="37"/>
                </a:lnTo>
                <a:lnTo>
                  <a:pt x="9" y="37"/>
                </a:lnTo>
                <a:lnTo>
                  <a:pt x="9" y="37"/>
                </a:lnTo>
                <a:lnTo>
                  <a:pt x="9" y="37"/>
                </a:lnTo>
                <a:lnTo>
                  <a:pt x="9" y="37"/>
                </a:lnTo>
                <a:lnTo>
                  <a:pt x="9" y="37"/>
                </a:lnTo>
                <a:lnTo>
                  <a:pt x="9" y="38"/>
                </a:lnTo>
                <a:lnTo>
                  <a:pt x="9" y="38"/>
                </a:lnTo>
                <a:lnTo>
                  <a:pt x="9" y="38"/>
                </a:lnTo>
                <a:lnTo>
                  <a:pt x="9" y="38"/>
                </a:lnTo>
                <a:lnTo>
                  <a:pt x="9" y="38"/>
                </a:lnTo>
                <a:lnTo>
                  <a:pt x="9" y="38"/>
                </a:lnTo>
                <a:lnTo>
                  <a:pt x="9" y="39"/>
                </a:lnTo>
                <a:lnTo>
                  <a:pt x="9" y="39"/>
                </a:lnTo>
                <a:lnTo>
                  <a:pt x="9" y="39"/>
                </a:lnTo>
                <a:lnTo>
                  <a:pt x="9" y="39"/>
                </a:lnTo>
                <a:lnTo>
                  <a:pt x="9" y="39"/>
                </a:lnTo>
                <a:lnTo>
                  <a:pt x="9" y="39"/>
                </a:lnTo>
                <a:lnTo>
                  <a:pt x="9" y="40"/>
                </a:lnTo>
                <a:lnTo>
                  <a:pt x="9" y="40"/>
                </a:lnTo>
                <a:lnTo>
                  <a:pt x="9" y="40"/>
                </a:lnTo>
                <a:lnTo>
                  <a:pt x="9" y="40"/>
                </a:lnTo>
                <a:lnTo>
                  <a:pt x="9" y="40"/>
                </a:lnTo>
                <a:lnTo>
                  <a:pt x="9" y="40"/>
                </a:lnTo>
                <a:lnTo>
                  <a:pt x="9" y="41"/>
                </a:lnTo>
                <a:lnTo>
                  <a:pt x="9" y="41"/>
                </a:lnTo>
                <a:lnTo>
                  <a:pt x="9" y="41"/>
                </a:lnTo>
                <a:lnTo>
                  <a:pt x="9" y="41"/>
                </a:lnTo>
                <a:lnTo>
                  <a:pt x="9" y="41"/>
                </a:lnTo>
                <a:lnTo>
                  <a:pt x="9" y="41"/>
                </a:lnTo>
                <a:lnTo>
                  <a:pt x="9" y="43"/>
                </a:lnTo>
                <a:lnTo>
                  <a:pt x="9" y="43"/>
                </a:lnTo>
                <a:lnTo>
                  <a:pt x="9" y="43"/>
                </a:lnTo>
                <a:lnTo>
                  <a:pt x="9" y="43"/>
                </a:lnTo>
                <a:lnTo>
                  <a:pt x="9" y="43"/>
                </a:lnTo>
                <a:lnTo>
                  <a:pt x="9" y="43"/>
                </a:lnTo>
                <a:lnTo>
                  <a:pt x="9" y="44"/>
                </a:lnTo>
                <a:lnTo>
                  <a:pt x="9" y="44"/>
                </a:lnTo>
                <a:lnTo>
                  <a:pt x="9" y="44"/>
                </a:lnTo>
                <a:lnTo>
                  <a:pt x="9" y="44"/>
                </a:lnTo>
                <a:lnTo>
                  <a:pt x="9" y="44"/>
                </a:lnTo>
                <a:lnTo>
                  <a:pt x="9" y="44"/>
                </a:lnTo>
                <a:lnTo>
                  <a:pt x="9" y="44"/>
                </a:lnTo>
                <a:lnTo>
                  <a:pt x="9" y="45"/>
                </a:lnTo>
                <a:lnTo>
                  <a:pt x="9" y="45"/>
                </a:lnTo>
                <a:lnTo>
                  <a:pt x="9" y="45"/>
                </a:lnTo>
                <a:lnTo>
                  <a:pt x="9" y="45"/>
                </a:lnTo>
                <a:lnTo>
                  <a:pt x="10" y="45"/>
                </a:lnTo>
                <a:lnTo>
                  <a:pt x="10" y="45"/>
                </a:lnTo>
                <a:lnTo>
                  <a:pt x="10" y="46"/>
                </a:lnTo>
                <a:lnTo>
                  <a:pt x="10" y="46"/>
                </a:lnTo>
                <a:lnTo>
                  <a:pt x="10" y="46"/>
                </a:lnTo>
                <a:lnTo>
                  <a:pt x="10" y="46"/>
                </a:lnTo>
                <a:lnTo>
                  <a:pt x="10" y="46"/>
                </a:lnTo>
                <a:lnTo>
                  <a:pt x="10" y="46"/>
                </a:lnTo>
                <a:lnTo>
                  <a:pt x="10" y="47"/>
                </a:lnTo>
                <a:lnTo>
                  <a:pt x="10" y="47"/>
                </a:lnTo>
                <a:lnTo>
                  <a:pt x="10" y="47"/>
                </a:lnTo>
                <a:lnTo>
                  <a:pt x="10" y="47"/>
                </a:lnTo>
                <a:lnTo>
                  <a:pt x="10" y="47"/>
                </a:lnTo>
                <a:lnTo>
                  <a:pt x="10" y="47"/>
                </a:lnTo>
                <a:lnTo>
                  <a:pt x="10" y="47"/>
                </a:lnTo>
                <a:lnTo>
                  <a:pt x="10" y="48"/>
                </a:lnTo>
                <a:lnTo>
                  <a:pt x="10" y="48"/>
                </a:lnTo>
                <a:lnTo>
                  <a:pt x="10" y="48"/>
                </a:lnTo>
                <a:lnTo>
                  <a:pt x="10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9"/>
                </a:lnTo>
                <a:lnTo>
                  <a:pt x="12" y="49"/>
                </a:lnTo>
                <a:lnTo>
                  <a:pt x="12" y="49"/>
                </a:lnTo>
                <a:lnTo>
                  <a:pt x="12" y="49"/>
                </a:lnTo>
                <a:lnTo>
                  <a:pt x="12" y="49"/>
                </a:lnTo>
                <a:lnTo>
                  <a:pt x="12" y="49"/>
                </a:lnTo>
                <a:lnTo>
                  <a:pt x="12" y="49"/>
                </a:lnTo>
                <a:lnTo>
                  <a:pt x="12" y="50"/>
                </a:lnTo>
                <a:lnTo>
                  <a:pt x="12" y="50"/>
                </a:lnTo>
                <a:lnTo>
                  <a:pt x="12" y="50"/>
                </a:lnTo>
                <a:lnTo>
                  <a:pt x="12" y="50"/>
                </a:lnTo>
                <a:lnTo>
                  <a:pt x="12" y="50"/>
                </a:lnTo>
                <a:lnTo>
                  <a:pt x="13" y="50"/>
                </a:lnTo>
                <a:lnTo>
                  <a:pt x="13" y="50"/>
                </a:lnTo>
                <a:lnTo>
                  <a:pt x="13" y="52"/>
                </a:lnTo>
                <a:lnTo>
                  <a:pt x="13" y="52"/>
                </a:lnTo>
                <a:lnTo>
                  <a:pt x="13" y="52"/>
                </a:lnTo>
                <a:lnTo>
                  <a:pt x="13" y="52"/>
                </a:lnTo>
                <a:lnTo>
                  <a:pt x="13" y="52"/>
                </a:lnTo>
                <a:lnTo>
                  <a:pt x="13" y="52"/>
                </a:lnTo>
                <a:lnTo>
                  <a:pt x="13" y="52"/>
                </a:lnTo>
                <a:lnTo>
                  <a:pt x="13" y="53"/>
                </a:lnTo>
                <a:lnTo>
                  <a:pt x="13" y="53"/>
                </a:lnTo>
                <a:lnTo>
                  <a:pt x="13" y="53"/>
                </a:lnTo>
                <a:lnTo>
                  <a:pt x="13" y="53"/>
                </a:lnTo>
                <a:lnTo>
                  <a:pt x="14" y="53"/>
                </a:lnTo>
                <a:lnTo>
                  <a:pt x="14" y="53"/>
                </a:lnTo>
                <a:lnTo>
                  <a:pt x="14" y="53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6"/>
                </a:lnTo>
                <a:lnTo>
                  <a:pt x="15" y="56"/>
                </a:lnTo>
                <a:lnTo>
                  <a:pt x="16" y="56"/>
                </a:lnTo>
                <a:lnTo>
                  <a:pt x="16" y="56"/>
                </a:lnTo>
                <a:lnTo>
                  <a:pt x="16" y="56"/>
                </a:lnTo>
                <a:lnTo>
                  <a:pt x="16" y="56"/>
                </a:lnTo>
                <a:lnTo>
                  <a:pt x="16" y="56"/>
                </a:lnTo>
                <a:lnTo>
                  <a:pt x="16" y="56"/>
                </a:lnTo>
                <a:lnTo>
                  <a:pt x="16" y="57"/>
                </a:lnTo>
                <a:lnTo>
                  <a:pt x="16" y="57"/>
                </a:lnTo>
                <a:lnTo>
                  <a:pt x="16" y="57"/>
                </a:lnTo>
                <a:lnTo>
                  <a:pt x="16" y="57"/>
                </a:lnTo>
                <a:lnTo>
                  <a:pt x="17" y="57"/>
                </a:lnTo>
                <a:lnTo>
                  <a:pt x="17" y="57"/>
                </a:lnTo>
                <a:lnTo>
                  <a:pt x="17" y="57"/>
                </a:lnTo>
                <a:lnTo>
                  <a:pt x="17" y="57"/>
                </a:lnTo>
                <a:lnTo>
                  <a:pt x="17" y="57"/>
                </a:lnTo>
                <a:lnTo>
                  <a:pt x="17" y="58"/>
                </a:lnTo>
                <a:lnTo>
                  <a:pt x="17" y="58"/>
                </a:lnTo>
                <a:lnTo>
                  <a:pt x="17" y="58"/>
                </a:lnTo>
                <a:lnTo>
                  <a:pt x="17" y="58"/>
                </a:lnTo>
                <a:lnTo>
                  <a:pt x="18" y="58"/>
                </a:lnTo>
                <a:lnTo>
                  <a:pt x="18" y="58"/>
                </a:lnTo>
                <a:lnTo>
                  <a:pt x="18" y="58"/>
                </a:lnTo>
                <a:lnTo>
                  <a:pt x="18" y="58"/>
                </a:lnTo>
                <a:lnTo>
                  <a:pt x="18" y="58"/>
                </a:lnTo>
                <a:lnTo>
                  <a:pt x="18" y="59"/>
                </a:lnTo>
                <a:lnTo>
                  <a:pt x="18" y="59"/>
                </a:lnTo>
                <a:lnTo>
                  <a:pt x="18" y="59"/>
                </a:lnTo>
                <a:lnTo>
                  <a:pt x="19" y="59"/>
                </a:lnTo>
                <a:lnTo>
                  <a:pt x="19" y="59"/>
                </a:lnTo>
                <a:lnTo>
                  <a:pt x="19" y="59"/>
                </a:lnTo>
                <a:lnTo>
                  <a:pt x="19" y="59"/>
                </a:lnTo>
                <a:lnTo>
                  <a:pt x="19" y="59"/>
                </a:lnTo>
                <a:lnTo>
                  <a:pt x="19" y="59"/>
                </a:lnTo>
                <a:lnTo>
                  <a:pt x="19" y="59"/>
                </a:lnTo>
                <a:lnTo>
                  <a:pt x="19" y="61"/>
                </a:lnTo>
                <a:lnTo>
                  <a:pt x="19" y="61"/>
                </a:lnTo>
                <a:lnTo>
                  <a:pt x="21" y="61"/>
                </a:lnTo>
                <a:lnTo>
                  <a:pt x="21" y="61"/>
                </a:lnTo>
                <a:lnTo>
                  <a:pt x="21" y="61"/>
                </a:lnTo>
                <a:lnTo>
                  <a:pt x="21" y="61"/>
                </a:lnTo>
                <a:lnTo>
                  <a:pt x="21" y="61"/>
                </a:lnTo>
                <a:lnTo>
                  <a:pt x="21" y="61"/>
                </a:lnTo>
                <a:lnTo>
                  <a:pt x="21" y="61"/>
                </a:lnTo>
                <a:lnTo>
                  <a:pt x="22" y="61"/>
                </a:lnTo>
                <a:lnTo>
                  <a:pt x="22" y="62"/>
                </a:lnTo>
                <a:lnTo>
                  <a:pt x="22" y="62"/>
                </a:lnTo>
                <a:lnTo>
                  <a:pt x="22" y="62"/>
                </a:lnTo>
                <a:lnTo>
                  <a:pt x="22" y="62"/>
                </a:lnTo>
                <a:lnTo>
                  <a:pt x="22" y="62"/>
                </a:lnTo>
                <a:lnTo>
                  <a:pt x="22" y="62"/>
                </a:lnTo>
                <a:lnTo>
                  <a:pt x="22" y="62"/>
                </a:lnTo>
                <a:lnTo>
                  <a:pt x="23" y="62"/>
                </a:lnTo>
                <a:lnTo>
                  <a:pt x="23" y="62"/>
                </a:lnTo>
                <a:lnTo>
                  <a:pt x="23" y="62"/>
                </a:lnTo>
                <a:lnTo>
                  <a:pt x="23" y="62"/>
                </a:lnTo>
                <a:lnTo>
                  <a:pt x="23" y="63"/>
                </a:lnTo>
                <a:lnTo>
                  <a:pt x="23" y="63"/>
                </a:lnTo>
                <a:lnTo>
                  <a:pt x="23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5" y="63"/>
                </a:lnTo>
                <a:lnTo>
                  <a:pt x="25" y="63"/>
                </a:lnTo>
                <a:lnTo>
                  <a:pt x="25" y="64"/>
                </a:lnTo>
                <a:lnTo>
                  <a:pt x="25" y="64"/>
                </a:lnTo>
                <a:lnTo>
                  <a:pt x="25" y="64"/>
                </a:lnTo>
                <a:lnTo>
                  <a:pt x="25" y="64"/>
                </a:lnTo>
                <a:lnTo>
                  <a:pt x="25" y="64"/>
                </a:lnTo>
                <a:lnTo>
                  <a:pt x="26" y="64"/>
                </a:lnTo>
                <a:lnTo>
                  <a:pt x="26" y="64"/>
                </a:lnTo>
                <a:lnTo>
                  <a:pt x="26" y="64"/>
                </a:lnTo>
                <a:lnTo>
                  <a:pt x="26" y="64"/>
                </a:lnTo>
                <a:lnTo>
                  <a:pt x="26" y="64"/>
                </a:lnTo>
                <a:lnTo>
                  <a:pt x="26" y="64"/>
                </a:lnTo>
                <a:lnTo>
                  <a:pt x="26" y="64"/>
                </a:lnTo>
                <a:lnTo>
                  <a:pt x="27" y="64"/>
                </a:lnTo>
                <a:lnTo>
                  <a:pt x="27" y="64"/>
                </a:lnTo>
                <a:lnTo>
                  <a:pt x="27" y="64"/>
                </a:lnTo>
                <a:lnTo>
                  <a:pt x="27" y="65"/>
                </a:lnTo>
                <a:lnTo>
                  <a:pt x="27" y="65"/>
                </a:lnTo>
                <a:lnTo>
                  <a:pt x="27" y="65"/>
                </a:lnTo>
                <a:lnTo>
                  <a:pt x="28" y="65"/>
                </a:lnTo>
                <a:lnTo>
                  <a:pt x="28" y="65"/>
                </a:lnTo>
                <a:lnTo>
                  <a:pt x="28" y="65"/>
                </a:lnTo>
                <a:lnTo>
                  <a:pt x="28" y="65"/>
                </a:lnTo>
                <a:lnTo>
                  <a:pt x="28" y="65"/>
                </a:lnTo>
                <a:lnTo>
                  <a:pt x="28" y="65"/>
                </a:lnTo>
                <a:lnTo>
                  <a:pt x="28" y="65"/>
                </a:lnTo>
                <a:lnTo>
                  <a:pt x="30" y="65"/>
                </a:lnTo>
                <a:lnTo>
                  <a:pt x="30" y="65"/>
                </a:lnTo>
                <a:lnTo>
                  <a:pt x="30" y="65"/>
                </a:lnTo>
                <a:lnTo>
                  <a:pt x="30" y="65"/>
                </a:lnTo>
                <a:lnTo>
                  <a:pt x="30" y="65"/>
                </a:lnTo>
                <a:lnTo>
                  <a:pt x="30" y="65"/>
                </a:lnTo>
                <a:lnTo>
                  <a:pt x="31" y="65"/>
                </a:lnTo>
                <a:lnTo>
                  <a:pt x="31" y="65"/>
                </a:lnTo>
                <a:lnTo>
                  <a:pt x="31" y="65"/>
                </a:lnTo>
                <a:lnTo>
                  <a:pt x="31" y="66"/>
                </a:lnTo>
                <a:lnTo>
                  <a:pt x="31" y="66"/>
                </a:lnTo>
                <a:lnTo>
                  <a:pt x="31" y="66"/>
                </a:lnTo>
                <a:lnTo>
                  <a:pt x="31" y="66"/>
                </a:lnTo>
                <a:lnTo>
                  <a:pt x="32" y="66"/>
                </a:lnTo>
                <a:lnTo>
                  <a:pt x="32" y="66"/>
                </a:lnTo>
                <a:lnTo>
                  <a:pt x="32" y="66"/>
                </a:lnTo>
                <a:lnTo>
                  <a:pt x="32" y="66"/>
                </a:lnTo>
                <a:lnTo>
                  <a:pt x="32" y="66"/>
                </a:lnTo>
                <a:lnTo>
                  <a:pt x="32" y="66"/>
                </a:lnTo>
                <a:lnTo>
                  <a:pt x="33" y="66"/>
                </a:lnTo>
                <a:lnTo>
                  <a:pt x="33" y="66"/>
                </a:lnTo>
                <a:lnTo>
                  <a:pt x="33" y="66"/>
                </a:lnTo>
                <a:lnTo>
                  <a:pt x="33" y="66"/>
                </a:lnTo>
                <a:lnTo>
                  <a:pt x="33" y="66"/>
                </a:lnTo>
                <a:lnTo>
                  <a:pt x="33" y="66"/>
                </a:lnTo>
                <a:lnTo>
                  <a:pt x="34" y="66"/>
                </a:lnTo>
                <a:lnTo>
                  <a:pt x="34" y="66"/>
                </a:lnTo>
                <a:lnTo>
                  <a:pt x="34" y="66"/>
                </a:lnTo>
                <a:lnTo>
                  <a:pt x="34" y="66"/>
                </a:lnTo>
                <a:lnTo>
                  <a:pt x="34" y="66"/>
                </a:lnTo>
                <a:lnTo>
                  <a:pt x="34" y="66"/>
                </a:lnTo>
                <a:lnTo>
                  <a:pt x="35" y="66"/>
                </a:lnTo>
                <a:lnTo>
                  <a:pt x="35" y="66"/>
                </a:lnTo>
                <a:lnTo>
                  <a:pt x="35" y="66"/>
                </a:lnTo>
                <a:lnTo>
                  <a:pt x="35" y="66"/>
                </a:lnTo>
                <a:lnTo>
                  <a:pt x="35" y="66"/>
                </a:lnTo>
                <a:lnTo>
                  <a:pt x="35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7" y="66"/>
                </a:lnTo>
                <a:lnTo>
                  <a:pt x="37" y="66"/>
                </a:lnTo>
                <a:lnTo>
                  <a:pt x="37" y="66"/>
                </a:lnTo>
                <a:lnTo>
                  <a:pt x="37" y="66"/>
                </a:lnTo>
                <a:lnTo>
                  <a:pt x="37" y="66"/>
                </a:lnTo>
                <a:lnTo>
                  <a:pt x="37" y="66"/>
                </a:lnTo>
                <a:lnTo>
                  <a:pt x="39" y="66"/>
                </a:lnTo>
                <a:lnTo>
                  <a:pt x="39" y="66"/>
                </a:lnTo>
                <a:lnTo>
                  <a:pt x="39" y="66"/>
                </a:lnTo>
                <a:lnTo>
                  <a:pt x="39" y="66"/>
                </a:lnTo>
                <a:close/>
                <a:moveTo>
                  <a:pt x="76" y="37"/>
                </a:moveTo>
                <a:lnTo>
                  <a:pt x="76" y="37"/>
                </a:lnTo>
                <a:lnTo>
                  <a:pt x="76" y="37"/>
                </a:lnTo>
                <a:lnTo>
                  <a:pt x="76" y="38"/>
                </a:lnTo>
                <a:lnTo>
                  <a:pt x="76" y="38"/>
                </a:lnTo>
                <a:lnTo>
                  <a:pt x="76" y="38"/>
                </a:lnTo>
                <a:lnTo>
                  <a:pt x="76" y="38"/>
                </a:lnTo>
                <a:lnTo>
                  <a:pt x="76" y="39"/>
                </a:lnTo>
                <a:lnTo>
                  <a:pt x="76" y="39"/>
                </a:lnTo>
                <a:lnTo>
                  <a:pt x="76" y="39"/>
                </a:lnTo>
                <a:lnTo>
                  <a:pt x="76" y="39"/>
                </a:lnTo>
                <a:lnTo>
                  <a:pt x="76" y="39"/>
                </a:lnTo>
                <a:lnTo>
                  <a:pt x="76" y="40"/>
                </a:lnTo>
                <a:lnTo>
                  <a:pt x="76" y="40"/>
                </a:lnTo>
                <a:lnTo>
                  <a:pt x="76" y="40"/>
                </a:lnTo>
                <a:lnTo>
                  <a:pt x="76" y="40"/>
                </a:lnTo>
                <a:lnTo>
                  <a:pt x="76" y="40"/>
                </a:lnTo>
                <a:lnTo>
                  <a:pt x="76" y="41"/>
                </a:lnTo>
                <a:lnTo>
                  <a:pt x="76" y="41"/>
                </a:lnTo>
                <a:lnTo>
                  <a:pt x="76" y="41"/>
                </a:lnTo>
                <a:lnTo>
                  <a:pt x="76" y="41"/>
                </a:lnTo>
                <a:lnTo>
                  <a:pt x="76" y="43"/>
                </a:lnTo>
                <a:lnTo>
                  <a:pt x="76" y="43"/>
                </a:lnTo>
                <a:lnTo>
                  <a:pt x="76" y="43"/>
                </a:lnTo>
                <a:lnTo>
                  <a:pt x="76" y="43"/>
                </a:lnTo>
                <a:lnTo>
                  <a:pt x="76" y="43"/>
                </a:lnTo>
                <a:lnTo>
                  <a:pt x="76" y="44"/>
                </a:lnTo>
                <a:lnTo>
                  <a:pt x="76" y="44"/>
                </a:lnTo>
                <a:lnTo>
                  <a:pt x="76" y="44"/>
                </a:lnTo>
                <a:lnTo>
                  <a:pt x="76" y="44"/>
                </a:lnTo>
                <a:lnTo>
                  <a:pt x="76" y="44"/>
                </a:lnTo>
                <a:lnTo>
                  <a:pt x="76" y="45"/>
                </a:lnTo>
                <a:lnTo>
                  <a:pt x="76" y="45"/>
                </a:lnTo>
                <a:lnTo>
                  <a:pt x="76" y="45"/>
                </a:lnTo>
                <a:lnTo>
                  <a:pt x="75" y="45"/>
                </a:lnTo>
                <a:lnTo>
                  <a:pt x="75" y="45"/>
                </a:lnTo>
                <a:lnTo>
                  <a:pt x="75" y="46"/>
                </a:lnTo>
                <a:lnTo>
                  <a:pt x="75" y="46"/>
                </a:lnTo>
                <a:lnTo>
                  <a:pt x="75" y="46"/>
                </a:lnTo>
                <a:lnTo>
                  <a:pt x="75" y="46"/>
                </a:lnTo>
                <a:lnTo>
                  <a:pt x="75" y="46"/>
                </a:lnTo>
                <a:lnTo>
                  <a:pt x="75" y="47"/>
                </a:lnTo>
                <a:lnTo>
                  <a:pt x="75" y="47"/>
                </a:lnTo>
                <a:lnTo>
                  <a:pt x="75" y="47"/>
                </a:lnTo>
                <a:lnTo>
                  <a:pt x="75" y="47"/>
                </a:lnTo>
                <a:lnTo>
                  <a:pt x="75" y="47"/>
                </a:lnTo>
                <a:lnTo>
                  <a:pt x="75" y="48"/>
                </a:lnTo>
                <a:lnTo>
                  <a:pt x="75" y="48"/>
                </a:lnTo>
                <a:lnTo>
                  <a:pt x="75" y="48"/>
                </a:lnTo>
                <a:lnTo>
                  <a:pt x="75" y="48"/>
                </a:lnTo>
                <a:lnTo>
                  <a:pt x="75" y="48"/>
                </a:lnTo>
                <a:lnTo>
                  <a:pt x="75" y="49"/>
                </a:lnTo>
                <a:lnTo>
                  <a:pt x="75" y="49"/>
                </a:lnTo>
                <a:lnTo>
                  <a:pt x="73" y="49"/>
                </a:lnTo>
                <a:lnTo>
                  <a:pt x="73" y="49"/>
                </a:lnTo>
                <a:lnTo>
                  <a:pt x="73" y="49"/>
                </a:lnTo>
                <a:lnTo>
                  <a:pt x="73" y="50"/>
                </a:lnTo>
                <a:lnTo>
                  <a:pt x="73" y="50"/>
                </a:lnTo>
                <a:lnTo>
                  <a:pt x="73" y="50"/>
                </a:lnTo>
                <a:lnTo>
                  <a:pt x="73" y="50"/>
                </a:lnTo>
                <a:lnTo>
                  <a:pt x="73" y="50"/>
                </a:lnTo>
                <a:lnTo>
                  <a:pt x="73" y="50"/>
                </a:lnTo>
                <a:lnTo>
                  <a:pt x="73" y="52"/>
                </a:lnTo>
                <a:lnTo>
                  <a:pt x="73" y="52"/>
                </a:lnTo>
                <a:lnTo>
                  <a:pt x="73" y="52"/>
                </a:lnTo>
                <a:lnTo>
                  <a:pt x="73" y="52"/>
                </a:lnTo>
                <a:lnTo>
                  <a:pt x="72" y="52"/>
                </a:lnTo>
                <a:lnTo>
                  <a:pt x="72" y="53"/>
                </a:lnTo>
                <a:lnTo>
                  <a:pt x="72" y="53"/>
                </a:lnTo>
                <a:lnTo>
                  <a:pt x="72" y="53"/>
                </a:lnTo>
                <a:lnTo>
                  <a:pt x="72" y="53"/>
                </a:lnTo>
                <a:lnTo>
                  <a:pt x="72" y="53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1" y="55"/>
                </a:lnTo>
                <a:lnTo>
                  <a:pt x="71" y="55"/>
                </a:lnTo>
                <a:lnTo>
                  <a:pt x="71" y="55"/>
                </a:lnTo>
                <a:lnTo>
                  <a:pt x="71" y="55"/>
                </a:lnTo>
                <a:lnTo>
                  <a:pt x="71" y="55"/>
                </a:lnTo>
                <a:lnTo>
                  <a:pt x="71" y="56"/>
                </a:lnTo>
                <a:lnTo>
                  <a:pt x="71" y="56"/>
                </a:lnTo>
                <a:lnTo>
                  <a:pt x="71" y="56"/>
                </a:lnTo>
                <a:lnTo>
                  <a:pt x="71" y="56"/>
                </a:lnTo>
                <a:lnTo>
                  <a:pt x="71" y="56"/>
                </a:lnTo>
                <a:lnTo>
                  <a:pt x="70" y="56"/>
                </a:lnTo>
                <a:lnTo>
                  <a:pt x="70" y="57"/>
                </a:lnTo>
                <a:lnTo>
                  <a:pt x="70" y="57"/>
                </a:lnTo>
                <a:lnTo>
                  <a:pt x="70" y="57"/>
                </a:lnTo>
                <a:lnTo>
                  <a:pt x="70" y="57"/>
                </a:lnTo>
                <a:lnTo>
                  <a:pt x="70" y="57"/>
                </a:lnTo>
                <a:lnTo>
                  <a:pt x="70" y="57"/>
                </a:lnTo>
                <a:lnTo>
                  <a:pt x="70" y="58"/>
                </a:lnTo>
                <a:lnTo>
                  <a:pt x="70" y="58"/>
                </a:lnTo>
                <a:lnTo>
                  <a:pt x="69" y="58"/>
                </a:lnTo>
                <a:lnTo>
                  <a:pt x="69" y="58"/>
                </a:lnTo>
                <a:lnTo>
                  <a:pt x="69" y="58"/>
                </a:lnTo>
                <a:lnTo>
                  <a:pt x="69" y="58"/>
                </a:lnTo>
                <a:lnTo>
                  <a:pt x="69" y="59"/>
                </a:lnTo>
                <a:lnTo>
                  <a:pt x="69" y="59"/>
                </a:lnTo>
                <a:lnTo>
                  <a:pt x="69" y="59"/>
                </a:lnTo>
                <a:lnTo>
                  <a:pt x="69" y="59"/>
                </a:lnTo>
                <a:lnTo>
                  <a:pt x="69" y="59"/>
                </a:lnTo>
                <a:lnTo>
                  <a:pt x="68" y="59"/>
                </a:lnTo>
                <a:lnTo>
                  <a:pt x="68" y="61"/>
                </a:lnTo>
                <a:lnTo>
                  <a:pt x="68" y="61"/>
                </a:lnTo>
                <a:lnTo>
                  <a:pt x="68" y="61"/>
                </a:lnTo>
                <a:lnTo>
                  <a:pt x="68" y="61"/>
                </a:lnTo>
                <a:lnTo>
                  <a:pt x="68" y="61"/>
                </a:lnTo>
                <a:lnTo>
                  <a:pt x="68" y="61"/>
                </a:lnTo>
                <a:lnTo>
                  <a:pt x="67" y="61"/>
                </a:lnTo>
                <a:lnTo>
                  <a:pt x="67" y="62"/>
                </a:lnTo>
                <a:lnTo>
                  <a:pt x="67" y="62"/>
                </a:lnTo>
                <a:lnTo>
                  <a:pt x="67" y="62"/>
                </a:lnTo>
                <a:lnTo>
                  <a:pt x="67" y="62"/>
                </a:lnTo>
                <a:lnTo>
                  <a:pt x="67" y="62"/>
                </a:lnTo>
                <a:lnTo>
                  <a:pt x="67" y="62"/>
                </a:lnTo>
                <a:lnTo>
                  <a:pt x="67" y="63"/>
                </a:lnTo>
                <a:lnTo>
                  <a:pt x="66" y="63"/>
                </a:lnTo>
                <a:lnTo>
                  <a:pt x="66" y="63"/>
                </a:lnTo>
                <a:lnTo>
                  <a:pt x="66" y="63"/>
                </a:lnTo>
                <a:lnTo>
                  <a:pt x="66" y="63"/>
                </a:lnTo>
                <a:lnTo>
                  <a:pt x="66" y="63"/>
                </a:lnTo>
                <a:lnTo>
                  <a:pt x="66" y="63"/>
                </a:lnTo>
                <a:lnTo>
                  <a:pt x="66" y="64"/>
                </a:lnTo>
                <a:lnTo>
                  <a:pt x="64" y="64"/>
                </a:lnTo>
                <a:lnTo>
                  <a:pt x="64" y="64"/>
                </a:lnTo>
                <a:lnTo>
                  <a:pt x="64" y="64"/>
                </a:lnTo>
                <a:lnTo>
                  <a:pt x="64" y="64"/>
                </a:lnTo>
                <a:lnTo>
                  <a:pt x="64" y="64"/>
                </a:lnTo>
                <a:lnTo>
                  <a:pt x="64" y="64"/>
                </a:lnTo>
                <a:lnTo>
                  <a:pt x="64" y="65"/>
                </a:lnTo>
                <a:lnTo>
                  <a:pt x="63" y="65"/>
                </a:lnTo>
                <a:lnTo>
                  <a:pt x="63" y="65"/>
                </a:lnTo>
                <a:lnTo>
                  <a:pt x="63" y="65"/>
                </a:lnTo>
                <a:lnTo>
                  <a:pt x="63" y="65"/>
                </a:lnTo>
                <a:lnTo>
                  <a:pt x="63" y="65"/>
                </a:lnTo>
                <a:lnTo>
                  <a:pt x="63" y="65"/>
                </a:lnTo>
                <a:lnTo>
                  <a:pt x="63" y="65"/>
                </a:lnTo>
                <a:lnTo>
                  <a:pt x="62" y="66"/>
                </a:lnTo>
                <a:lnTo>
                  <a:pt x="62" y="66"/>
                </a:lnTo>
                <a:lnTo>
                  <a:pt x="62" y="66"/>
                </a:lnTo>
                <a:lnTo>
                  <a:pt x="62" y="66"/>
                </a:lnTo>
                <a:lnTo>
                  <a:pt x="62" y="66"/>
                </a:lnTo>
                <a:lnTo>
                  <a:pt x="62" y="66"/>
                </a:lnTo>
                <a:lnTo>
                  <a:pt x="61" y="66"/>
                </a:lnTo>
                <a:lnTo>
                  <a:pt x="61" y="66"/>
                </a:lnTo>
                <a:lnTo>
                  <a:pt x="61" y="67"/>
                </a:lnTo>
                <a:lnTo>
                  <a:pt x="61" y="67"/>
                </a:lnTo>
                <a:lnTo>
                  <a:pt x="61" y="67"/>
                </a:lnTo>
                <a:lnTo>
                  <a:pt x="61" y="67"/>
                </a:lnTo>
                <a:lnTo>
                  <a:pt x="61" y="67"/>
                </a:lnTo>
                <a:lnTo>
                  <a:pt x="60" y="67"/>
                </a:lnTo>
                <a:lnTo>
                  <a:pt x="60" y="67"/>
                </a:lnTo>
                <a:lnTo>
                  <a:pt x="60" y="67"/>
                </a:lnTo>
                <a:lnTo>
                  <a:pt x="60" y="68"/>
                </a:lnTo>
                <a:lnTo>
                  <a:pt x="60" y="68"/>
                </a:lnTo>
                <a:lnTo>
                  <a:pt x="60" y="68"/>
                </a:lnTo>
                <a:lnTo>
                  <a:pt x="59" y="68"/>
                </a:lnTo>
                <a:lnTo>
                  <a:pt x="59" y="68"/>
                </a:lnTo>
                <a:lnTo>
                  <a:pt x="59" y="68"/>
                </a:lnTo>
                <a:lnTo>
                  <a:pt x="59" y="68"/>
                </a:lnTo>
                <a:lnTo>
                  <a:pt x="59" y="68"/>
                </a:lnTo>
                <a:lnTo>
                  <a:pt x="59" y="68"/>
                </a:lnTo>
                <a:lnTo>
                  <a:pt x="58" y="70"/>
                </a:lnTo>
                <a:lnTo>
                  <a:pt x="58" y="70"/>
                </a:lnTo>
                <a:lnTo>
                  <a:pt x="58" y="70"/>
                </a:lnTo>
                <a:lnTo>
                  <a:pt x="58" y="70"/>
                </a:lnTo>
                <a:lnTo>
                  <a:pt x="58" y="70"/>
                </a:lnTo>
                <a:lnTo>
                  <a:pt x="57" y="70"/>
                </a:lnTo>
                <a:lnTo>
                  <a:pt x="57" y="70"/>
                </a:lnTo>
                <a:lnTo>
                  <a:pt x="57" y="70"/>
                </a:lnTo>
                <a:lnTo>
                  <a:pt x="57" y="70"/>
                </a:lnTo>
                <a:lnTo>
                  <a:pt x="57" y="70"/>
                </a:lnTo>
                <a:lnTo>
                  <a:pt x="57" y="71"/>
                </a:lnTo>
                <a:lnTo>
                  <a:pt x="55" y="71"/>
                </a:lnTo>
                <a:lnTo>
                  <a:pt x="55" y="71"/>
                </a:lnTo>
                <a:lnTo>
                  <a:pt x="55" y="71"/>
                </a:lnTo>
                <a:lnTo>
                  <a:pt x="55" y="71"/>
                </a:lnTo>
                <a:lnTo>
                  <a:pt x="55" y="71"/>
                </a:lnTo>
                <a:lnTo>
                  <a:pt x="55" y="71"/>
                </a:lnTo>
                <a:lnTo>
                  <a:pt x="54" y="71"/>
                </a:lnTo>
                <a:lnTo>
                  <a:pt x="54" y="71"/>
                </a:lnTo>
                <a:lnTo>
                  <a:pt x="54" y="71"/>
                </a:lnTo>
                <a:lnTo>
                  <a:pt x="54" y="71"/>
                </a:lnTo>
                <a:lnTo>
                  <a:pt x="54" y="72"/>
                </a:lnTo>
                <a:lnTo>
                  <a:pt x="53" y="72"/>
                </a:lnTo>
                <a:lnTo>
                  <a:pt x="53" y="72"/>
                </a:lnTo>
                <a:lnTo>
                  <a:pt x="53" y="72"/>
                </a:lnTo>
                <a:lnTo>
                  <a:pt x="53" y="72"/>
                </a:lnTo>
                <a:lnTo>
                  <a:pt x="53" y="72"/>
                </a:lnTo>
                <a:lnTo>
                  <a:pt x="52" y="72"/>
                </a:lnTo>
                <a:lnTo>
                  <a:pt x="52" y="72"/>
                </a:lnTo>
                <a:lnTo>
                  <a:pt x="52" y="72"/>
                </a:lnTo>
                <a:lnTo>
                  <a:pt x="52" y="72"/>
                </a:lnTo>
                <a:lnTo>
                  <a:pt x="52" y="72"/>
                </a:lnTo>
                <a:lnTo>
                  <a:pt x="52" y="72"/>
                </a:lnTo>
                <a:lnTo>
                  <a:pt x="51" y="72"/>
                </a:lnTo>
                <a:lnTo>
                  <a:pt x="51" y="73"/>
                </a:lnTo>
                <a:lnTo>
                  <a:pt x="51" y="73"/>
                </a:lnTo>
                <a:lnTo>
                  <a:pt x="51" y="73"/>
                </a:lnTo>
                <a:lnTo>
                  <a:pt x="51" y="73"/>
                </a:lnTo>
                <a:lnTo>
                  <a:pt x="50" y="73"/>
                </a:lnTo>
                <a:lnTo>
                  <a:pt x="50" y="73"/>
                </a:lnTo>
                <a:lnTo>
                  <a:pt x="50" y="73"/>
                </a:lnTo>
                <a:lnTo>
                  <a:pt x="50" y="73"/>
                </a:lnTo>
                <a:lnTo>
                  <a:pt x="50" y="73"/>
                </a:lnTo>
                <a:lnTo>
                  <a:pt x="49" y="73"/>
                </a:lnTo>
                <a:lnTo>
                  <a:pt x="49" y="73"/>
                </a:lnTo>
                <a:lnTo>
                  <a:pt x="49" y="73"/>
                </a:lnTo>
                <a:lnTo>
                  <a:pt x="49" y="73"/>
                </a:lnTo>
                <a:lnTo>
                  <a:pt x="49" y="73"/>
                </a:lnTo>
                <a:lnTo>
                  <a:pt x="48" y="73"/>
                </a:lnTo>
                <a:lnTo>
                  <a:pt x="48" y="73"/>
                </a:lnTo>
                <a:lnTo>
                  <a:pt x="48" y="73"/>
                </a:lnTo>
                <a:lnTo>
                  <a:pt x="48" y="74"/>
                </a:lnTo>
                <a:lnTo>
                  <a:pt x="48" y="74"/>
                </a:lnTo>
                <a:lnTo>
                  <a:pt x="46" y="74"/>
                </a:lnTo>
                <a:lnTo>
                  <a:pt x="46" y="74"/>
                </a:lnTo>
                <a:lnTo>
                  <a:pt x="46" y="74"/>
                </a:lnTo>
                <a:lnTo>
                  <a:pt x="46" y="74"/>
                </a:lnTo>
                <a:lnTo>
                  <a:pt x="46" y="74"/>
                </a:lnTo>
                <a:lnTo>
                  <a:pt x="45" y="74"/>
                </a:lnTo>
                <a:lnTo>
                  <a:pt x="45" y="74"/>
                </a:lnTo>
                <a:lnTo>
                  <a:pt x="45" y="74"/>
                </a:lnTo>
                <a:lnTo>
                  <a:pt x="45" y="74"/>
                </a:lnTo>
                <a:lnTo>
                  <a:pt x="45" y="74"/>
                </a:lnTo>
                <a:lnTo>
                  <a:pt x="44" y="74"/>
                </a:lnTo>
                <a:lnTo>
                  <a:pt x="44" y="74"/>
                </a:lnTo>
                <a:lnTo>
                  <a:pt x="44" y="74"/>
                </a:lnTo>
                <a:lnTo>
                  <a:pt x="44" y="74"/>
                </a:lnTo>
                <a:lnTo>
                  <a:pt x="44" y="74"/>
                </a:lnTo>
                <a:lnTo>
                  <a:pt x="43" y="74"/>
                </a:lnTo>
                <a:lnTo>
                  <a:pt x="43" y="74"/>
                </a:lnTo>
                <a:lnTo>
                  <a:pt x="43" y="74"/>
                </a:lnTo>
                <a:lnTo>
                  <a:pt x="43" y="74"/>
                </a:lnTo>
                <a:lnTo>
                  <a:pt x="42" y="74"/>
                </a:lnTo>
                <a:lnTo>
                  <a:pt x="42" y="74"/>
                </a:lnTo>
                <a:lnTo>
                  <a:pt x="42" y="74"/>
                </a:lnTo>
                <a:lnTo>
                  <a:pt x="42" y="74"/>
                </a:lnTo>
                <a:lnTo>
                  <a:pt x="42" y="74"/>
                </a:lnTo>
                <a:lnTo>
                  <a:pt x="41" y="74"/>
                </a:lnTo>
                <a:lnTo>
                  <a:pt x="41" y="74"/>
                </a:lnTo>
                <a:lnTo>
                  <a:pt x="41" y="74"/>
                </a:lnTo>
                <a:lnTo>
                  <a:pt x="41" y="74"/>
                </a:lnTo>
                <a:lnTo>
                  <a:pt x="41" y="74"/>
                </a:lnTo>
                <a:lnTo>
                  <a:pt x="40" y="74"/>
                </a:lnTo>
                <a:lnTo>
                  <a:pt x="40" y="74"/>
                </a:lnTo>
                <a:lnTo>
                  <a:pt x="40" y="74"/>
                </a:lnTo>
                <a:lnTo>
                  <a:pt x="40" y="74"/>
                </a:lnTo>
                <a:lnTo>
                  <a:pt x="40" y="74"/>
                </a:lnTo>
                <a:lnTo>
                  <a:pt x="39" y="74"/>
                </a:lnTo>
                <a:lnTo>
                  <a:pt x="39" y="74"/>
                </a:lnTo>
                <a:lnTo>
                  <a:pt x="39" y="74"/>
                </a:lnTo>
                <a:lnTo>
                  <a:pt x="39" y="74"/>
                </a:lnTo>
                <a:lnTo>
                  <a:pt x="37" y="74"/>
                </a:lnTo>
                <a:lnTo>
                  <a:pt x="37" y="74"/>
                </a:lnTo>
                <a:lnTo>
                  <a:pt x="37" y="74"/>
                </a:lnTo>
                <a:lnTo>
                  <a:pt x="37" y="74"/>
                </a:lnTo>
                <a:lnTo>
                  <a:pt x="37" y="74"/>
                </a:lnTo>
                <a:lnTo>
                  <a:pt x="36" y="74"/>
                </a:lnTo>
                <a:lnTo>
                  <a:pt x="36" y="74"/>
                </a:lnTo>
                <a:lnTo>
                  <a:pt x="36" y="74"/>
                </a:lnTo>
                <a:lnTo>
                  <a:pt x="36" y="74"/>
                </a:lnTo>
                <a:lnTo>
                  <a:pt x="36" y="74"/>
                </a:lnTo>
                <a:lnTo>
                  <a:pt x="35" y="74"/>
                </a:lnTo>
                <a:lnTo>
                  <a:pt x="35" y="74"/>
                </a:lnTo>
                <a:lnTo>
                  <a:pt x="35" y="74"/>
                </a:lnTo>
                <a:lnTo>
                  <a:pt x="35" y="74"/>
                </a:lnTo>
                <a:lnTo>
                  <a:pt x="34" y="74"/>
                </a:lnTo>
                <a:lnTo>
                  <a:pt x="34" y="74"/>
                </a:lnTo>
                <a:lnTo>
                  <a:pt x="34" y="74"/>
                </a:lnTo>
                <a:lnTo>
                  <a:pt x="34" y="74"/>
                </a:lnTo>
                <a:lnTo>
                  <a:pt x="34" y="74"/>
                </a:lnTo>
                <a:lnTo>
                  <a:pt x="33" y="74"/>
                </a:lnTo>
                <a:lnTo>
                  <a:pt x="33" y="74"/>
                </a:lnTo>
                <a:lnTo>
                  <a:pt x="33" y="74"/>
                </a:lnTo>
                <a:lnTo>
                  <a:pt x="33" y="74"/>
                </a:lnTo>
                <a:lnTo>
                  <a:pt x="33" y="74"/>
                </a:lnTo>
                <a:lnTo>
                  <a:pt x="32" y="74"/>
                </a:lnTo>
                <a:lnTo>
                  <a:pt x="32" y="74"/>
                </a:lnTo>
                <a:lnTo>
                  <a:pt x="32" y="74"/>
                </a:lnTo>
                <a:lnTo>
                  <a:pt x="32" y="74"/>
                </a:lnTo>
                <a:lnTo>
                  <a:pt x="32" y="74"/>
                </a:lnTo>
                <a:lnTo>
                  <a:pt x="31" y="74"/>
                </a:lnTo>
                <a:lnTo>
                  <a:pt x="31" y="74"/>
                </a:lnTo>
                <a:lnTo>
                  <a:pt x="31" y="74"/>
                </a:lnTo>
                <a:lnTo>
                  <a:pt x="31" y="74"/>
                </a:lnTo>
                <a:lnTo>
                  <a:pt x="31" y="74"/>
                </a:lnTo>
                <a:lnTo>
                  <a:pt x="30" y="74"/>
                </a:lnTo>
                <a:lnTo>
                  <a:pt x="30" y="74"/>
                </a:lnTo>
                <a:lnTo>
                  <a:pt x="30" y="74"/>
                </a:lnTo>
                <a:lnTo>
                  <a:pt x="30" y="73"/>
                </a:lnTo>
                <a:lnTo>
                  <a:pt x="30" y="73"/>
                </a:lnTo>
                <a:lnTo>
                  <a:pt x="28" y="73"/>
                </a:lnTo>
                <a:lnTo>
                  <a:pt x="28" y="73"/>
                </a:lnTo>
                <a:lnTo>
                  <a:pt x="28" y="73"/>
                </a:lnTo>
                <a:lnTo>
                  <a:pt x="28" y="73"/>
                </a:lnTo>
                <a:lnTo>
                  <a:pt x="28" y="73"/>
                </a:lnTo>
                <a:lnTo>
                  <a:pt x="27" y="73"/>
                </a:lnTo>
                <a:lnTo>
                  <a:pt x="27" y="73"/>
                </a:lnTo>
                <a:lnTo>
                  <a:pt x="27" y="73"/>
                </a:lnTo>
                <a:lnTo>
                  <a:pt x="27" y="73"/>
                </a:lnTo>
                <a:lnTo>
                  <a:pt x="27" y="73"/>
                </a:lnTo>
                <a:lnTo>
                  <a:pt x="26" y="73"/>
                </a:lnTo>
                <a:lnTo>
                  <a:pt x="26" y="73"/>
                </a:lnTo>
                <a:lnTo>
                  <a:pt x="26" y="73"/>
                </a:lnTo>
                <a:lnTo>
                  <a:pt x="26" y="73"/>
                </a:lnTo>
                <a:lnTo>
                  <a:pt x="26" y="73"/>
                </a:lnTo>
                <a:lnTo>
                  <a:pt x="25" y="72"/>
                </a:lnTo>
                <a:lnTo>
                  <a:pt x="25" y="72"/>
                </a:lnTo>
                <a:lnTo>
                  <a:pt x="25" y="72"/>
                </a:lnTo>
                <a:lnTo>
                  <a:pt x="25" y="72"/>
                </a:lnTo>
                <a:lnTo>
                  <a:pt x="25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3" y="72"/>
                </a:lnTo>
                <a:lnTo>
                  <a:pt x="23" y="72"/>
                </a:lnTo>
                <a:lnTo>
                  <a:pt x="23" y="71"/>
                </a:lnTo>
                <a:lnTo>
                  <a:pt x="23" y="71"/>
                </a:lnTo>
                <a:lnTo>
                  <a:pt x="23" y="71"/>
                </a:lnTo>
                <a:lnTo>
                  <a:pt x="22" y="71"/>
                </a:lnTo>
                <a:lnTo>
                  <a:pt x="22" y="71"/>
                </a:lnTo>
                <a:lnTo>
                  <a:pt x="22" y="71"/>
                </a:lnTo>
                <a:lnTo>
                  <a:pt x="22" y="71"/>
                </a:lnTo>
                <a:lnTo>
                  <a:pt x="22" y="71"/>
                </a:lnTo>
                <a:lnTo>
                  <a:pt x="22" y="71"/>
                </a:lnTo>
                <a:lnTo>
                  <a:pt x="21" y="71"/>
                </a:lnTo>
                <a:lnTo>
                  <a:pt x="21" y="71"/>
                </a:lnTo>
                <a:lnTo>
                  <a:pt x="21" y="70"/>
                </a:lnTo>
                <a:lnTo>
                  <a:pt x="21" y="70"/>
                </a:lnTo>
                <a:lnTo>
                  <a:pt x="21" y="70"/>
                </a:lnTo>
                <a:lnTo>
                  <a:pt x="19" y="70"/>
                </a:lnTo>
                <a:lnTo>
                  <a:pt x="19" y="70"/>
                </a:lnTo>
                <a:lnTo>
                  <a:pt x="19" y="70"/>
                </a:lnTo>
                <a:lnTo>
                  <a:pt x="19" y="70"/>
                </a:lnTo>
                <a:lnTo>
                  <a:pt x="19" y="70"/>
                </a:lnTo>
                <a:lnTo>
                  <a:pt x="19" y="70"/>
                </a:lnTo>
                <a:lnTo>
                  <a:pt x="18" y="70"/>
                </a:lnTo>
                <a:lnTo>
                  <a:pt x="18" y="68"/>
                </a:lnTo>
                <a:lnTo>
                  <a:pt x="18" y="68"/>
                </a:lnTo>
                <a:lnTo>
                  <a:pt x="18" y="68"/>
                </a:lnTo>
                <a:lnTo>
                  <a:pt x="18" y="68"/>
                </a:lnTo>
                <a:lnTo>
                  <a:pt x="18" y="68"/>
                </a:lnTo>
                <a:lnTo>
                  <a:pt x="17" y="68"/>
                </a:lnTo>
                <a:lnTo>
                  <a:pt x="17" y="68"/>
                </a:lnTo>
                <a:lnTo>
                  <a:pt x="17" y="68"/>
                </a:lnTo>
                <a:lnTo>
                  <a:pt x="17" y="68"/>
                </a:lnTo>
                <a:lnTo>
                  <a:pt x="17" y="67"/>
                </a:lnTo>
                <a:lnTo>
                  <a:pt x="17" y="67"/>
                </a:lnTo>
                <a:lnTo>
                  <a:pt x="16" y="67"/>
                </a:lnTo>
                <a:lnTo>
                  <a:pt x="16" y="67"/>
                </a:lnTo>
                <a:lnTo>
                  <a:pt x="16" y="67"/>
                </a:lnTo>
                <a:lnTo>
                  <a:pt x="16" y="67"/>
                </a:lnTo>
                <a:lnTo>
                  <a:pt x="16" y="67"/>
                </a:lnTo>
                <a:lnTo>
                  <a:pt x="16" y="67"/>
                </a:lnTo>
                <a:lnTo>
                  <a:pt x="15" y="66"/>
                </a:lnTo>
                <a:lnTo>
                  <a:pt x="15" y="66"/>
                </a:lnTo>
                <a:lnTo>
                  <a:pt x="15" y="66"/>
                </a:lnTo>
                <a:lnTo>
                  <a:pt x="15" y="66"/>
                </a:lnTo>
                <a:lnTo>
                  <a:pt x="15" y="66"/>
                </a:lnTo>
                <a:lnTo>
                  <a:pt x="15" y="66"/>
                </a:lnTo>
                <a:lnTo>
                  <a:pt x="14" y="66"/>
                </a:lnTo>
                <a:lnTo>
                  <a:pt x="14" y="66"/>
                </a:lnTo>
                <a:lnTo>
                  <a:pt x="14" y="65"/>
                </a:lnTo>
                <a:lnTo>
                  <a:pt x="14" y="65"/>
                </a:lnTo>
                <a:lnTo>
                  <a:pt x="14" y="65"/>
                </a:lnTo>
                <a:lnTo>
                  <a:pt x="14" y="65"/>
                </a:lnTo>
                <a:lnTo>
                  <a:pt x="14" y="65"/>
                </a:lnTo>
                <a:lnTo>
                  <a:pt x="13" y="65"/>
                </a:lnTo>
                <a:lnTo>
                  <a:pt x="13" y="65"/>
                </a:lnTo>
                <a:lnTo>
                  <a:pt x="13" y="65"/>
                </a:lnTo>
                <a:lnTo>
                  <a:pt x="13" y="64"/>
                </a:lnTo>
                <a:lnTo>
                  <a:pt x="13" y="64"/>
                </a:lnTo>
                <a:lnTo>
                  <a:pt x="13" y="64"/>
                </a:lnTo>
                <a:lnTo>
                  <a:pt x="13" y="64"/>
                </a:lnTo>
                <a:lnTo>
                  <a:pt x="12" y="64"/>
                </a:lnTo>
                <a:lnTo>
                  <a:pt x="12" y="64"/>
                </a:lnTo>
                <a:lnTo>
                  <a:pt x="12" y="64"/>
                </a:lnTo>
                <a:lnTo>
                  <a:pt x="12" y="63"/>
                </a:lnTo>
                <a:lnTo>
                  <a:pt x="12" y="63"/>
                </a:lnTo>
                <a:lnTo>
                  <a:pt x="12" y="63"/>
                </a:lnTo>
                <a:lnTo>
                  <a:pt x="12" y="63"/>
                </a:lnTo>
                <a:lnTo>
                  <a:pt x="10" y="63"/>
                </a:lnTo>
                <a:lnTo>
                  <a:pt x="10" y="63"/>
                </a:lnTo>
                <a:lnTo>
                  <a:pt x="10" y="63"/>
                </a:lnTo>
                <a:lnTo>
                  <a:pt x="10" y="62"/>
                </a:lnTo>
                <a:lnTo>
                  <a:pt x="10" y="62"/>
                </a:lnTo>
                <a:lnTo>
                  <a:pt x="10" y="62"/>
                </a:lnTo>
                <a:lnTo>
                  <a:pt x="10" y="62"/>
                </a:lnTo>
                <a:lnTo>
                  <a:pt x="10" y="62"/>
                </a:lnTo>
                <a:lnTo>
                  <a:pt x="9" y="62"/>
                </a:lnTo>
                <a:lnTo>
                  <a:pt x="9" y="61"/>
                </a:lnTo>
                <a:lnTo>
                  <a:pt x="9" y="61"/>
                </a:lnTo>
                <a:lnTo>
                  <a:pt x="9" y="61"/>
                </a:lnTo>
                <a:lnTo>
                  <a:pt x="9" y="61"/>
                </a:lnTo>
                <a:lnTo>
                  <a:pt x="9" y="61"/>
                </a:lnTo>
                <a:lnTo>
                  <a:pt x="9" y="61"/>
                </a:lnTo>
                <a:lnTo>
                  <a:pt x="8" y="61"/>
                </a:lnTo>
                <a:lnTo>
                  <a:pt x="8" y="59"/>
                </a:lnTo>
                <a:lnTo>
                  <a:pt x="8" y="59"/>
                </a:lnTo>
                <a:lnTo>
                  <a:pt x="8" y="59"/>
                </a:lnTo>
                <a:lnTo>
                  <a:pt x="8" y="59"/>
                </a:lnTo>
                <a:lnTo>
                  <a:pt x="8" y="59"/>
                </a:lnTo>
                <a:lnTo>
                  <a:pt x="8" y="59"/>
                </a:lnTo>
                <a:lnTo>
                  <a:pt x="8" y="58"/>
                </a:lnTo>
                <a:lnTo>
                  <a:pt x="8" y="58"/>
                </a:lnTo>
                <a:lnTo>
                  <a:pt x="7" y="58"/>
                </a:lnTo>
                <a:lnTo>
                  <a:pt x="7" y="58"/>
                </a:lnTo>
                <a:lnTo>
                  <a:pt x="7" y="58"/>
                </a:lnTo>
                <a:lnTo>
                  <a:pt x="7" y="58"/>
                </a:lnTo>
                <a:lnTo>
                  <a:pt x="7" y="57"/>
                </a:lnTo>
                <a:lnTo>
                  <a:pt x="7" y="57"/>
                </a:lnTo>
                <a:lnTo>
                  <a:pt x="7" y="57"/>
                </a:lnTo>
                <a:lnTo>
                  <a:pt x="7" y="57"/>
                </a:lnTo>
                <a:lnTo>
                  <a:pt x="7" y="57"/>
                </a:lnTo>
                <a:lnTo>
                  <a:pt x="6" y="57"/>
                </a:lnTo>
                <a:lnTo>
                  <a:pt x="6" y="56"/>
                </a:lnTo>
                <a:lnTo>
                  <a:pt x="6" y="56"/>
                </a:lnTo>
                <a:lnTo>
                  <a:pt x="6" y="56"/>
                </a:lnTo>
                <a:lnTo>
                  <a:pt x="6" y="56"/>
                </a:lnTo>
                <a:lnTo>
                  <a:pt x="6" y="56"/>
                </a:lnTo>
                <a:lnTo>
                  <a:pt x="6" y="56"/>
                </a:lnTo>
                <a:lnTo>
                  <a:pt x="6" y="55"/>
                </a:lnTo>
                <a:lnTo>
                  <a:pt x="6" y="55"/>
                </a:lnTo>
                <a:lnTo>
                  <a:pt x="6" y="55"/>
                </a:lnTo>
                <a:lnTo>
                  <a:pt x="5" y="55"/>
                </a:lnTo>
                <a:lnTo>
                  <a:pt x="5" y="55"/>
                </a:lnTo>
                <a:lnTo>
                  <a:pt x="5" y="54"/>
                </a:lnTo>
                <a:lnTo>
                  <a:pt x="5" y="54"/>
                </a:lnTo>
                <a:lnTo>
                  <a:pt x="5" y="54"/>
                </a:lnTo>
                <a:lnTo>
                  <a:pt x="5" y="54"/>
                </a:lnTo>
                <a:lnTo>
                  <a:pt x="5" y="54"/>
                </a:lnTo>
                <a:lnTo>
                  <a:pt x="5" y="54"/>
                </a:lnTo>
                <a:lnTo>
                  <a:pt x="5" y="53"/>
                </a:lnTo>
                <a:lnTo>
                  <a:pt x="5" y="53"/>
                </a:lnTo>
                <a:lnTo>
                  <a:pt x="5" y="53"/>
                </a:lnTo>
                <a:lnTo>
                  <a:pt x="4" y="53"/>
                </a:lnTo>
                <a:lnTo>
                  <a:pt x="4" y="53"/>
                </a:lnTo>
                <a:lnTo>
                  <a:pt x="4" y="52"/>
                </a:lnTo>
                <a:lnTo>
                  <a:pt x="4" y="52"/>
                </a:lnTo>
                <a:lnTo>
                  <a:pt x="4" y="52"/>
                </a:lnTo>
                <a:lnTo>
                  <a:pt x="4" y="52"/>
                </a:lnTo>
                <a:lnTo>
                  <a:pt x="4" y="52"/>
                </a:lnTo>
                <a:lnTo>
                  <a:pt x="4" y="50"/>
                </a:lnTo>
                <a:lnTo>
                  <a:pt x="4" y="50"/>
                </a:lnTo>
                <a:lnTo>
                  <a:pt x="4" y="50"/>
                </a:lnTo>
                <a:lnTo>
                  <a:pt x="4" y="50"/>
                </a:lnTo>
                <a:lnTo>
                  <a:pt x="4" y="50"/>
                </a:lnTo>
                <a:lnTo>
                  <a:pt x="4" y="50"/>
                </a:lnTo>
                <a:lnTo>
                  <a:pt x="3" y="49"/>
                </a:lnTo>
                <a:lnTo>
                  <a:pt x="3" y="49"/>
                </a:lnTo>
                <a:lnTo>
                  <a:pt x="3" y="49"/>
                </a:lnTo>
                <a:lnTo>
                  <a:pt x="3" y="49"/>
                </a:lnTo>
                <a:lnTo>
                  <a:pt x="3" y="49"/>
                </a:lnTo>
                <a:lnTo>
                  <a:pt x="3" y="48"/>
                </a:lnTo>
                <a:lnTo>
                  <a:pt x="3" y="48"/>
                </a:lnTo>
                <a:lnTo>
                  <a:pt x="3" y="48"/>
                </a:lnTo>
                <a:lnTo>
                  <a:pt x="3" y="48"/>
                </a:lnTo>
                <a:lnTo>
                  <a:pt x="3" y="48"/>
                </a:lnTo>
                <a:lnTo>
                  <a:pt x="3" y="47"/>
                </a:lnTo>
                <a:lnTo>
                  <a:pt x="3" y="47"/>
                </a:lnTo>
                <a:lnTo>
                  <a:pt x="3" y="47"/>
                </a:lnTo>
                <a:lnTo>
                  <a:pt x="3" y="47"/>
                </a:lnTo>
                <a:lnTo>
                  <a:pt x="3" y="47"/>
                </a:lnTo>
                <a:lnTo>
                  <a:pt x="3" y="46"/>
                </a:lnTo>
                <a:lnTo>
                  <a:pt x="1" y="46"/>
                </a:lnTo>
                <a:lnTo>
                  <a:pt x="1" y="46"/>
                </a:lnTo>
                <a:lnTo>
                  <a:pt x="1" y="46"/>
                </a:lnTo>
                <a:lnTo>
                  <a:pt x="1" y="46"/>
                </a:lnTo>
                <a:lnTo>
                  <a:pt x="1" y="45"/>
                </a:lnTo>
                <a:lnTo>
                  <a:pt x="1" y="45"/>
                </a:lnTo>
                <a:lnTo>
                  <a:pt x="1" y="45"/>
                </a:lnTo>
                <a:lnTo>
                  <a:pt x="1" y="45"/>
                </a:lnTo>
                <a:lnTo>
                  <a:pt x="1" y="45"/>
                </a:lnTo>
                <a:lnTo>
                  <a:pt x="1" y="44"/>
                </a:lnTo>
                <a:lnTo>
                  <a:pt x="1" y="44"/>
                </a:lnTo>
                <a:lnTo>
                  <a:pt x="1" y="44"/>
                </a:lnTo>
                <a:lnTo>
                  <a:pt x="1" y="44"/>
                </a:lnTo>
                <a:lnTo>
                  <a:pt x="1" y="44"/>
                </a:lnTo>
                <a:lnTo>
                  <a:pt x="1" y="43"/>
                </a:lnTo>
                <a:lnTo>
                  <a:pt x="1" y="43"/>
                </a:lnTo>
                <a:lnTo>
                  <a:pt x="1" y="43"/>
                </a:lnTo>
                <a:lnTo>
                  <a:pt x="1" y="43"/>
                </a:lnTo>
                <a:lnTo>
                  <a:pt x="1" y="43"/>
                </a:lnTo>
                <a:lnTo>
                  <a:pt x="1" y="41"/>
                </a:lnTo>
                <a:lnTo>
                  <a:pt x="1" y="41"/>
                </a:lnTo>
                <a:lnTo>
                  <a:pt x="1" y="41"/>
                </a:lnTo>
                <a:lnTo>
                  <a:pt x="1" y="41"/>
                </a:lnTo>
                <a:lnTo>
                  <a:pt x="1" y="40"/>
                </a:lnTo>
                <a:lnTo>
                  <a:pt x="1" y="40"/>
                </a:lnTo>
                <a:lnTo>
                  <a:pt x="1" y="40"/>
                </a:lnTo>
                <a:lnTo>
                  <a:pt x="1" y="40"/>
                </a:lnTo>
                <a:lnTo>
                  <a:pt x="1" y="40"/>
                </a:lnTo>
                <a:lnTo>
                  <a:pt x="1" y="39"/>
                </a:lnTo>
                <a:lnTo>
                  <a:pt x="1" y="39"/>
                </a:lnTo>
                <a:lnTo>
                  <a:pt x="1" y="39"/>
                </a:lnTo>
                <a:lnTo>
                  <a:pt x="1" y="39"/>
                </a:lnTo>
                <a:lnTo>
                  <a:pt x="0" y="39"/>
                </a:lnTo>
                <a:lnTo>
                  <a:pt x="0" y="38"/>
                </a:lnTo>
                <a:lnTo>
                  <a:pt x="0" y="38"/>
                </a:lnTo>
                <a:lnTo>
                  <a:pt x="0" y="38"/>
                </a:lnTo>
                <a:lnTo>
                  <a:pt x="0" y="38"/>
                </a:lnTo>
                <a:lnTo>
                  <a:pt x="0" y="37"/>
                </a:lnTo>
                <a:lnTo>
                  <a:pt x="0" y="37"/>
                </a:lnTo>
                <a:lnTo>
                  <a:pt x="0" y="37"/>
                </a:lnTo>
                <a:lnTo>
                  <a:pt x="0" y="37"/>
                </a:lnTo>
                <a:lnTo>
                  <a:pt x="0" y="37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1" y="35"/>
                </a:lnTo>
                <a:lnTo>
                  <a:pt x="1" y="35"/>
                </a:lnTo>
                <a:lnTo>
                  <a:pt x="1" y="35"/>
                </a:lnTo>
                <a:lnTo>
                  <a:pt x="1" y="35"/>
                </a:lnTo>
                <a:lnTo>
                  <a:pt x="1" y="34"/>
                </a:lnTo>
                <a:lnTo>
                  <a:pt x="1" y="34"/>
                </a:lnTo>
                <a:lnTo>
                  <a:pt x="1" y="34"/>
                </a:lnTo>
                <a:lnTo>
                  <a:pt x="1" y="34"/>
                </a:lnTo>
                <a:lnTo>
                  <a:pt x="1" y="34"/>
                </a:lnTo>
                <a:lnTo>
                  <a:pt x="1" y="32"/>
                </a:lnTo>
                <a:lnTo>
                  <a:pt x="1" y="32"/>
                </a:lnTo>
                <a:lnTo>
                  <a:pt x="1" y="32"/>
                </a:lnTo>
                <a:lnTo>
                  <a:pt x="1" y="32"/>
                </a:lnTo>
                <a:lnTo>
                  <a:pt x="1" y="32"/>
                </a:lnTo>
                <a:lnTo>
                  <a:pt x="1" y="31"/>
                </a:lnTo>
                <a:lnTo>
                  <a:pt x="1" y="31"/>
                </a:lnTo>
                <a:lnTo>
                  <a:pt x="1" y="31"/>
                </a:lnTo>
                <a:lnTo>
                  <a:pt x="1" y="31"/>
                </a:lnTo>
                <a:lnTo>
                  <a:pt x="1" y="31"/>
                </a:lnTo>
                <a:lnTo>
                  <a:pt x="1" y="30"/>
                </a:lnTo>
                <a:lnTo>
                  <a:pt x="1" y="30"/>
                </a:lnTo>
                <a:lnTo>
                  <a:pt x="1" y="30"/>
                </a:lnTo>
                <a:lnTo>
                  <a:pt x="1" y="30"/>
                </a:lnTo>
                <a:lnTo>
                  <a:pt x="1" y="30"/>
                </a:lnTo>
                <a:lnTo>
                  <a:pt x="1" y="29"/>
                </a:lnTo>
                <a:lnTo>
                  <a:pt x="1" y="29"/>
                </a:lnTo>
                <a:lnTo>
                  <a:pt x="1" y="29"/>
                </a:lnTo>
                <a:lnTo>
                  <a:pt x="1" y="29"/>
                </a:lnTo>
                <a:lnTo>
                  <a:pt x="1" y="29"/>
                </a:lnTo>
                <a:lnTo>
                  <a:pt x="1" y="28"/>
                </a:lnTo>
                <a:lnTo>
                  <a:pt x="1" y="28"/>
                </a:lnTo>
                <a:lnTo>
                  <a:pt x="1" y="28"/>
                </a:lnTo>
                <a:lnTo>
                  <a:pt x="3" y="28"/>
                </a:lnTo>
                <a:lnTo>
                  <a:pt x="3" y="28"/>
                </a:lnTo>
                <a:lnTo>
                  <a:pt x="3" y="27"/>
                </a:lnTo>
                <a:lnTo>
                  <a:pt x="3" y="27"/>
                </a:lnTo>
                <a:lnTo>
                  <a:pt x="3" y="27"/>
                </a:lnTo>
                <a:lnTo>
                  <a:pt x="3" y="27"/>
                </a:lnTo>
                <a:lnTo>
                  <a:pt x="3" y="27"/>
                </a:lnTo>
                <a:lnTo>
                  <a:pt x="3" y="26"/>
                </a:lnTo>
                <a:lnTo>
                  <a:pt x="3" y="26"/>
                </a:lnTo>
                <a:lnTo>
                  <a:pt x="3" y="26"/>
                </a:lnTo>
                <a:lnTo>
                  <a:pt x="3" y="26"/>
                </a:lnTo>
                <a:lnTo>
                  <a:pt x="3" y="26"/>
                </a:lnTo>
                <a:lnTo>
                  <a:pt x="3" y="25"/>
                </a:lnTo>
                <a:lnTo>
                  <a:pt x="3" y="25"/>
                </a:lnTo>
                <a:lnTo>
                  <a:pt x="3" y="25"/>
                </a:lnTo>
                <a:lnTo>
                  <a:pt x="3" y="25"/>
                </a:lnTo>
                <a:lnTo>
                  <a:pt x="4" y="25"/>
                </a:lnTo>
                <a:lnTo>
                  <a:pt x="4" y="23"/>
                </a:lnTo>
                <a:lnTo>
                  <a:pt x="4" y="23"/>
                </a:lnTo>
                <a:lnTo>
                  <a:pt x="4" y="23"/>
                </a:lnTo>
                <a:lnTo>
                  <a:pt x="4" y="23"/>
                </a:lnTo>
                <a:lnTo>
                  <a:pt x="4" y="23"/>
                </a:lnTo>
                <a:lnTo>
                  <a:pt x="4" y="22"/>
                </a:lnTo>
                <a:lnTo>
                  <a:pt x="4" y="22"/>
                </a:lnTo>
                <a:lnTo>
                  <a:pt x="4" y="22"/>
                </a:lnTo>
                <a:lnTo>
                  <a:pt x="4" y="22"/>
                </a:lnTo>
                <a:lnTo>
                  <a:pt x="4" y="22"/>
                </a:lnTo>
                <a:lnTo>
                  <a:pt x="4" y="22"/>
                </a:lnTo>
                <a:lnTo>
                  <a:pt x="4" y="21"/>
                </a:lnTo>
                <a:lnTo>
                  <a:pt x="5" y="21"/>
                </a:lnTo>
                <a:lnTo>
                  <a:pt x="5" y="21"/>
                </a:lnTo>
                <a:lnTo>
                  <a:pt x="5" y="21"/>
                </a:lnTo>
                <a:lnTo>
                  <a:pt x="5" y="21"/>
                </a:lnTo>
                <a:lnTo>
                  <a:pt x="5" y="20"/>
                </a:lnTo>
                <a:lnTo>
                  <a:pt x="5" y="20"/>
                </a:lnTo>
                <a:lnTo>
                  <a:pt x="5" y="20"/>
                </a:lnTo>
                <a:lnTo>
                  <a:pt x="5" y="20"/>
                </a:lnTo>
                <a:lnTo>
                  <a:pt x="5" y="20"/>
                </a:lnTo>
                <a:lnTo>
                  <a:pt x="5" y="20"/>
                </a:lnTo>
                <a:lnTo>
                  <a:pt x="5" y="19"/>
                </a:lnTo>
                <a:lnTo>
                  <a:pt x="6" y="19"/>
                </a:lnTo>
                <a:lnTo>
                  <a:pt x="6" y="19"/>
                </a:lnTo>
                <a:lnTo>
                  <a:pt x="6" y="19"/>
                </a:lnTo>
                <a:lnTo>
                  <a:pt x="6" y="19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7" y="17"/>
                </a:lnTo>
                <a:lnTo>
                  <a:pt x="7" y="17"/>
                </a:lnTo>
                <a:lnTo>
                  <a:pt x="7" y="17"/>
                </a:lnTo>
                <a:lnTo>
                  <a:pt x="7" y="17"/>
                </a:lnTo>
                <a:lnTo>
                  <a:pt x="7" y="17"/>
                </a:lnTo>
                <a:lnTo>
                  <a:pt x="7" y="17"/>
                </a:lnTo>
                <a:lnTo>
                  <a:pt x="7" y="16"/>
                </a:lnTo>
                <a:lnTo>
                  <a:pt x="7" y="16"/>
                </a:lnTo>
                <a:lnTo>
                  <a:pt x="7" y="16"/>
                </a:lnTo>
                <a:lnTo>
                  <a:pt x="8" y="16"/>
                </a:lnTo>
                <a:lnTo>
                  <a:pt x="8" y="16"/>
                </a:lnTo>
                <a:lnTo>
                  <a:pt x="8" y="16"/>
                </a:lnTo>
                <a:lnTo>
                  <a:pt x="8" y="14"/>
                </a:lnTo>
                <a:lnTo>
                  <a:pt x="8" y="14"/>
                </a:lnTo>
                <a:lnTo>
                  <a:pt x="8" y="14"/>
                </a:lnTo>
                <a:lnTo>
                  <a:pt x="8" y="14"/>
                </a:lnTo>
                <a:lnTo>
                  <a:pt x="8" y="14"/>
                </a:lnTo>
                <a:lnTo>
                  <a:pt x="8" y="14"/>
                </a:lnTo>
                <a:lnTo>
                  <a:pt x="9" y="13"/>
                </a:lnTo>
                <a:lnTo>
                  <a:pt x="9" y="13"/>
                </a:lnTo>
                <a:lnTo>
                  <a:pt x="9" y="13"/>
                </a:lnTo>
                <a:lnTo>
                  <a:pt x="9" y="13"/>
                </a:lnTo>
                <a:lnTo>
                  <a:pt x="9" y="13"/>
                </a:lnTo>
                <a:lnTo>
                  <a:pt x="9" y="13"/>
                </a:lnTo>
                <a:lnTo>
                  <a:pt x="9" y="13"/>
                </a:lnTo>
                <a:lnTo>
                  <a:pt x="10" y="12"/>
                </a:lnTo>
                <a:lnTo>
                  <a:pt x="10" y="12"/>
                </a:lnTo>
                <a:lnTo>
                  <a:pt x="10" y="12"/>
                </a:lnTo>
                <a:lnTo>
                  <a:pt x="10" y="12"/>
                </a:lnTo>
                <a:lnTo>
                  <a:pt x="10" y="12"/>
                </a:lnTo>
                <a:lnTo>
                  <a:pt x="10" y="12"/>
                </a:lnTo>
                <a:lnTo>
                  <a:pt x="10" y="11"/>
                </a:lnTo>
                <a:lnTo>
                  <a:pt x="10" y="11"/>
                </a:lnTo>
                <a:lnTo>
                  <a:pt x="12" y="11"/>
                </a:lnTo>
                <a:lnTo>
                  <a:pt x="12" y="11"/>
                </a:lnTo>
                <a:lnTo>
                  <a:pt x="12" y="11"/>
                </a:lnTo>
                <a:lnTo>
                  <a:pt x="12" y="11"/>
                </a:lnTo>
                <a:lnTo>
                  <a:pt x="12" y="11"/>
                </a:lnTo>
                <a:lnTo>
                  <a:pt x="12" y="10"/>
                </a:lnTo>
                <a:lnTo>
                  <a:pt x="12" y="10"/>
                </a:lnTo>
                <a:lnTo>
                  <a:pt x="13" y="10"/>
                </a:lnTo>
                <a:lnTo>
                  <a:pt x="13" y="10"/>
                </a:lnTo>
                <a:lnTo>
                  <a:pt x="13" y="10"/>
                </a:lnTo>
                <a:lnTo>
                  <a:pt x="13" y="10"/>
                </a:lnTo>
                <a:lnTo>
                  <a:pt x="13" y="10"/>
                </a:lnTo>
                <a:lnTo>
                  <a:pt x="13" y="9"/>
                </a:lnTo>
                <a:lnTo>
                  <a:pt x="13" y="9"/>
                </a:lnTo>
                <a:lnTo>
                  <a:pt x="14" y="9"/>
                </a:lnTo>
                <a:lnTo>
                  <a:pt x="14" y="9"/>
                </a:lnTo>
                <a:lnTo>
                  <a:pt x="14" y="9"/>
                </a:lnTo>
                <a:lnTo>
                  <a:pt x="14" y="9"/>
                </a:lnTo>
                <a:lnTo>
                  <a:pt x="14" y="9"/>
                </a:lnTo>
                <a:lnTo>
                  <a:pt x="14" y="9"/>
                </a:lnTo>
                <a:lnTo>
                  <a:pt x="14" y="8"/>
                </a:lnTo>
                <a:lnTo>
                  <a:pt x="15" y="8"/>
                </a:lnTo>
                <a:lnTo>
                  <a:pt x="15" y="8"/>
                </a:lnTo>
                <a:lnTo>
                  <a:pt x="15" y="8"/>
                </a:lnTo>
                <a:lnTo>
                  <a:pt x="15" y="8"/>
                </a:lnTo>
                <a:lnTo>
                  <a:pt x="15" y="8"/>
                </a:lnTo>
                <a:lnTo>
                  <a:pt x="15" y="8"/>
                </a:lnTo>
                <a:lnTo>
                  <a:pt x="16" y="8"/>
                </a:lnTo>
                <a:lnTo>
                  <a:pt x="16" y="7"/>
                </a:lnTo>
                <a:lnTo>
                  <a:pt x="16" y="7"/>
                </a:lnTo>
                <a:lnTo>
                  <a:pt x="16" y="7"/>
                </a:lnTo>
                <a:lnTo>
                  <a:pt x="16" y="7"/>
                </a:lnTo>
                <a:lnTo>
                  <a:pt x="16" y="7"/>
                </a:lnTo>
                <a:lnTo>
                  <a:pt x="17" y="7"/>
                </a:lnTo>
                <a:lnTo>
                  <a:pt x="17" y="7"/>
                </a:lnTo>
                <a:lnTo>
                  <a:pt x="17" y="7"/>
                </a:lnTo>
                <a:lnTo>
                  <a:pt x="17" y="5"/>
                </a:lnTo>
                <a:lnTo>
                  <a:pt x="17" y="5"/>
                </a:lnTo>
                <a:lnTo>
                  <a:pt x="17" y="5"/>
                </a:lnTo>
                <a:lnTo>
                  <a:pt x="18" y="5"/>
                </a:lnTo>
                <a:lnTo>
                  <a:pt x="18" y="5"/>
                </a:lnTo>
                <a:lnTo>
                  <a:pt x="18" y="5"/>
                </a:lnTo>
                <a:lnTo>
                  <a:pt x="18" y="5"/>
                </a:lnTo>
                <a:lnTo>
                  <a:pt x="18" y="5"/>
                </a:lnTo>
                <a:lnTo>
                  <a:pt x="18" y="5"/>
                </a:lnTo>
                <a:lnTo>
                  <a:pt x="19" y="5"/>
                </a:lnTo>
                <a:lnTo>
                  <a:pt x="19" y="4"/>
                </a:lnTo>
                <a:lnTo>
                  <a:pt x="19" y="4"/>
                </a:lnTo>
                <a:lnTo>
                  <a:pt x="19" y="4"/>
                </a:lnTo>
                <a:lnTo>
                  <a:pt x="19" y="4"/>
                </a:lnTo>
                <a:lnTo>
                  <a:pt x="19" y="4"/>
                </a:lnTo>
                <a:lnTo>
                  <a:pt x="21" y="4"/>
                </a:lnTo>
                <a:lnTo>
                  <a:pt x="21" y="4"/>
                </a:lnTo>
                <a:lnTo>
                  <a:pt x="21" y="4"/>
                </a:lnTo>
                <a:lnTo>
                  <a:pt x="21" y="4"/>
                </a:lnTo>
                <a:lnTo>
                  <a:pt x="21" y="4"/>
                </a:lnTo>
                <a:lnTo>
                  <a:pt x="22" y="3"/>
                </a:lnTo>
                <a:lnTo>
                  <a:pt x="22" y="3"/>
                </a:lnTo>
                <a:lnTo>
                  <a:pt x="22" y="3"/>
                </a:lnTo>
                <a:lnTo>
                  <a:pt x="22" y="3"/>
                </a:lnTo>
                <a:lnTo>
                  <a:pt x="22" y="3"/>
                </a:lnTo>
                <a:lnTo>
                  <a:pt x="22" y="3"/>
                </a:lnTo>
                <a:lnTo>
                  <a:pt x="23" y="3"/>
                </a:lnTo>
                <a:lnTo>
                  <a:pt x="23" y="3"/>
                </a:lnTo>
                <a:lnTo>
                  <a:pt x="23" y="3"/>
                </a:lnTo>
                <a:lnTo>
                  <a:pt x="23" y="3"/>
                </a:lnTo>
                <a:lnTo>
                  <a:pt x="23" y="3"/>
                </a:lnTo>
                <a:lnTo>
                  <a:pt x="24" y="2"/>
                </a:lnTo>
                <a:lnTo>
                  <a:pt x="24" y="2"/>
                </a:lnTo>
                <a:lnTo>
                  <a:pt x="24" y="2"/>
                </a:lnTo>
                <a:lnTo>
                  <a:pt x="24" y="2"/>
                </a:lnTo>
                <a:lnTo>
                  <a:pt x="24" y="2"/>
                </a:lnTo>
                <a:lnTo>
                  <a:pt x="24" y="2"/>
                </a:lnTo>
                <a:lnTo>
                  <a:pt x="25" y="2"/>
                </a:lnTo>
                <a:lnTo>
                  <a:pt x="25" y="2"/>
                </a:lnTo>
                <a:lnTo>
                  <a:pt x="25" y="2"/>
                </a:lnTo>
                <a:lnTo>
                  <a:pt x="25" y="2"/>
                </a:lnTo>
                <a:lnTo>
                  <a:pt x="25" y="2"/>
                </a:lnTo>
                <a:lnTo>
                  <a:pt x="26" y="2"/>
                </a:lnTo>
                <a:lnTo>
                  <a:pt x="26" y="2"/>
                </a:lnTo>
                <a:lnTo>
                  <a:pt x="26" y="1"/>
                </a:lnTo>
                <a:lnTo>
                  <a:pt x="26" y="1"/>
                </a:lnTo>
                <a:lnTo>
                  <a:pt x="26" y="1"/>
                </a:lnTo>
                <a:lnTo>
                  <a:pt x="27" y="1"/>
                </a:lnTo>
                <a:lnTo>
                  <a:pt x="27" y="1"/>
                </a:lnTo>
                <a:lnTo>
                  <a:pt x="27" y="1"/>
                </a:lnTo>
                <a:lnTo>
                  <a:pt x="27" y="1"/>
                </a:lnTo>
                <a:lnTo>
                  <a:pt x="27" y="1"/>
                </a:lnTo>
                <a:lnTo>
                  <a:pt x="28" y="1"/>
                </a:lnTo>
                <a:lnTo>
                  <a:pt x="28" y="1"/>
                </a:lnTo>
                <a:lnTo>
                  <a:pt x="28" y="1"/>
                </a:lnTo>
                <a:lnTo>
                  <a:pt x="28" y="1"/>
                </a:lnTo>
                <a:lnTo>
                  <a:pt x="28" y="1"/>
                </a:lnTo>
                <a:lnTo>
                  <a:pt x="30" y="1"/>
                </a:lnTo>
                <a:lnTo>
                  <a:pt x="30" y="1"/>
                </a:lnTo>
                <a:lnTo>
                  <a:pt x="30" y="1"/>
                </a:lnTo>
                <a:lnTo>
                  <a:pt x="30" y="1"/>
                </a:lnTo>
                <a:lnTo>
                  <a:pt x="30" y="1"/>
                </a:lnTo>
                <a:lnTo>
                  <a:pt x="31" y="0"/>
                </a:lnTo>
                <a:lnTo>
                  <a:pt x="31" y="0"/>
                </a:lnTo>
                <a:lnTo>
                  <a:pt x="31" y="0"/>
                </a:lnTo>
                <a:lnTo>
                  <a:pt x="31" y="0"/>
                </a:lnTo>
                <a:lnTo>
                  <a:pt x="31" y="0"/>
                </a:lnTo>
                <a:lnTo>
                  <a:pt x="32" y="0"/>
                </a:lnTo>
                <a:lnTo>
                  <a:pt x="32" y="0"/>
                </a:lnTo>
                <a:lnTo>
                  <a:pt x="32" y="0"/>
                </a:lnTo>
                <a:lnTo>
                  <a:pt x="32" y="0"/>
                </a:lnTo>
                <a:lnTo>
                  <a:pt x="32" y="0"/>
                </a:lnTo>
                <a:lnTo>
                  <a:pt x="33" y="0"/>
                </a:lnTo>
                <a:lnTo>
                  <a:pt x="33" y="0"/>
                </a:lnTo>
                <a:lnTo>
                  <a:pt x="33" y="0"/>
                </a:lnTo>
                <a:lnTo>
                  <a:pt x="33" y="0"/>
                </a:lnTo>
                <a:lnTo>
                  <a:pt x="33" y="0"/>
                </a:lnTo>
                <a:lnTo>
                  <a:pt x="34" y="0"/>
                </a:lnTo>
                <a:lnTo>
                  <a:pt x="34" y="0"/>
                </a:lnTo>
                <a:lnTo>
                  <a:pt x="34" y="0"/>
                </a:lnTo>
                <a:lnTo>
                  <a:pt x="34" y="0"/>
                </a:lnTo>
                <a:lnTo>
                  <a:pt x="34" y="0"/>
                </a:lnTo>
                <a:lnTo>
                  <a:pt x="35" y="0"/>
                </a:lnTo>
                <a:lnTo>
                  <a:pt x="35" y="0"/>
                </a:lnTo>
                <a:lnTo>
                  <a:pt x="35" y="0"/>
                </a:lnTo>
                <a:lnTo>
                  <a:pt x="35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7" y="0"/>
                </a:lnTo>
                <a:lnTo>
                  <a:pt x="37" y="0"/>
                </a:lnTo>
                <a:lnTo>
                  <a:pt x="37" y="0"/>
                </a:lnTo>
                <a:lnTo>
                  <a:pt x="37" y="0"/>
                </a:lnTo>
                <a:lnTo>
                  <a:pt x="37" y="0"/>
                </a:lnTo>
                <a:lnTo>
                  <a:pt x="39" y="0"/>
                </a:lnTo>
                <a:lnTo>
                  <a:pt x="39" y="0"/>
                </a:lnTo>
                <a:lnTo>
                  <a:pt x="39" y="0"/>
                </a:lnTo>
                <a:lnTo>
                  <a:pt x="39" y="0"/>
                </a:lnTo>
                <a:lnTo>
                  <a:pt x="40" y="0"/>
                </a:lnTo>
                <a:lnTo>
                  <a:pt x="40" y="0"/>
                </a:lnTo>
                <a:lnTo>
                  <a:pt x="40" y="0"/>
                </a:lnTo>
                <a:lnTo>
                  <a:pt x="40" y="0"/>
                </a:lnTo>
                <a:lnTo>
                  <a:pt x="40" y="0"/>
                </a:lnTo>
                <a:lnTo>
                  <a:pt x="41" y="0"/>
                </a:lnTo>
                <a:lnTo>
                  <a:pt x="41" y="0"/>
                </a:lnTo>
                <a:lnTo>
                  <a:pt x="41" y="0"/>
                </a:lnTo>
                <a:lnTo>
                  <a:pt x="41" y="0"/>
                </a:lnTo>
                <a:lnTo>
                  <a:pt x="41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3" y="0"/>
                </a:lnTo>
                <a:lnTo>
                  <a:pt x="43" y="0"/>
                </a:lnTo>
                <a:lnTo>
                  <a:pt x="43" y="0"/>
                </a:lnTo>
                <a:lnTo>
                  <a:pt x="43" y="0"/>
                </a:lnTo>
                <a:lnTo>
                  <a:pt x="44" y="0"/>
                </a:lnTo>
                <a:lnTo>
                  <a:pt x="44" y="0"/>
                </a:lnTo>
                <a:lnTo>
                  <a:pt x="44" y="0"/>
                </a:lnTo>
                <a:lnTo>
                  <a:pt x="44" y="0"/>
                </a:lnTo>
                <a:lnTo>
                  <a:pt x="44" y="0"/>
                </a:lnTo>
                <a:lnTo>
                  <a:pt x="45" y="0"/>
                </a:lnTo>
                <a:lnTo>
                  <a:pt x="45" y="0"/>
                </a:lnTo>
                <a:lnTo>
                  <a:pt x="45" y="0"/>
                </a:lnTo>
                <a:lnTo>
                  <a:pt x="45" y="0"/>
                </a:lnTo>
                <a:lnTo>
                  <a:pt x="45" y="0"/>
                </a:lnTo>
                <a:lnTo>
                  <a:pt x="46" y="0"/>
                </a:lnTo>
                <a:lnTo>
                  <a:pt x="46" y="0"/>
                </a:lnTo>
                <a:lnTo>
                  <a:pt x="46" y="0"/>
                </a:lnTo>
                <a:lnTo>
                  <a:pt x="46" y="0"/>
                </a:lnTo>
                <a:lnTo>
                  <a:pt x="46" y="1"/>
                </a:lnTo>
                <a:lnTo>
                  <a:pt x="48" y="1"/>
                </a:lnTo>
                <a:lnTo>
                  <a:pt x="48" y="1"/>
                </a:lnTo>
                <a:lnTo>
                  <a:pt x="48" y="1"/>
                </a:lnTo>
                <a:lnTo>
                  <a:pt x="48" y="1"/>
                </a:lnTo>
                <a:lnTo>
                  <a:pt x="48" y="1"/>
                </a:lnTo>
                <a:lnTo>
                  <a:pt x="49" y="1"/>
                </a:lnTo>
                <a:lnTo>
                  <a:pt x="49" y="1"/>
                </a:lnTo>
                <a:lnTo>
                  <a:pt x="49" y="1"/>
                </a:lnTo>
                <a:lnTo>
                  <a:pt x="49" y="1"/>
                </a:lnTo>
                <a:lnTo>
                  <a:pt x="49" y="1"/>
                </a:lnTo>
                <a:lnTo>
                  <a:pt x="50" y="1"/>
                </a:lnTo>
                <a:lnTo>
                  <a:pt x="50" y="1"/>
                </a:lnTo>
                <a:lnTo>
                  <a:pt x="50" y="1"/>
                </a:lnTo>
                <a:lnTo>
                  <a:pt x="50" y="1"/>
                </a:lnTo>
                <a:lnTo>
                  <a:pt x="50" y="1"/>
                </a:lnTo>
                <a:lnTo>
                  <a:pt x="51" y="1"/>
                </a:lnTo>
                <a:lnTo>
                  <a:pt x="51" y="1"/>
                </a:lnTo>
                <a:lnTo>
                  <a:pt x="51" y="2"/>
                </a:lnTo>
                <a:lnTo>
                  <a:pt x="51" y="2"/>
                </a:lnTo>
                <a:lnTo>
                  <a:pt x="51" y="2"/>
                </a:lnTo>
                <a:lnTo>
                  <a:pt x="52" y="2"/>
                </a:lnTo>
                <a:lnTo>
                  <a:pt x="52" y="2"/>
                </a:lnTo>
                <a:lnTo>
                  <a:pt x="52" y="2"/>
                </a:lnTo>
                <a:lnTo>
                  <a:pt x="52" y="2"/>
                </a:lnTo>
                <a:lnTo>
                  <a:pt x="52" y="2"/>
                </a:lnTo>
                <a:lnTo>
                  <a:pt x="52" y="2"/>
                </a:lnTo>
                <a:lnTo>
                  <a:pt x="53" y="2"/>
                </a:lnTo>
                <a:lnTo>
                  <a:pt x="53" y="2"/>
                </a:lnTo>
                <a:lnTo>
                  <a:pt x="53" y="2"/>
                </a:lnTo>
                <a:lnTo>
                  <a:pt x="53" y="2"/>
                </a:lnTo>
                <a:lnTo>
                  <a:pt x="53" y="3"/>
                </a:lnTo>
                <a:lnTo>
                  <a:pt x="54" y="3"/>
                </a:lnTo>
                <a:lnTo>
                  <a:pt x="54" y="3"/>
                </a:lnTo>
                <a:lnTo>
                  <a:pt x="54" y="3"/>
                </a:lnTo>
                <a:lnTo>
                  <a:pt x="54" y="3"/>
                </a:lnTo>
                <a:lnTo>
                  <a:pt x="54" y="3"/>
                </a:lnTo>
                <a:lnTo>
                  <a:pt x="55" y="3"/>
                </a:lnTo>
                <a:lnTo>
                  <a:pt x="55" y="3"/>
                </a:lnTo>
                <a:lnTo>
                  <a:pt x="55" y="3"/>
                </a:lnTo>
                <a:lnTo>
                  <a:pt x="55" y="3"/>
                </a:lnTo>
                <a:lnTo>
                  <a:pt x="55" y="3"/>
                </a:lnTo>
                <a:lnTo>
                  <a:pt x="55" y="4"/>
                </a:lnTo>
                <a:lnTo>
                  <a:pt x="57" y="4"/>
                </a:lnTo>
                <a:lnTo>
                  <a:pt x="57" y="4"/>
                </a:lnTo>
                <a:lnTo>
                  <a:pt x="57" y="4"/>
                </a:lnTo>
                <a:lnTo>
                  <a:pt x="57" y="4"/>
                </a:lnTo>
                <a:lnTo>
                  <a:pt x="57" y="4"/>
                </a:lnTo>
                <a:lnTo>
                  <a:pt x="57" y="4"/>
                </a:lnTo>
                <a:lnTo>
                  <a:pt x="58" y="4"/>
                </a:lnTo>
                <a:lnTo>
                  <a:pt x="58" y="4"/>
                </a:lnTo>
                <a:lnTo>
                  <a:pt x="58" y="4"/>
                </a:lnTo>
                <a:lnTo>
                  <a:pt x="58" y="5"/>
                </a:lnTo>
                <a:lnTo>
                  <a:pt x="58" y="5"/>
                </a:lnTo>
                <a:lnTo>
                  <a:pt x="59" y="5"/>
                </a:lnTo>
                <a:lnTo>
                  <a:pt x="59" y="5"/>
                </a:lnTo>
                <a:lnTo>
                  <a:pt x="59" y="5"/>
                </a:lnTo>
                <a:lnTo>
                  <a:pt x="59" y="5"/>
                </a:lnTo>
                <a:lnTo>
                  <a:pt x="59" y="5"/>
                </a:lnTo>
                <a:lnTo>
                  <a:pt x="59" y="5"/>
                </a:lnTo>
                <a:lnTo>
                  <a:pt x="60" y="5"/>
                </a:lnTo>
                <a:lnTo>
                  <a:pt x="60" y="5"/>
                </a:lnTo>
                <a:lnTo>
                  <a:pt x="60" y="7"/>
                </a:lnTo>
                <a:lnTo>
                  <a:pt x="60" y="7"/>
                </a:lnTo>
                <a:lnTo>
                  <a:pt x="60" y="7"/>
                </a:lnTo>
                <a:lnTo>
                  <a:pt x="60" y="7"/>
                </a:lnTo>
                <a:lnTo>
                  <a:pt x="61" y="7"/>
                </a:lnTo>
                <a:lnTo>
                  <a:pt x="61" y="7"/>
                </a:lnTo>
                <a:lnTo>
                  <a:pt x="61" y="7"/>
                </a:lnTo>
                <a:lnTo>
                  <a:pt x="61" y="7"/>
                </a:lnTo>
                <a:lnTo>
                  <a:pt x="61" y="8"/>
                </a:lnTo>
                <a:lnTo>
                  <a:pt x="61" y="8"/>
                </a:lnTo>
                <a:lnTo>
                  <a:pt x="61" y="8"/>
                </a:lnTo>
                <a:lnTo>
                  <a:pt x="62" y="8"/>
                </a:lnTo>
                <a:lnTo>
                  <a:pt x="62" y="8"/>
                </a:lnTo>
                <a:lnTo>
                  <a:pt x="62" y="8"/>
                </a:lnTo>
                <a:lnTo>
                  <a:pt x="62" y="8"/>
                </a:lnTo>
                <a:lnTo>
                  <a:pt x="62" y="8"/>
                </a:lnTo>
                <a:lnTo>
                  <a:pt x="62" y="9"/>
                </a:lnTo>
                <a:lnTo>
                  <a:pt x="63" y="9"/>
                </a:lnTo>
                <a:lnTo>
                  <a:pt x="63" y="9"/>
                </a:lnTo>
                <a:lnTo>
                  <a:pt x="63" y="9"/>
                </a:lnTo>
                <a:lnTo>
                  <a:pt x="63" y="9"/>
                </a:lnTo>
                <a:lnTo>
                  <a:pt x="63" y="9"/>
                </a:lnTo>
                <a:lnTo>
                  <a:pt x="63" y="9"/>
                </a:lnTo>
                <a:lnTo>
                  <a:pt x="63" y="9"/>
                </a:lnTo>
                <a:lnTo>
                  <a:pt x="64" y="10"/>
                </a:lnTo>
                <a:lnTo>
                  <a:pt x="64" y="10"/>
                </a:lnTo>
                <a:lnTo>
                  <a:pt x="64" y="10"/>
                </a:lnTo>
                <a:lnTo>
                  <a:pt x="64" y="10"/>
                </a:lnTo>
                <a:lnTo>
                  <a:pt x="64" y="10"/>
                </a:lnTo>
                <a:lnTo>
                  <a:pt x="64" y="10"/>
                </a:lnTo>
                <a:lnTo>
                  <a:pt x="64" y="10"/>
                </a:lnTo>
                <a:lnTo>
                  <a:pt x="66" y="11"/>
                </a:lnTo>
                <a:lnTo>
                  <a:pt x="66" y="11"/>
                </a:lnTo>
                <a:lnTo>
                  <a:pt x="66" y="11"/>
                </a:lnTo>
                <a:lnTo>
                  <a:pt x="66" y="11"/>
                </a:lnTo>
                <a:lnTo>
                  <a:pt x="66" y="11"/>
                </a:lnTo>
                <a:lnTo>
                  <a:pt x="66" y="11"/>
                </a:lnTo>
                <a:lnTo>
                  <a:pt x="66" y="11"/>
                </a:lnTo>
                <a:lnTo>
                  <a:pt x="67" y="12"/>
                </a:lnTo>
                <a:lnTo>
                  <a:pt x="67" y="12"/>
                </a:lnTo>
                <a:lnTo>
                  <a:pt x="67" y="12"/>
                </a:lnTo>
                <a:lnTo>
                  <a:pt x="67" y="12"/>
                </a:lnTo>
                <a:lnTo>
                  <a:pt x="67" y="12"/>
                </a:lnTo>
                <a:lnTo>
                  <a:pt x="67" y="12"/>
                </a:lnTo>
                <a:lnTo>
                  <a:pt x="67" y="13"/>
                </a:lnTo>
                <a:lnTo>
                  <a:pt x="67" y="13"/>
                </a:lnTo>
                <a:lnTo>
                  <a:pt x="68" y="13"/>
                </a:lnTo>
                <a:lnTo>
                  <a:pt x="68" y="13"/>
                </a:lnTo>
                <a:lnTo>
                  <a:pt x="68" y="13"/>
                </a:lnTo>
                <a:lnTo>
                  <a:pt x="68" y="13"/>
                </a:lnTo>
                <a:lnTo>
                  <a:pt x="68" y="13"/>
                </a:lnTo>
                <a:lnTo>
                  <a:pt x="68" y="14"/>
                </a:lnTo>
                <a:lnTo>
                  <a:pt x="68" y="14"/>
                </a:lnTo>
                <a:lnTo>
                  <a:pt x="68" y="14"/>
                </a:lnTo>
                <a:lnTo>
                  <a:pt x="69" y="14"/>
                </a:lnTo>
                <a:lnTo>
                  <a:pt x="69" y="14"/>
                </a:lnTo>
                <a:lnTo>
                  <a:pt x="69" y="14"/>
                </a:lnTo>
                <a:lnTo>
                  <a:pt x="69" y="16"/>
                </a:lnTo>
                <a:lnTo>
                  <a:pt x="69" y="16"/>
                </a:lnTo>
                <a:lnTo>
                  <a:pt x="69" y="16"/>
                </a:lnTo>
                <a:lnTo>
                  <a:pt x="69" y="16"/>
                </a:lnTo>
                <a:lnTo>
                  <a:pt x="69" y="16"/>
                </a:lnTo>
                <a:lnTo>
                  <a:pt x="70" y="16"/>
                </a:lnTo>
                <a:lnTo>
                  <a:pt x="70" y="17"/>
                </a:lnTo>
                <a:lnTo>
                  <a:pt x="70" y="17"/>
                </a:lnTo>
                <a:lnTo>
                  <a:pt x="70" y="17"/>
                </a:lnTo>
                <a:lnTo>
                  <a:pt x="70" y="17"/>
                </a:lnTo>
                <a:lnTo>
                  <a:pt x="70" y="17"/>
                </a:lnTo>
                <a:lnTo>
                  <a:pt x="70" y="17"/>
                </a:lnTo>
                <a:lnTo>
                  <a:pt x="70" y="18"/>
                </a:lnTo>
                <a:lnTo>
                  <a:pt x="70" y="18"/>
                </a:lnTo>
                <a:lnTo>
                  <a:pt x="71" y="18"/>
                </a:lnTo>
                <a:lnTo>
                  <a:pt x="71" y="18"/>
                </a:lnTo>
                <a:lnTo>
                  <a:pt x="71" y="18"/>
                </a:lnTo>
                <a:lnTo>
                  <a:pt x="71" y="18"/>
                </a:lnTo>
                <a:lnTo>
                  <a:pt x="71" y="19"/>
                </a:lnTo>
                <a:lnTo>
                  <a:pt x="71" y="19"/>
                </a:lnTo>
                <a:lnTo>
                  <a:pt x="71" y="19"/>
                </a:lnTo>
                <a:lnTo>
                  <a:pt x="71" y="19"/>
                </a:lnTo>
                <a:lnTo>
                  <a:pt x="71" y="19"/>
                </a:lnTo>
                <a:lnTo>
                  <a:pt x="71" y="20"/>
                </a:lnTo>
                <a:lnTo>
                  <a:pt x="72" y="20"/>
                </a:lnTo>
                <a:lnTo>
                  <a:pt x="72" y="20"/>
                </a:lnTo>
                <a:lnTo>
                  <a:pt x="72" y="20"/>
                </a:lnTo>
                <a:lnTo>
                  <a:pt x="72" y="20"/>
                </a:lnTo>
                <a:lnTo>
                  <a:pt x="72" y="20"/>
                </a:lnTo>
                <a:lnTo>
                  <a:pt x="72" y="21"/>
                </a:lnTo>
                <a:lnTo>
                  <a:pt x="72" y="21"/>
                </a:lnTo>
                <a:lnTo>
                  <a:pt x="72" y="21"/>
                </a:lnTo>
                <a:lnTo>
                  <a:pt x="72" y="21"/>
                </a:lnTo>
                <a:lnTo>
                  <a:pt x="72" y="21"/>
                </a:lnTo>
                <a:lnTo>
                  <a:pt x="72" y="22"/>
                </a:lnTo>
                <a:lnTo>
                  <a:pt x="72" y="22"/>
                </a:lnTo>
                <a:lnTo>
                  <a:pt x="73" y="22"/>
                </a:lnTo>
                <a:lnTo>
                  <a:pt x="73" y="22"/>
                </a:lnTo>
                <a:lnTo>
                  <a:pt x="73" y="22"/>
                </a:lnTo>
                <a:lnTo>
                  <a:pt x="73" y="22"/>
                </a:lnTo>
                <a:lnTo>
                  <a:pt x="73" y="23"/>
                </a:lnTo>
                <a:lnTo>
                  <a:pt x="73" y="23"/>
                </a:lnTo>
                <a:lnTo>
                  <a:pt x="73" y="23"/>
                </a:lnTo>
                <a:lnTo>
                  <a:pt x="73" y="23"/>
                </a:lnTo>
                <a:lnTo>
                  <a:pt x="73" y="23"/>
                </a:lnTo>
                <a:lnTo>
                  <a:pt x="73" y="25"/>
                </a:lnTo>
                <a:lnTo>
                  <a:pt x="73" y="25"/>
                </a:lnTo>
                <a:lnTo>
                  <a:pt x="73" y="25"/>
                </a:lnTo>
                <a:lnTo>
                  <a:pt x="73" y="25"/>
                </a:lnTo>
                <a:lnTo>
                  <a:pt x="75" y="25"/>
                </a:lnTo>
                <a:lnTo>
                  <a:pt x="75" y="26"/>
                </a:lnTo>
                <a:lnTo>
                  <a:pt x="75" y="26"/>
                </a:lnTo>
                <a:lnTo>
                  <a:pt x="75" y="26"/>
                </a:lnTo>
                <a:lnTo>
                  <a:pt x="75" y="26"/>
                </a:lnTo>
                <a:lnTo>
                  <a:pt x="75" y="26"/>
                </a:lnTo>
                <a:lnTo>
                  <a:pt x="75" y="27"/>
                </a:lnTo>
                <a:lnTo>
                  <a:pt x="75" y="27"/>
                </a:lnTo>
                <a:lnTo>
                  <a:pt x="75" y="27"/>
                </a:lnTo>
                <a:lnTo>
                  <a:pt x="75" y="27"/>
                </a:lnTo>
                <a:lnTo>
                  <a:pt x="75" y="27"/>
                </a:lnTo>
                <a:lnTo>
                  <a:pt x="75" y="28"/>
                </a:lnTo>
                <a:lnTo>
                  <a:pt x="75" y="28"/>
                </a:lnTo>
                <a:lnTo>
                  <a:pt x="75" y="28"/>
                </a:lnTo>
                <a:lnTo>
                  <a:pt x="75" y="28"/>
                </a:lnTo>
                <a:lnTo>
                  <a:pt x="75" y="28"/>
                </a:lnTo>
                <a:lnTo>
                  <a:pt x="75" y="29"/>
                </a:lnTo>
                <a:lnTo>
                  <a:pt x="75" y="29"/>
                </a:lnTo>
                <a:lnTo>
                  <a:pt x="75" y="29"/>
                </a:lnTo>
                <a:lnTo>
                  <a:pt x="76" y="29"/>
                </a:lnTo>
                <a:lnTo>
                  <a:pt x="76" y="29"/>
                </a:lnTo>
                <a:lnTo>
                  <a:pt x="76" y="30"/>
                </a:lnTo>
                <a:lnTo>
                  <a:pt x="76" y="30"/>
                </a:lnTo>
                <a:lnTo>
                  <a:pt x="76" y="30"/>
                </a:lnTo>
                <a:lnTo>
                  <a:pt x="76" y="30"/>
                </a:lnTo>
                <a:lnTo>
                  <a:pt x="76" y="30"/>
                </a:lnTo>
                <a:lnTo>
                  <a:pt x="76" y="31"/>
                </a:lnTo>
                <a:lnTo>
                  <a:pt x="76" y="31"/>
                </a:lnTo>
                <a:lnTo>
                  <a:pt x="76" y="31"/>
                </a:lnTo>
                <a:lnTo>
                  <a:pt x="76" y="31"/>
                </a:lnTo>
                <a:lnTo>
                  <a:pt x="76" y="31"/>
                </a:lnTo>
                <a:lnTo>
                  <a:pt x="76" y="32"/>
                </a:lnTo>
                <a:lnTo>
                  <a:pt x="76" y="32"/>
                </a:lnTo>
                <a:lnTo>
                  <a:pt x="76" y="32"/>
                </a:lnTo>
                <a:lnTo>
                  <a:pt x="76" y="32"/>
                </a:lnTo>
                <a:lnTo>
                  <a:pt x="76" y="32"/>
                </a:lnTo>
                <a:lnTo>
                  <a:pt x="76" y="34"/>
                </a:lnTo>
                <a:lnTo>
                  <a:pt x="76" y="34"/>
                </a:lnTo>
                <a:lnTo>
                  <a:pt x="76" y="34"/>
                </a:lnTo>
                <a:lnTo>
                  <a:pt x="76" y="34"/>
                </a:lnTo>
                <a:lnTo>
                  <a:pt x="76" y="34"/>
                </a:lnTo>
                <a:lnTo>
                  <a:pt x="76" y="35"/>
                </a:lnTo>
                <a:lnTo>
                  <a:pt x="76" y="35"/>
                </a:lnTo>
                <a:lnTo>
                  <a:pt x="76" y="35"/>
                </a:lnTo>
                <a:lnTo>
                  <a:pt x="76" y="35"/>
                </a:lnTo>
                <a:lnTo>
                  <a:pt x="76" y="36"/>
                </a:lnTo>
                <a:lnTo>
                  <a:pt x="76" y="36"/>
                </a:lnTo>
                <a:lnTo>
                  <a:pt x="76" y="36"/>
                </a:lnTo>
                <a:lnTo>
                  <a:pt x="76" y="36"/>
                </a:lnTo>
                <a:lnTo>
                  <a:pt x="76" y="36"/>
                </a:lnTo>
                <a:lnTo>
                  <a:pt x="76" y="37"/>
                </a:lnTo>
                <a:lnTo>
                  <a:pt x="76" y="37"/>
                </a:lnTo>
                <a:lnTo>
                  <a:pt x="76" y="37"/>
                </a:lnTo>
                <a:lnTo>
                  <a:pt x="76" y="37"/>
                </a:lnTo>
                <a:close/>
                <a:moveTo>
                  <a:pt x="78" y="41"/>
                </a:moveTo>
                <a:lnTo>
                  <a:pt x="78" y="34"/>
                </a:lnTo>
                <a:lnTo>
                  <a:pt x="94" y="34"/>
                </a:lnTo>
                <a:lnTo>
                  <a:pt x="94" y="41"/>
                </a:lnTo>
                <a:lnTo>
                  <a:pt x="78" y="41"/>
                </a:lnTo>
                <a:lnTo>
                  <a:pt x="78" y="41"/>
                </a:lnTo>
                <a:close/>
                <a:moveTo>
                  <a:pt x="125" y="41"/>
                </a:moveTo>
                <a:lnTo>
                  <a:pt x="125" y="34"/>
                </a:lnTo>
                <a:lnTo>
                  <a:pt x="141" y="34"/>
                </a:lnTo>
                <a:lnTo>
                  <a:pt x="141" y="41"/>
                </a:lnTo>
                <a:lnTo>
                  <a:pt x="125" y="41"/>
                </a:lnTo>
                <a:lnTo>
                  <a:pt x="125" y="41"/>
                </a:lnTo>
                <a:close/>
                <a:moveTo>
                  <a:pt x="173" y="41"/>
                </a:moveTo>
                <a:lnTo>
                  <a:pt x="173" y="34"/>
                </a:lnTo>
                <a:lnTo>
                  <a:pt x="188" y="34"/>
                </a:lnTo>
                <a:lnTo>
                  <a:pt x="188" y="41"/>
                </a:lnTo>
                <a:lnTo>
                  <a:pt x="173" y="41"/>
                </a:lnTo>
                <a:lnTo>
                  <a:pt x="173" y="41"/>
                </a:lnTo>
                <a:close/>
                <a:moveTo>
                  <a:pt x="220" y="41"/>
                </a:moveTo>
                <a:lnTo>
                  <a:pt x="220" y="34"/>
                </a:lnTo>
                <a:lnTo>
                  <a:pt x="236" y="34"/>
                </a:lnTo>
                <a:lnTo>
                  <a:pt x="236" y="41"/>
                </a:lnTo>
                <a:lnTo>
                  <a:pt x="220" y="41"/>
                </a:lnTo>
                <a:lnTo>
                  <a:pt x="220" y="41"/>
                </a:lnTo>
                <a:close/>
                <a:moveTo>
                  <a:pt x="267" y="41"/>
                </a:moveTo>
                <a:lnTo>
                  <a:pt x="267" y="34"/>
                </a:lnTo>
                <a:lnTo>
                  <a:pt x="283" y="34"/>
                </a:lnTo>
                <a:lnTo>
                  <a:pt x="283" y="41"/>
                </a:lnTo>
                <a:lnTo>
                  <a:pt x="267" y="41"/>
                </a:lnTo>
                <a:lnTo>
                  <a:pt x="267" y="41"/>
                </a:lnTo>
                <a:close/>
                <a:moveTo>
                  <a:pt x="314" y="41"/>
                </a:moveTo>
                <a:lnTo>
                  <a:pt x="314" y="34"/>
                </a:lnTo>
                <a:lnTo>
                  <a:pt x="330" y="34"/>
                </a:lnTo>
                <a:lnTo>
                  <a:pt x="330" y="41"/>
                </a:lnTo>
                <a:lnTo>
                  <a:pt x="314" y="41"/>
                </a:lnTo>
                <a:lnTo>
                  <a:pt x="314" y="41"/>
                </a:lnTo>
                <a:close/>
                <a:moveTo>
                  <a:pt x="362" y="41"/>
                </a:moveTo>
                <a:lnTo>
                  <a:pt x="362" y="34"/>
                </a:lnTo>
                <a:lnTo>
                  <a:pt x="376" y="34"/>
                </a:lnTo>
                <a:lnTo>
                  <a:pt x="376" y="41"/>
                </a:lnTo>
                <a:lnTo>
                  <a:pt x="362" y="41"/>
                </a:lnTo>
                <a:lnTo>
                  <a:pt x="362" y="41"/>
                </a:lnTo>
                <a:close/>
                <a:moveTo>
                  <a:pt x="408" y="41"/>
                </a:moveTo>
                <a:lnTo>
                  <a:pt x="408" y="34"/>
                </a:lnTo>
                <a:lnTo>
                  <a:pt x="424" y="34"/>
                </a:lnTo>
                <a:lnTo>
                  <a:pt x="424" y="41"/>
                </a:lnTo>
                <a:lnTo>
                  <a:pt x="408" y="41"/>
                </a:lnTo>
                <a:lnTo>
                  <a:pt x="408" y="41"/>
                </a:lnTo>
                <a:close/>
                <a:moveTo>
                  <a:pt x="455" y="41"/>
                </a:moveTo>
                <a:lnTo>
                  <a:pt x="455" y="34"/>
                </a:lnTo>
                <a:lnTo>
                  <a:pt x="471" y="34"/>
                </a:lnTo>
                <a:lnTo>
                  <a:pt x="471" y="41"/>
                </a:lnTo>
                <a:lnTo>
                  <a:pt x="455" y="41"/>
                </a:lnTo>
                <a:close/>
              </a:path>
            </a:pathLst>
          </a:custGeom>
          <a:solidFill>
            <a:srgbClr val="8497B0"/>
          </a:solidFill>
          <a:ln>
            <a:solidFill>
              <a:srgbClr val="FFC000"/>
            </a:solidFill>
          </a:ln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1013"/>
          </a:p>
        </p:txBody>
      </p:sp>
      <p:grpSp>
        <p:nvGrpSpPr>
          <p:cNvPr id="168" name="Группа 167">
            <a:extLst>
              <a:ext uri="{FF2B5EF4-FFF2-40B4-BE49-F238E27FC236}">
                <a16:creationId xmlns:a16="http://schemas.microsoft.com/office/drawing/2014/main" id="{026BB672-7685-4907-A79C-48C79F06867B}"/>
              </a:ext>
            </a:extLst>
          </p:cNvPr>
          <p:cNvGrpSpPr/>
          <p:nvPr/>
        </p:nvGrpSpPr>
        <p:grpSpPr>
          <a:xfrm>
            <a:off x="2909154" y="5470047"/>
            <a:ext cx="1200523" cy="1240909"/>
            <a:chOff x="5700810" y="4906947"/>
            <a:chExt cx="898874" cy="891400"/>
          </a:xfrm>
        </p:grpSpPr>
        <p:grpSp>
          <p:nvGrpSpPr>
            <p:cNvPr id="141" name="Группа 140">
              <a:extLst>
                <a:ext uri="{FF2B5EF4-FFF2-40B4-BE49-F238E27FC236}">
                  <a16:creationId xmlns:a16="http://schemas.microsoft.com/office/drawing/2014/main" id="{F28D1E7C-64BA-4395-94C9-622EB904D669}"/>
                </a:ext>
              </a:extLst>
            </p:cNvPr>
            <p:cNvGrpSpPr/>
            <p:nvPr/>
          </p:nvGrpSpPr>
          <p:grpSpPr>
            <a:xfrm>
              <a:off x="5700810" y="4906947"/>
              <a:ext cx="898874" cy="891400"/>
              <a:chOff x="8331646" y="5527675"/>
              <a:chExt cx="911225" cy="914400"/>
            </a:xfrm>
          </p:grpSpPr>
          <p:sp>
            <p:nvSpPr>
              <p:cNvPr id="143" name="Freeform 13">
                <a:extLst>
                  <a:ext uri="{FF2B5EF4-FFF2-40B4-BE49-F238E27FC236}">
                    <a16:creationId xmlns:a16="http://schemas.microsoft.com/office/drawing/2014/main" id="{B8E77532-7DEE-4624-A0AE-AF543590F5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31646" y="5527675"/>
                <a:ext cx="911225" cy="914400"/>
              </a:xfrm>
              <a:custGeom>
                <a:avLst/>
                <a:gdLst>
                  <a:gd name="T0" fmla="*/ 448 w 510"/>
                  <a:gd name="T1" fmla="*/ 367 h 511"/>
                  <a:gd name="T2" fmla="*/ 143 w 510"/>
                  <a:gd name="T3" fmla="*/ 449 h 511"/>
                  <a:gd name="T4" fmla="*/ 61 w 510"/>
                  <a:gd name="T5" fmla="*/ 144 h 511"/>
                  <a:gd name="T6" fmla="*/ 366 w 510"/>
                  <a:gd name="T7" fmla="*/ 62 h 511"/>
                  <a:gd name="T8" fmla="*/ 448 w 510"/>
                  <a:gd name="T9" fmla="*/ 367 h 5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0" h="511">
                    <a:moveTo>
                      <a:pt x="448" y="367"/>
                    </a:moveTo>
                    <a:cubicBezTo>
                      <a:pt x="386" y="474"/>
                      <a:pt x="250" y="511"/>
                      <a:pt x="143" y="449"/>
                    </a:cubicBezTo>
                    <a:cubicBezTo>
                      <a:pt x="36" y="387"/>
                      <a:pt x="0" y="251"/>
                      <a:pt x="61" y="144"/>
                    </a:cubicBezTo>
                    <a:cubicBezTo>
                      <a:pt x="123" y="37"/>
                      <a:pt x="259" y="0"/>
                      <a:pt x="366" y="62"/>
                    </a:cubicBezTo>
                    <a:cubicBezTo>
                      <a:pt x="473" y="124"/>
                      <a:pt x="510" y="260"/>
                      <a:pt x="448" y="367"/>
                    </a:cubicBezTo>
                    <a:close/>
                  </a:path>
                </a:pathLst>
              </a:custGeom>
              <a:solidFill>
                <a:srgbClr val="006699"/>
              </a:solidFill>
              <a:ln>
                <a:noFill/>
              </a:ln>
              <a:effectLst/>
            </p:spPr>
            <p:txBody>
              <a:bodyPr vert="horz" wrap="square" lIns="51435" tIns="25718" rIns="51435" bIns="2571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/>
              </a:p>
            </p:txBody>
          </p:sp>
          <p:sp>
            <p:nvSpPr>
              <p:cNvPr id="144" name="Freeform 71">
                <a:extLst>
                  <a:ext uri="{FF2B5EF4-FFF2-40B4-BE49-F238E27FC236}">
                    <a16:creationId xmlns:a16="http://schemas.microsoft.com/office/drawing/2014/main" id="{453C58A1-77DA-4FCF-9C0B-383B43E752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93558" y="5591175"/>
                <a:ext cx="787400" cy="787400"/>
              </a:xfrm>
              <a:custGeom>
                <a:avLst/>
                <a:gdLst>
                  <a:gd name="T0" fmla="*/ 62 w 510"/>
                  <a:gd name="T1" fmla="*/ 367 h 510"/>
                  <a:gd name="T2" fmla="*/ 144 w 510"/>
                  <a:gd name="T3" fmla="*/ 62 h 510"/>
                  <a:gd name="T4" fmla="*/ 449 w 510"/>
                  <a:gd name="T5" fmla="*/ 144 h 510"/>
                  <a:gd name="T6" fmla="*/ 367 w 510"/>
                  <a:gd name="T7" fmla="*/ 449 h 510"/>
                  <a:gd name="T8" fmla="*/ 62 w 510"/>
                  <a:gd name="T9" fmla="*/ 367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0" h="510">
                    <a:moveTo>
                      <a:pt x="62" y="367"/>
                    </a:moveTo>
                    <a:cubicBezTo>
                      <a:pt x="0" y="260"/>
                      <a:pt x="37" y="124"/>
                      <a:pt x="144" y="62"/>
                    </a:cubicBezTo>
                    <a:cubicBezTo>
                      <a:pt x="250" y="0"/>
                      <a:pt x="387" y="37"/>
                      <a:pt x="449" y="144"/>
                    </a:cubicBezTo>
                    <a:cubicBezTo>
                      <a:pt x="510" y="251"/>
                      <a:pt x="474" y="387"/>
                      <a:pt x="367" y="449"/>
                    </a:cubicBezTo>
                    <a:cubicBezTo>
                      <a:pt x="260" y="510"/>
                      <a:pt x="124" y="474"/>
                      <a:pt x="62" y="367"/>
                    </a:cubicBezTo>
                    <a:close/>
                  </a:path>
                </a:pathLst>
              </a:custGeom>
              <a:noFill/>
              <a:ln w="19050">
                <a:solidFill>
                  <a:schemeClr val="bg1"/>
                </a:solidFill>
              </a:ln>
              <a:effectLst/>
            </p:spPr>
            <p:txBody>
              <a:bodyPr vert="horz" wrap="square" lIns="51435" tIns="25718" rIns="51435" bIns="2571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/>
              </a:p>
            </p:txBody>
          </p:sp>
        </p:grpSp>
        <p:grpSp>
          <p:nvGrpSpPr>
            <p:cNvPr id="150" name="Group 176">
              <a:extLst>
                <a:ext uri="{FF2B5EF4-FFF2-40B4-BE49-F238E27FC236}">
                  <a16:creationId xmlns:a16="http://schemas.microsoft.com/office/drawing/2014/main" id="{1005076B-8430-4C6B-81D3-93FCDEB51C70}"/>
                </a:ext>
              </a:extLst>
            </p:cNvPr>
            <p:cNvGrpSpPr/>
            <p:nvPr/>
          </p:nvGrpSpPr>
          <p:grpSpPr>
            <a:xfrm>
              <a:off x="5954575" y="5157761"/>
              <a:ext cx="388886" cy="390994"/>
              <a:chOff x="11601450" y="5076825"/>
              <a:chExt cx="285751" cy="287338"/>
            </a:xfrm>
            <a:solidFill>
              <a:schemeClr val="bg1"/>
            </a:solidFill>
          </p:grpSpPr>
          <p:sp>
            <p:nvSpPr>
              <p:cNvPr id="151" name="Freeform 2606">
                <a:extLst>
                  <a:ext uri="{FF2B5EF4-FFF2-40B4-BE49-F238E27FC236}">
                    <a16:creationId xmlns:a16="http://schemas.microsoft.com/office/drawing/2014/main" id="{B4EAE18C-C5B6-4150-B4C2-EFD4A227BE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82413" y="5230813"/>
                <a:ext cx="122238" cy="63500"/>
              </a:xfrm>
              <a:custGeom>
                <a:avLst/>
                <a:gdLst>
                  <a:gd name="T0" fmla="*/ 337 w 385"/>
                  <a:gd name="T1" fmla="*/ 202 h 202"/>
                  <a:gd name="T2" fmla="*/ 346 w 385"/>
                  <a:gd name="T3" fmla="*/ 177 h 202"/>
                  <a:gd name="T4" fmla="*/ 355 w 385"/>
                  <a:gd name="T5" fmla="*/ 151 h 202"/>
                  <a:gd name="T6" fmla="*/ 362 w 385"/>
                  <a:gd name="T7" fmla="*/ 126 h 202"/>
                  <a:gd name="T8" fmla="*/ 369 w 385"/>
                  <a:gd name="T9" fmla="*/ 101 h 202"/>
                  <a:gd name="T10" fmla="*/ 374 w 385"/>
                  <a:gd name="T11" fmla="*/ 75 h 202"/>
                  <a:gd name="T12" fmla="*/ 379 w 385"/>
                  <a:gd name="T13" fmla="*/ 50 h 202"/>
                  <a:gd name="T14" fmla="*/ 383 w 385"/>
                  <a:gd name="T15" fmla="*/ 26 h 202"/>
                  <a:gd name="T16" fmla="*/ 385 w 385"/>
                  <a:gd name="T17" fmla="*/ 0 h 202"/>
                  <a:gd name="T18" fmla="*/ 0 w 385"/>
                  <a:gd name="T19" fmla="*/ 0 h 202"/>
                  <a:gd name="T20" fmla="*/ 3 w 385"/>
                  <a:gd name="T21" fmla="*/ 26 h 202"/>
                  <a:gd name="T22" fmla="*/ 7 w 385"/>
                  <a:gd name="T23" fmla="*/ 50 h 202"/>
                  <a:gd name="T24" fmla="*/ 11 w 385"/>
                  <a:gd name="T25" fmla="*/ 75 h 202"/>
                  <a:gd name="T26" fmla="*/ 16 w 385"/>
                  <a:gd name="T27" fmla="*/ 101 h 202"/>
                  <a:gd name="T28" fmla="*/ 23 w 385"/>
                  <a:gd name="T29" fmla="*/ 126 h 202"/>
                  <a:gd name="T30" fmla="*/ 31 w 385"/>
                  <a:gd name="T31" fmla="*/ 151 h 202"/>
                  <a:gd name="T32" fmla="*/ 40 w 385"/>
                  <a:gd name="T33" fmla="*/ 177 h 202"/>
                  <a:gd name="T34" fmla="*/ 48 w 385"/>
                  <a:gd name="T35" fmla="*/ 202 h 202"/>
                  <a:gd name="T36" fmla="*/ 337 w 385"/>
                  <a:gd name="T37" fmla="*/ 202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85" h="202">
                    <a:moveTo>
                      <a:pt x="337" y="202"/>
                    </a:moveTo>
                    <a:lnTo>
                      <a:pt x="346" y="177"/>
                    </a:lnTo>
                    <a:lnTo>
                      <a:pt x="355" y="151"/>
                    </a:lnTo>
                    <a:lnTo>
                      <a:pt x="362" y="126"/>
                    </a:lnTo>
                    <a:lnTo>
                      <a:pt x="369" y="101"/>
                    </a:lnTo>
                    <a:lnTo>
                      <a:pt x="374" y="75"/>
                    </a:lnTo>
                    <a:lnTo>
                      <a:pt x="379" y="50"/>
                    </a:lnTo>
                    <a:lnTo>
                      <a:pt x="383" y="26"/>
                    </a:lnTo>
                    <a:lnTo>
                      <a:pt x="385" y="0"/>
                    </a:lnTo>
                    <a:lnTo>
                      <a:pt x="0" y="0"/>
                    </a:lnTo>
                    <a:lnTo>
                      <a:pt x="3" y="26"/>
                    </a:lnTo>
                    <a:lnTo>
                      <a:pt x="7" y="50"/>
                    </a:lnTo>
                    <a:lnTo>
                      <a:pt x="11" y="75"/>
                    </a:lnTo>
                    <a:lnTo>
                      <a:pt x="16" y="101"/>
                    </a:lnTo>
                    <a:lnTo>
                      <a:pt x="23" y="126"/>
                    </a:lnTo>
                    <a:lnTo>
                      <a:pt x="31" y="151"/>
                    </a:lnTo>
                    <a:lnTo>
                      <a:pt x="40" y="177"/>
                    </a:lnTo>
                    <a:lnTo>
                      <a:pt x="48" y="202"/>
                    </a:lnTo>
                    <a:lnTo>
                      <a:pt x="337" y="20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1435" tIns="25718" rIns="51435" bIns="2571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/>
              </a:p>
            </p:txBody>
          </p:sp>
          <p:sp>
            <p:nvSpPr>
              <p:cNvPr id="152" name="Freeform 2607">
                <a:extLst>
                  <a:ext uri="{FF2B5EF4-FFF2-40B4-BE49-F238E27FC236}">
                    <a16:creationId xmlns:a16="http://schemas.microsoft.com/office/drawing/2014/main" id="{39D3EFF5-D092-4841-A432-22DA01A359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82413" y="5156200"/>
                <a:ext cx="123825" cy="65088"/>
              </a:xfrm>
              <a:custGeom>
                <a:avLst/>
                <a:gdLst>
                  <a:gd name="T0" fmla="*/ 363 w 390"/>
                  <a:gd name="T1" fmla="*/ 0 h 203"/>
                  <a:gd name="T2" fmla="*/ 26 w 390"/>
                  <a:gd name="T3" fmla="*/ 0 h 203"/>
                  <a:gd name="T4" fmla="*/ 18 w 390"/>
                  <a:gd name="T5" fmla="*/ 24 h 203"/>
                  <a:gd name="T6" fmla="*/ 13 w 390"/>
                  <a:gd name="T7" fmla="*/ 50 h 203"/>
                  <a:gd name="T8" fmla="*/ 9 w 390"/>
                  <a:gd name="T9" fmla="*/ 75 h 203"/>
                  <a:gd name="T10" fmla="*/ 4 w 390"/>
                  <a:gd name="T11" fmla="*/ 100 h 203"/>
                  <a:gd name="T12" fmla="*/ 2 w 390"/>
                  <a:gd name="T13" fmla="*/ 126 h 203"/>
                  <a:gd name="T14" fmla="*/ 0 w 390"/>
                  <a:gd name="T15" fmla="*/ 151 h 203"/>
                  <a:gd name="T16" fmla="*/ 0 w 390"/>
                  <a:gd name="T17" fmla="*/ 176 h 203"/>
                  <a:gd name="T18" fmla="*/ 0 w 390"/>
                  <a:gd name="T19" fmla="*/ 203 h 203"/>
                  <a:gd name="T20" fmla="*/ 390 w 390"/>
                  <a:gd name="T21" fmla="*/ 203 h 203"/>
                  <a:gd name="T22" fmla="*/ 390 w 390"/>
                  <a:gd name="T23" fmla="*/ 176 h 203"/>
                  <a:gd name="T24" fmla="*/ 390 w 390"/>
                  <a:gd name="T25" fmla="*/ 151 h 203"/>
                  <a:gd name="T26" fmla="*/ 387 w 390"/>
                  <a:gd name="T27" fmla="*/ 126 h 203"/>
                  <a:gd name="T28" fmla="*/ 385 w 390"/>
                  <a:gd name="T29" fmla="*/ 100 h 203"/>
                  <a:gd name="T30" fmla="*/ 381 w 390"/>
                  <a:gd name="T31" fmla="*/ 75 h 203"/>
                  <a:gd name="T32" fmla="*/ 376 w 390"/>
                  <a:gd name="T33" fmla="*/ 50 h 203"/>
                  <a:gd name="T34" fmla="*/ 371 w 390"/>
                  <a:gd name="T35" fmla="*/ 24 h 203"/>
                  <a:gd name="T36" fmla="*/ 363 w 390"/>
                  <a:gd name="T37" fmla="*/ 0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90" h="203">
                    <a:moveTo>
                      <a:pt x="363" y="0"/>
                    </a:moveTo>
                    <a:lnTo>
                      <a:pt x="26" y="0"/>
                    </a:lnTo>
                    <a:lnTo>
                      <a:pt x="18" y="24"/>
                    </a:lnTo>
                    <a:lnTo>
                      <a:pt x="13" y="50"/>
                    </a:lnTo>
                    <a:lnTo>
                      <a:pt x="9" y="75"/>
                    </a:lnTo>
                    <a:lnTo>
                      <a:pt x="4" y="100"/>
                    </a:lnTo>
                    <a:lnTo>
                      <a:pt x="2" y="126"/>
                    </a:lnTo>
                    <a:lnTo>
                      <a:pt x="0" y="151"/>
                    </a:lnTo>
                    <a:lnTo>
                      <a:pt x="0" y="176"/>
                    </a:lnTo>
                    <a:lnTo>
                      <a:pt x="0" y="203"/>
                    </a:lnTo>
                    <a:lnTo>
                      <a:pt x="390" y="203"/>
                    </a:lnTo>
                    <a:lnTo>
                      <a:pt x="390" y="176"/>
                    </a:lnTo>
                    <a:lnTo>
                      <a:pt x="390" y="151"/>
                    </a:lnTo>
                    <a:lnTo>
                      <a:pt x="387" y="126"/>
                    </a:lnTo>
                    <a:lnTo>
                      <a:pt x="385" y="100"/>
                    </a:lnTo>
                    <a:lnTo>
                      <a:pt x="381" y="75"/>
                    </a:lnTo>
                    <a:lnTo>
                      <a:pt x="376" y="50"/>
                    </a:lnTo>
                    <a:lnTo>
                      <a:pt x="371" y="24"/>
                    </a:lnTo>
                    <a:lnTo>
                      <a:pt x="36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1435" tIns="25718" rIns="51435" bIns="2571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/>
              </a:p>
            </p:txBody>
          </p:sp>
          <p:sp>
            <p:nvSpPr>
              <p:cNvPr id="153" name="Freeform 2608">
                <a:extLst>
                  <a:ext uri="{FF2B5EF4-FFF2-40B4-BE49-F238E27FC236}">
                    <a16:creationId xmlns:a16="http://schemas.microsoft.com/office/drawing/2014/main" id="{230BD595-0911-4A9C-AC0E-BF93A4A714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799888" y="5230813"/>
                <a:ext cx="87313" cy="63500"/>
              </a:xfrm>
              <a:custGeom>
                <a:avLst/>
                <a:gdLst>
                  <a:gd name="T0" fmla="*/ 0 w 274"/>
                  <a:gd name="T1" fmla="*/ 202 h 202"/>
                  <a:gd name="T2" fmla="*/ 209 w 274"/>
                  <a:gd name="T3" fmla="*/ 202 h 202"/>
                  <a:gd name="T4" fmla="*/ 222 w 274"/>
                  <a:gd name="T5" fmla="*/ 180 h 202"/>
                  <a:gd name="T6" fmla="*/ 233 w 274"/>
                  <a:gd name="T7" fmla="*/ 156 h 202"/>
                  <a:gd name="T8" fmla="*/ 244 w 274"/>
                  <a:gd name="T9" fmla="*/ 131 h 202"/>
                  <a:gd name="T10" fmla="*/ 253 w 274"/>
                  <a:gd name="T11" fmla="*/ 106 h 202"/>
                  <a:gd name="T12" fmla="*/ 261 w 274"/>
                  <a:gd name="T13" fmla="*/ 81 h 202"/>
                  <a:gd name="T14" fmla="*/ 266 w 274"/>
                  <a:gd name="T15" fmla="*/ 54 h 202"/>
                  <a:gd name="T16" fmla="*/ 271 w 274"/>
                  <a:gd name="T17" fmla="*/ 28 h 202"/>
                  <a:gd name="T18" fmla="*/ 274 w 274"/>
                  <a:gd name="T19" fmla="*/ 0 h 202"/>
                  <a:gd name="T20" fmla="*/ 45 w 274"/>
                  <a:gd name="T21" fmla="*/ 0 h 202"/>
                  <a:gd name="T22" fmla="*/ 43 w 274"/>
                  <a:gd name="T23" fmla="*/ 26 h 202"/>
                  <a:gd name="T24" fmla="*/ 39 w 274"/>
                  <a:gd name="T25" fmla="*/ 50 h 202"/>
                  <a:gd name="T26" fmla="*/ 35 w 274"/>
                  <a:gd name="T27" fmla="*/ 75 h 202"/>
                  <a:gd name="T28" fmla="*/ 29 w 274"/>
                  <a:gd name="T29" fmla="*/ 101 h 202"/>
                  <a:gd name="T30" fmla="*/ 24 w 274"/>
                  <a:gd name="T31" fmla="*/ 126 h 202"/>
                  <a:gd name="T32" fmla="*/ 16 w 274"/>
                  <a:gd name="T33" fmla="*/ 151 h 202"/>
                  <a:gd name="T34" fmla="*/ 9 w 274"/>
                  <a:gd name="T35" fmla="*/ 177 h 202"/>
                  <a:gd name="T36" fmla="*/ 0 w 274"/>
                  <a:gd name="T37" fmla="*/ 202 h 202"/>
                  <a:gd name="T38" fmla="*/ 0 w 274"/>
                  <a:gd name="T39" fmla="*/ 202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74" h="202">
                    <a:moveTo>
                      <a:pt x="0" y="202"/>
                    </a:moveTo>
                    <a:lnTo>
                      <a:pt x="209" y="202"/>
                    </a:lnTo>
                    <a:lnTo>
                      <a:pt x="222" y="180"/>
                    </a:lnTo>
                    <a:lnTo>
                      <a:pt x="233" y="156"/>
                    </a:lnTo>
                    <a:lnTo>
                      <a:pt x="244" y="131"/>
                    </a:lnTo>
                    <a:lnTo>
                      <a:pt x="253" y="106"/>
                    </a:lnTo>
                    <a:lnTo>
                      <a:pt x="261" y="81"/>
                    </a:lnTo>
                    <a:lnTo>
                      <a:pt x="266" y="54"/>
                    </a:lnTo>
                    <a:lnTo>
                      <a:pt x="271" y="28"/>
                    </a:lnTo>
                    <a:lnTo>
                      <a:pt x="274" y="0"/>
                    </a:lnTo>
                    <a:lnTo>
                      <a:pt x="45" y="0"/>
                    </a:lnTo>
                    <a:lnTo>
                      <a:pt x="43" y="26"/>
                    </a:lnTo>
                    <a:lnTo>
                      <a:pt x="39" y="50"/>
                    </a:lnTo>
                    <a:lnTo>
                      <a:pt x="35" y="75"/>
                    </a:lnTo>
                    <a:lnTo>
                      <a:pt x="29" y="101"/>
                    </a:lnTo>
                    <a:lnTo>
                      <a:pt x="24" y="126"/>
                    </a:lnTo>
                    <a:lnTo>
                      <a:pt x="16" y="151"/>
                    </a:lnTo>
                    <a:lnTo>
                      <a:pt x="9" y="177"/>
                    </a:lnTo>
                    <a:lnTo>
                      <a:pt x="0" y="202"/>
                    </a:lnTo>
                    <a:lnTo>
                      <a:pt x="0" y="20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1435" tIns="25718" rIns="51435" bIns="2571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/>
              </a:p>
            </p:txBody>
          </p:sp>
          <p:sp>
            <p:nvSpPr>
              <p:cNvPr id="154" name="Freeform 2609">
                <a:extLst>
                  <a:ext uri="{FF2B5EF4-FFF2-40B4-BE49-F238E27FC236}">
                    <a16:creationId xmlns:a16="http://schemas.microsoft.com/office/drawing/2014/main" id="{14401423-01AC-4325-9859-E6B76C6836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703050" y="5303838"/>
                <a:ext cx="82550" cy="60325"/>
              </a:xfrm>
              <a:custGeom>
                <a:avLst/>
                <a:gdLst>
                  <a:gd name="T0" fmla="*/ 0 w 262"/>
                  <a:gd name="T1" fmla="*/ 0 h 186"/>
                  <a:gd name="T2" fmla="*/ 10 w 262"/>
                  <a:gd name="T3" fmla="*/ 23 h 186"/>
                  <a:gd name="T4" fmla="*/ 21 w 262"/>
                  <a:gd name="T5" fmla="*/ 46 h 186"/>
                  <a:gd name="T6" fmla="*/ 33 w 262"/>
                  <a:gd name="T7" fmla="*/ 69 h 186"/>
                  <a:gd name="T8" fmla="*/ 46 w 262"/>
                  <a:gd name="T9" fmla="*/ 92 h 186"/>
                  <a:gd name="T10" fmla="*/ 60 w 262"/>
                  <a:gd name="T11" fmla="*/ 115 h 186"/>
                  <a:gd name="T12" fmla="*/ 75 w 262"/>
                  <a:gd name="T13" fmla="*/ 140 h 186"/>
                  <a:gd name="T14" fmla="*/ 90 w 262"/>
                  <a:gd name="T15" fmla="*/ 163 h 186"/>
                  <a:gd name="T16" fmla="*/ 106 w 262"/>
                  <a:gd name="T17" fmla="*/ 186 h 186"/>
                  <a:gd name="T18" fmla="*/ 117 w 262"/>
                  <a:gd name="T19" fmla="*/ 186 h 186"/>
                  <a:gd name="T20" fmla="*/ 130 w 262"/>
                  <a:gd name="T21" fmla="*/ 186 h 186"/>
                  <a:gd name="T22" fmla="*/ 143 w 262"/>
                  <a:gd name="T23" fmla="*/ 186 h 186"/>
                  <a:gd name="T24" fmla="*/ 155 w 262"/>
                  <a:gd name="T25" fmla="*/ 186 h 186"/>
                  <a:gd name="T26" fmla="*/ 171 w 262"/>
                  <a:gd name="T27" fmla="*/ 163 h 186"/>
                  <a:gd name="T28" fmla="*/ 187 w 262"/>
                  <a:gd name="T29" fmla="*/ 138 h 186"/>
                  <a:gd name="T30" fmla="*/ 201 w 262"/>
                  <a:gd name="T31" fmla="*/ 115 h 186"/>
                  <a:gd name="T32" fmla="*/ 215 w 262"/>
                  <a:gd name="T33" fmla="*/ 92 h 186"/>
                  <a:gd name="T34" fmla="*/ 229 w 262"/>
                  <a:gd name="T35" fmla="*/ 69 h 186"/>
                  <a:gd name="T36" fmla="*/ 241 w 262"/>
                  <a:gd name="T37" fmla="*/ 46 h 186"/>
                  <a:gd name="T38" fmla="*/ 252 w 262"/>
                  <a:gd name="T39" fmla="*/ 23 h 186"/>
                  <a:gd name="T40" fmla="*/ 262 w 262"/>
                  <a:gd name="T41" fmla="*/ 0 h 186"/>
                  <a:gd name="T42" fmla="*/ 0 w 262"/>
                  <a:gd name="T43" fmla="*/ 0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62" h="186">
                    <a:moveTo>
                      <a:pt x="0" y="0"/>
                    </a:moveTo>
                    <a:lnTo>
                      <a:pt x="10" y="23"/>
                    </a:lnTo>
                    <a:lnTo>
                      <a:pt x="21" y="46"/>
                    </a:lnTo>
                    <a:lnTo>
                      <a:pt x="33" y="69"/>
                    </a:lnTo>
                    <a:lnTo>
                      <a:pt x="46" y="92"/>
                    </a:lnTo>
                    <a:lnTo>
                      <a:pt x="60" y="115"/>
                    </a:lnTo>
                    <a:lnTo>
                      <a:pt x="75" y="140"/>
                    </a:lnTo>
                    <a:lnTo>
                      <a:pt x="90" y="163"/>
                    </a:lnTo>
                    <a:lnTo>
                      <a:pt x="106" y="186"/>
                    </a:lnTo>
                    <a:lnTo>
                      <a:pt x="117" y="186"/>
                    </a:lnTo>
                    <a:lnTo>
                      <a:pt x="130" y="186"/>
                    </a:lnTo>
                    <a:lnTo>
                      <a:pt x="143" y="186"/>
                    </a:lnTo>
                    <a:lnTo>
                      <a:pt x="155" y="186"/>
                    </a:lnTo>
                    <a:lnTo>
                      <a:pt x="171" y="163"/>
                    </a:lnTo>
                    <a:lnTo>
                      <a:pt x="187" y="138"/>
                    </a:lnTo>
                    <a:lnTo>
                      <a:pt x="201" y="115"/>
                    </a:lnTo>
                    <a:lnTo>
                      <a:pt x="215" y="92"/>
                    </a:lnTo>
                    <a:lnTo>
                      <a:pt x="229" y="69"/>
                    </a:lnTo>
                    <a:lnTo>
                      <a:pt x="241" y="46"/>
                    </a:lnTo>
                    <a:lnTo>
                      <a:pt x="252" y="23"/>
                    </a:lnTo>
                    <a:lnTo>
                      <a:pt x="26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1435" tIns="25718" rIns="51435" bIns="2571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/>
              </a:p>
            </p:txBody>
          </p:sp>
          <p:sp>
            <p:nvSpPr>
              <p:cNvPr id="155" name="Freeform 2610">
                <a:extLst>
                  <a:ext uri="{FF2B5EF4-FFF2-40B4-BE49-F238E27FC236}">
                    <a16:creationId xmlns:a16="http://schemas.microsoft.com/office/drawing/2014/main" id="{56262295-5745-4211-B655-9A1CEDBDED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93525" y="5076825"/>
                <a:ext cx="101600" cy="69850"/>
              </a:xfrm>
              <a:custGeom>
                <a:avLst/>
                <a:gdLst>
                  <a:gd name="T0" fmla="*/ 317 w 317"/>
                  <a:gd name="T1" fmla="*/ 220 h 220"/>
                  <a:gd name="T2" fmla="*/ 306 w 317"/>
                  <a:gd name="T3" fmla="*/ 192 h 220"/>
                  <a:gd name="T4" fmla="*/ 294 w 317"/>
                  <a:gd name="T5" fmla="*/ 163 h 220"/>
                  <a:gd name="T6" fmla="*/ 280 w 317"/>
                  <a:gd name="T7" fmla="*/ 136 h 220"/>
                  <a:gd name="T8" fmla="*/ 264 w 317"/>
                  <a:gd name="T9" fmla="*/ 108 h 220"/>
                  <a:gd name="T10" fmla="*/ 247 w 317"/>
                  <a:gd name="T11" fmla="*/ 81 h 220"/>
                  <a:gd name="T12" fmla="*/ 228 w 317"/>
                  <a:gd name="T13" fmla="*/ 54 h 220"/>
                  <a:gd name="T14" fmla="*/ 208 w 317"/>
                  <a:gd name="T15" fmla="*/ 28 h 220"/>
                  <a:gd name="T16" fmla="*/ 187 w 317"/>
                  <a:gd name="T17" fmla="*/ 1 h 220"/>
                  <a:gd name="T18" fmla="*/ 173 w 317"/>
                  <a:gd name="T19" fmla="*/ 0 h 220"/>
                  <a:gd name="T20" fmla="*/ 159 w 317"/>
                  <a:gd name="T21" fmla="*/ 0 h 220"/>
                  <a:gd name="T22" fmla="*/ 149 w 317"/>
                  <a:gd name="T23" fmla="*/ 0 h 220"/>
                  <a:gd name="T24" fmla="*/ 139 w 317"/>
                  <a:gd name="T25" fmla="*/ 0 h 220"/>
                  <a:gd name="T26" fmla="*/ 134 w 317"/>
                  <a:gd name="T27" fmla="*/ 1 h 220"/>
                  <a:gd name="T28" fmla="*/ 130 w 317"/>
                  <a:gd name="T29" fmla="*/ 1 h 220"/>
                  <a:gd name="T30" fmla="*/ 109 w 317"/>
                  <a:gd name="T31" fmla="*/ 28 h 220"/>
                  <a:gd name="T32" fmla="*/ 89 w 317"/>
                  <a:gd name="T33" fmla="*/ 54 h 220"/>
                  <a:gd name="T34" fmla="*/ 71 w 317"/>
                  <a:gd name="T35" fmla="*/ 81 h 220"/>
                  <a:gd name="T36" fmla="*/ 53 w 317"/>
                  <a:gd name="T37" fmla="*/ 108 h 220"/>
                  <a:gd name="T38" fmla="*/ 38 w 317"/>
                  <a:gd name="T39" fmla="*/ 136 h 220"/>
                  <a:gd name="T40" fmla="*/ 23 w 317"/>
                  <a:gd name="T41" fmla="*/ 163 h 220"/>
                  <a:gd name="T42" fmla="*/ 11 w 317"/>
                  <a:gd name="T43" fmla="*/ 192 h 220"/>
                  <a:gd name="T44" fmla="*/ 0 w 317"/>
                  <a:gd name="T45" fmla="*/ 220 h 220"/>
                  <a:gd name="T46" fmla="*/ 317 w 317"/>
                  <a:gd name="T47" fmla="*/ 220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17" h="220">
                    <a:moveTo>
                      <a:pt x="317" y="220"/>
                    </a:moveTo>
                    <a:lnTo>
                      <a:pt x="306" y="192"/>
                    </a:lnTo>
                    <a:lnTo>
                      <a:pt x="294" y="163"/>
                    </a:lnTo>
                    <a:lnTo>
                      <a:pt x="280" y="136"/>
                    </a:lnTo>
                    <a:lnTo>
                      <a:pt x="264" y="108"/>
                    </a:lnTo>
                    <a:lnTo>
                      <a:pt x="247" y="81"/>
                    </a:lnTo>
                    <a:lnTo>
                      <a:pt x="228" y="54"/>
                    </a:lnTo>
                    <a:lnTo>
                      <a:pt x="208" y="28"/>
                    </a:lnTo>
                    <a:lnTo>
                      <a:pt x="187" y="1"/>
                    </a:lnTo>
                    <a:lnTo>
                      <a:pt x="173" y="0"/>
                    </a:lnTo>
                    <a:lnTo>
                      <a:pt x="159" y="0"/>
                    </a:lnTo>
                    <a:lnTo>
                      <a:pt x="149" y="0"/>
                    </a:lnTo>
                    <a:lnTo>
                      <a:pt x="139" y="0"/>
                    </a:lnTo>
                    <a:lnTo>
                      <a:pt x="134" y="1"/>
                    </a:lnTo>
                    <a:lnTo>
                      <a:pt x="130" y="1"/>
                    </a:lnTo>
                    <a:lnTo>
                      <a:pt x="109" y="28"/>
                    </a:lnTo>
                    <a:lnTo>
                      <a:pt x="89" y="54"/>
                    </a:lnTo>
                    <a:lnTo>
                      <a:pt x="71" y="81"/>
                    </a:lnTo>
                    <a:lnTo>
                      <a:pt x="53" y="108"/>
                    </a:lnTo>
                    <a:lnTo>
                      <a:pt x="38" y="136"/>
                    </a:lnTo>
                    <a:lnTo>
                      <a:pt x="23" y="163"/>
                    </a:lnTo>
                    <a:lnTo>
                      <a:pt x="11" y="192"/>
                    </a:lnTo>
                    <a:lnTo>
                      <a:pt x="0" y="220"/>
                    </a:lnTo>
                    <a:lnTo>
                      <a:pt x="317" y="2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1435" tIns="25718" rIns="51435" bIns="2571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/>
              </a:p>
            </p:txBody>
          </p:sp>
          <p:sp>
            <p:nvSpPr>
              <p:cNvPr id="156" name="Freeform 2611">
                <a:extLst>
                  <a:ext uri="{FF2B5EF4-FFF2-40B4-BE49-F238E27FC236}">
                    <a16:creationId xmlns:a16="http://schemas.microsoft.com/office/drawing/2014/main" id="{2349522D-33B6-41BE-A30E-C1CC27E73B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766550" y="5080000"/>
                <a:ext cx="100013" cy="66675"/>
              </a:xfrm>
              <a:custGeom>
                <a:avLst/>
                <a:gdLst>
                  <a:gd name="T0" fmla="*/ 316 w 316"/>
                  <a:gd name="T1" fmla="*/ 214 h 214"/>
                  <a:gd name="T2" fmla="*/ 303 w 316"/>
                  <a:gd name="T3" fmla="*/ 193 h 214"/>
                  <a:gd name="T4" fmla="*/ 289 w 316"/>
                  <a:gd name="T5" fmla="*/ 174 h 214"/>
                  <a:gd name="T6" fmla="*/ 273 w 316"/>
                  <a:gd name="T7" fmla="*/ 155 h 214"/>
                  <a:gd name="T8" fmla="*/ 257 w 316"/>
                  <a:gd name="T9" fmla="*/ 136 h 214"/>
                  <a:gd name="T10" fmla="*/ 240 w 316"/>
                  <a:gd name="T11" fmla="*/ 119 h 214"/>
                  <a:gd name="T12" fmla="*/ 222 w 316"/>
                  <a:gd name="T13" fmla="*/ 103 h 214"/>
                  <a:gd name="T14" fmla="*/ 203 w 316"/>
                  <a:gd name="T15" fmla="*/ 88 h 214"/>
                  <a:gd name="T16" fmla="*/ 183 w 316"/>
                  <a:gd name="T17" fmla="*/ 73 h 214"/>
                  <a:gd name="T18" fmla="*/ 162 w 316"/>
                  <a:gd name="T19" fmla="*/ 59 h 214"/>
                  <a:gd name="T20" fmla="*/ 141 w 316"/>
                  <a:gd name="T21" fmla="*/ 47 h 214"/>
                  <a:gd name="T22" fmla="*/ 119 w 316"/>
                  <a:gd name="T23" fmla="*/ 36 h 214"/>
                  <a:gd name="T24" fmla="*/ 96 w 316"/>
                  <a:gd name="T25" fmla="*/ 26 h 214"/>
                  <a:gd name="T26" fmla="*/ 73 w 316"/>
                  <a:gd name="T27" fmla="*/ 18 h 214"/>
                  <a:gd name="T28" fmla="*/ 49 w 316"/>
                  <a:gd name="T29" fmla="*/ 11 h 214"/>
                  <a:gd name="T30" fmla="*/ 24 w 316"/>
                  <a:gd name="T31" fmla="*/ 4 h 214"/>
                  <a:gd name="T32" fmla="*/ 0 w 316"/>
                  <a:gd name="T33" fmla="*/ 0 h 214"/>
                  <a:gd name="T34" fmla="*/ 19 w 316"/>
                  <a:gd name="T35" fmla="*/ 25 h 214"/>
                  <a:gd name="T36" fmla="*/ 38 w 316"/>
                  <a:gd name="T37" fmla="*/ 51 h 214"/>
                  <a:gd name="T38" fmla="*/ 54 w 316"/>
                  <a:gd name="T39" fmla="*/ 78 h 214"/>
                  <a:gd name="T40" fmla="*/ 70 w 316"/>
                  <a:gd name="T41" fmla="*/ 104 h 214"/>
                  <a:gd name="T42" fmla="*/ 84 w 316"/>
                  <a:gd name="T43" fmla="*/ 131 h 214"/>
                  <a:gd name="T44" fmla="*/ 96 w 316"/>
                  <a:gd name="T45" fmla="*/ 158 h 214"/>
                  <a:gd name="T46" fmla="*/ 108 w 316"/>
                  <a:gd name="T47" fmla="*/ 186 h 214"/>
                  <a:gd name="T48" fmla="*/ 118 w 316"/>
                  <a:gd name="T49" fmla="*/ 214 h 214"/>
                  <a:gd name="T50" fmla="*/ 316 w 316"/>
                  <a:gd name="T51" fmla="*/ 214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6" h="214">
                    <a:moveTo>
                      <a:pt x="316" y="214"/>
                    </a:moveTo>
                    <a:lnTo>
                      <a:pt x="303" y="193"/>
                    </a:lnTo>
                    <a:lnTo>
                      <a:pt x="289" y="174"/>
                    </a:lnTo>
                    <a:lnTo>
                      <a:pt x="273" y="155"/>
                    </a:lnTo>
                    <a:lnTo>
                      <a:pt x="257" y="136"/>
                    </a:lnTo>
                    <a:lnTo>
                      <a:pt x="240" y="119"/>
                    </a:lnTo>
                    <a:lnTo>
                      <a:pt x="222" y="103"/>
                    </a:lnTo>
                    <a:lnTo>
                      <a:pt x="203" y="88"/>
                    </a:lnTo>
                    <a:lnTo>
                      <a:pt x="183" y="73"/>
                    </a:lnTo>
                    <a:lnTo>
                      <a:pt x="162" y="59"/>
                    </a:lnTo>
                    <a:lnTo>
                      <a:pt x="141" y="47"/>
                    </a:lnTo>
                    <a:lnTo>
                      <a:pt x="119" y="36"/>
                    </a:lnTo>
                    <a:lnTo>
                      <a:pt x="96" y="26"/>
                    </a:lnTo>
                    <a:lnTo>
                      <a:pt x="73" y="18"/>
                    </a:lnTo>
                    <a:lnTo>
                      <a:pt x="49" y="11"/>
                    </a:lnTo>
                    <a:lnTo>
                      <a:pt x="24" y="4"/>
                    </a:lnTo>
                    <a:lnTo>
                      <a:pt x="0" y="0"/>
                    </a:lnTo>
                    <a:lnTo>
                      <a:pt x="19" y="25"/>
                    </a:lnTo>
                    <a:lnTo>
                      <a:pt x="38" y="51"/>
                    </a:lnTo>
                    <a:lnTo>
                      <a:pt x="54" y="78"/>
                    </a:lnTo>
                    <a:lnTo>
                      <a:pt x="70" y="104"/>
                    </a:lnTo>
                    <a:lnTo>
                      <a:pt x="84" y="131"/>
                    </a:lnTo>
                    <a:lnTo>
                      <a:pt x="96" y="158"/>
                    </a:lnTo>
                    <a:lnTo>
                      <a:pt x="108" y="186"/>
                    </a:lnTo>
                    <a:lnTo>
                      <a:pt x="118" y="214"/>
                    </a:lnTo>
                    <a:lnTo>
                      <a:pt x="316" y="2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1435" tIns="25718" rIns="51435" bIns="2571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/>
              </a:p>
            </p:txBody>
          </p:sp>
          <p:sp>
            <p:nvSpPr>
              <p:cNvPr id="157" name="Freeform 2612">
                <a:extLst>
                  <a:ext uri="{FF2B5EF4-FFF2-40B4-BE49-F238E27FC236}">
                    <a16:creationId xmlns:a16="http://schemas.microsoft.com/office/drawing/2014/main" id="{E22B6C94-1EF1-409F-8E17-7CE3A38118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807825" y="5156200"/>
                <a:ext cx="79375" cy="65088"/>
              </a:xfrm>
              <a:custGeom>
                <a:avLst/>
                <a:gdLst>
                  <a:gd name="T0" fmla="*/ 205 w 252"/>
                  <a:gd name="T1" fmla="*/ 0 h 203"/>
                  <a:gd name="T2" fmla="*/ 0 w 252"/>
                  <a:gd name="T3" fmla="*/ 0 h 203"/>
                  <a:gd name="T4" fmla="*/ 6 w 252"/>
                  <a:gd name="T5" fmla="*/ 24 h 203"/>
                  <a:gd name="T6" fmla="*/ 12 w 252"/>
                  <a:gd name="T7" fmla="*/ 50 h 203"/>
                  <a:gd name="T8" fmla="*/ 16 w 252"/>
                  <a:gd name="T9" fmla="*/ 75 h 203"/>
                  <a:gd name="T10" fmla="*/ 20 w 252"/>
                  <a:gd name="T11" fmla="*/ 100 h 203"/>
                  <a:gd name="T12" fmla="*/ 23 w 252"/>
                  <a:gd name="T13" fmla="*/ 126 h 203"/>
                  <a:gd name="T14" fmla="*/ 24 w 252"/>
                  <a:gd name="T15" fmla="*/ 151 h 203"/>
                  <a:gd name="T16" fmla="*/ 24 w 252"/>
                  <a:gd name="T17" fmla="*/ 176 h 203"/>
                  <a:gd name="T18" fmla="*/ 24 w 252"/>
                  <a:gd name="T19" fmla="*/ 203 h 203"/>
                  <a:gd name="T20" fmla="*/ 252 w 252"/>
                  <a:gd name="T21" fmla="*/ 203 h 203"/>
                  <a:gd name="T22" fmla="*/ 252 w 252"/>
                  <a:gd name="T23" fmla="*/ 200 h 203"/>
                  <a:gd name="T24" fmla="*/ 252 w 252"/>
                  <a:gd name="T25" fmla="*/ 199 h 203"/>
                  <a:gd name="T26" fmla="*/ 251 w 252"/>
                  <a:gd name="T27" fmla="*/ 173 h 203"/>
                  <a:gd name="T28" fmla="*/ 249 w 252"/>
                  <a:gd name="T29" fmla="*/ 147 h 203"/>
                  <a:gd name="T30" fmla="*/ 245 w 252"/>
                  <a:gd name="T31" fmla="*/ 120 h 203"/>
                  <a:gd name="T32" fmla="*/ 240 w 252"/>
                  <a:gd name="T33" fmla="*/ 95 h 203"/>
                  <a:gd name="T34" fmla="*/ 233 w 252"/>
                  <a:gd name="T35" fmla="*/ 71 h 203"/>
                  <a:gd name="T36" fmla="*/ 226 w 252"/>
                  <a:gd name="T37" fmla="*/ 46 h 203"/>
                  <a:gd name="T38" fmla="*/ 216 w 252"/>
                  <a:gd name="T39" fmla="*/ 23 h 203"/>
                  <a:gd name="T40" fmla="*/ 205 w 252"/>
                  <a:gd name="T41" fmla="*/ 0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2" h="203">
                    <a:moveTo>
                      <a:pt x="205" y="0"/>
                    </a:moveTo>
                    <a:lnTo>
                      <a:pt x="0" y="0"/>
                    </a:lnTo>
                    <a:lnTo>
                      <a:pt x="6" y="24"/>
                    </a:lnTo>
                    <a:lnTo>
                      <a:pt x="12" y="50"/>
                    </a:lnTo>
                    <a:lnTo>
                      <a:pt x="16" y="75"/>
                    </a:lnTo>
                    <a:lnTo>
                      <a:pt x="20" y="100"/>
                    </a:lnTo>
                    <a:lnTo>
                      <a:pt x="23" y="126"/>
                    </a:lnTo>
                    <a:lnTo>
                      <a:pt x="24" y="151"/>
                    </a:lnTo>
                    <a:lnTo>
                      <a:pt x="24" y="176"/>
                    </a:lnTo>
                    <a:lnTo>
                      <a:pt x="24" y="203"/>
                    </a:lnTo>
                    <a:lnTo>
                      <a:pt x="252" y="203"/>
                    </a:lnTo>
                    <a:lnTo>
                      <a:pt x="252" y="200"/>
                    </a:lnTo>
                    <a:lnTo>
                      <a:pt x="252" y="199"/>
                    </a:lnTo>
                    <a:lnTo>
                      <a:pt x="251" y="173"/>
                    </a:lnTo>
                    <a:lnTo>
                      <a:pt x="249" y="147"/>
                    </a:lnTo>
                    <a:lnTo>
                      <a:pt x="245" y="120"/>
                    </a:lnTo>
                    <a:lnTo>
                      <a:pt x="240" y="95"/>
                    </a:lnTo>
                    <a:lnTo>
                      <a:pt x="233" y="71"/>
                    </a:lnTo>
                    <a:lnTo>
                      <a:pt x="226" y="46"/>
                    </a:lnTo>
                    <a:lnTo>
                      <a:pt x="216" y="23"/>
                    </a:lnTo>
                    <a:lnTo>
                      <a:pt x="20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1435" tIns="25718" rIns="51435" bIns="2571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/>
              </a:p>
            </p:txBody>
          </p:sp>
          <p:sp>
            <p:nvSpPr>
              <p:cNvPr id="158" name="Freeform 2613">
                <a:extLst>
                  <a:ext uri="{FF2B5EF4-FFF2-40B4-BE49-F238E27FC236}">
                    <a16:creationId xmlns:a16="http://schemas.microsoft.com/office/drawing/2014/main" id="{4B9D0A33-4425-490E-B4B0-23C7FF2DA1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764963" y="5303838"/>
                <a:ext cx="95250" cy="58738"/>
              </a:xfrm>
              <a:custGeom>
                <a:avLst/>
                <a:gdLst>
                  <a:gd name="T0" fmla="*/ 0 w 300"/>
                  <a:gd name="T1" fmla="*/ 181 h 181"/>
                  <a:gd name="T2" fmla="*/ 23 w 300"/>
                  <a:gd name="T3" fmla="*/ 177 h 181"/>
                  <a:gd name="T4" fmla="*/ 45 w 300"/>
                  <a:gd name="T5" fmla="*/ 173 h 181"/>
                  <a:gd name="T6" fmla="*/ 67 w 300"/>
                  <a:gd name="T7" fmla="*/ 166 h 181"/>
                  <a:gd name="T8" fmla="*/ 89 w 300"/>
                  <a:gd name="T9" fmla="*/ 159 h 181"/>
                  <a:gd name="T10" fmla="*/ 110 w 300"/>
                  <a:gd name="T11" fmla="*/ 151 h 181"/>
                  <a:gd name="T12" fmla="*/ 131 w 300"/>
                  <a:gd name="T13" fmla="*/ 142 h 181"/>
                  <a:gd name="T14" fmla="*/ 150 w 300"/>
                  <a:gd name="T15" fmla="*/ 131 h 181"/>
                  <a:gd name="T16" fmla="*/ 169 w 300"/>
                  <a:gd name="T17" fmla="*/ 120 h 181"/>
                  <a:gd name="T18" fmla="*/ 188 w 300"/>
                  <a:gd name="T19" fmla="*/ 108 h 181"/>
                  <a:gd name="T20" fmla="*/ 207 w 300"/>
                  <a:gd name="T21" fmla="*/ 94 h 181"/>
                  <a:gd name="T22" fmla="*/ 224 w 300"/>
                  <a:gd name="T23" fmla="*/ 81 h 181"/>
                  <a:gd name="T24" fmla="*/ 241 w 300"/>
                  <a:gd name="T25" fmla="*/ 66 h 181"/>
                  <a:gd name="T26" fmla="*/ 256 w 300"/>
                  <a:gd name="T27" fmla="*/ 50 h 181"/>
                  <a:gd name="T28" fmla="*/ 271 w 300"/>
                  <a:gd name="T29" fmla="*/ 34 h 181"/>
                  <a:gd name="T30" fmla="*/ 286 w 300"/>
                  <a:gd name="T31" fmla="*/ 17 h 181"/>
                  <a:gd name="T32" fmla="*/ 300 w 300"/>
                  <a:gd name="T33" fmla="*/ 0 h 181"/>
                  <a:gd name="T34" fmla="*/ 99 w 300"/>
                  <a:gd name="T35" fmla="*/ 0 h 181"/>
                  <a:gd name="T36" fmla="*/ 89 w 300"/>
                  <a:gd name="T37" fmla="*/ 23 h 181"/>
                  <a:gd name="T38" fmla="*/ 79 w 300"/>
                  <a:gd name="T39" fmla="*/ 45 h 181"/>
                  <a:gd name="T40" fmla="*/ 68 w 300"/>
                  <a:gd name="T41" fmla="*/ 68 h 181"/>
                  <a:gd name="T42" fmla="*/ 56 w 300"/>
                  <a:gd name="T43" fmla="*/ 91 h 181"/>
                  <a:gd name="T44" fmla="*/ 42 w 300"/>
                  <a:gd name="T45" fmla="*/ 113 h 181"/>
                  <a:gd name="T46" fmla="*/ 29 w 300"/>
                  <a:gd name="T47" fmla="*/ 136 h 181"/>
                  <a:gd name="T48" fmla="*/ 15 w 300"/>
                  <a:gd name="T49" fmla="*/ 159 h 181"/>
                  <a:gd name="T50" fmla="*/ 0 w 300"/>
                  <a:gd name="T51" fmla="*/ 181 h 181"/>
                  <a:gd name="T52" fmla="*/ 0 w 300"/>
                  <a:gd name="T53" fmla="*/ 181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00" h="181">
                    <a:moveTo>
                      <a:pt x="0" y="181"/>
                    </a:moveTo>
                    <a:lnTo>
                      <a:pt x="23" y="177"/>
                    </a:lnTo>
                    <a:lnTo>
                      <a:pt x="45" y="173"/>
                    </a:lnTo>
                    <a:lnTo>
                      <a:pt x="67" y="166"/>
                    </a:lnTo>
                    <a:lnTo>
                      <a:pt x="89" y="159"/>
                    </a:lnTo>
                    <a:lnTo>
                      <a:pt x="110" y="151"/>
                    </a:lnTo>
                    <a:lnTo>
                      <a:pt x="131" y="142"/>
                    </a:lnTo>
                    <a:lnTo>
                      <a:pt x="150" y="131"/>
                    </a:lnTo>
                    <a:lnTo>
                      <a:pt x="169" y="120"/>
                    </a:lnTo>
                    <a:lnTo>
                      <a:pt x="188" y="108"/>
                    </a:lnTo>
                    <a:lnTo>
                      <a:pt x="207" y="94"/>
                    </a:lnTo>
                    <a:lnTo>
                      <a:pt x="224" y="81"/>
                    </a:lnTo>
                    <a:lnTo>
                      <a:pt x="241" y="66"/>
                    </a:lnTo>
                    <a:lnTo>
                      <a:pt x="256" y="50"/>
                    </a:lnTo>
                    <a:lnTo>
                      <a:pt x="271" y="34"/>
                    </a:lnTo>
                    <a:lnTo>
                      <a:pt x="286" y="17"/>
                    </a:lnTo>
                    <a:lnTo>
                      <a:pt x="300" y="0"/>
                    </a:lnTo>
                    <a:lnTo>
                      <a:pt x="99" y="0"/>
                    </a:lnTo>
                    <a:lnTo>
                      <a:pt x="89" y="23"/>
                    </a:lnTo>
                    <a:lnTo>
                      <a:pt x="79" y="45"/>
                    </a:lnTo>
                    <a:lnTo>
                      <a:pt x="68" y="68"/>
                    </a:lnTo>
                    <a:lnTo>
                      <a:pt x="56" y="91"/>
                    </a:lnTo>
                    <a:lnTo>
                      <a:pt x="42" y="113"/>
                    </a:lnTo>
                    <a:lnTo>
                      <a:pt x="29" y="136"/>
                    </a:lnTo>
                    <a:lnTo>
                      <a:pt x="15" y="159"/>
                    </a:lnTo>
                    <a:lnTo>
                      <a:pt x="0" y="181"/>
                    </a:lnTo>
                    <a:lnTo>
                      <a:pt x="0" y="18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1435" tIns="25718" rIns="51435" bIns="2571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/>
              </a:p>
            </p:txBody>
          </p:sp>
          <p:sp>
            <p:nvSpPr>
              <p:cNvPr id="159" name="Freeform 2614">
                <a:extLst>
                  <a:ext uri="{FF2B5EF4-FFF2-40B4-BE49-F238E27FC236}">
                    <a16:creationId xmlns:a16="http://schemas.microsoft.com/office/drawing/2014/main" id="{68E4704E-7591-48C8-9BC6-F6BCD45520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28438" y="5303838"/>
                <a:ext cx="95250" cy="58738"/>
              </a:xfrm>
              <a:custGeom>
                <a:avLst/>
                <a:gdLst>
                  <a:gd name="T0" fmla="*/ 0 w 299"/>
                  <a:gd name="T1" fmla="*/ 0 h 181"/>
                  <a:gd name="T2" fmla="*/ 14 w 299"/>
                  <a:gd name="T3" fmla="*/ 17 h 181"/>
                  <a:gd name="T4" fmla="*/ 28 w 299"/>
                  <a:gd name="T5" fmla="*/ 34 h 181"/>
                  <a:gd name="T6" fmla="*/ 43 w 299"/>
                  <a:gd name="T7" fmla="*/ 50 h 181"/>
                  <a:gd name="T8" fmla="*/ 59 w 299"/>
                  <a:gd name="T9" fmla="*/ 66 h 181"/>
                  <a:gd name="T10" fmla="*/ 76 w 299"/>
                  <a:gd name="T11" fmla="*/ 81 h 181"/>
                  <a:gd name="T12" fmla="*/ 93 w 299"/>
                  <a:gd name="T13" fmla="*/ 95 h 181"/>
                  <a:gd name="T14" fmla="*/ 112 w 299"/>
                  <a:gd name="T15" fmla="*/ 108 h 181"/>
                  <a:gd name="T16" fmla="*/ 130 w 299"/>
                  <a:gd name="T17" fmla="*/ 121 h 181"/>
                  <a:gd name="T18" fmla="*/ 149 w 299"/>
                  <a:gd name="T19" fmla="*/ 132 h 181"/>
                  <a:gd name="T20" fmla="*/ 169 w 299"/>
                  <a:gd name="T21" fmla="*/ 142 h 181"/>
                  <a:gd name="T22" fmla="*/ 190 w 299"/>
                  <a:gd name="T23" fmla="*/ 152 h 181"/>
                  <a:gd name="T24" fmla="*/ 211 w 299"/>
                  <a:gd name="T25" fmla="*/ 159 h 181"/>
                  <a:gd name="T26" fmla="*/ 232 w 299"/>
                  <a:gd name="T27" fmla="*/ 167 h 181"/>
                  <a:gd name="T28" fmla="*/ 254 w 299"/>
                  <a:gd name="T29" fmla="*/ 173 h 181"/>
                  <a:gd name="T30" fmla="*/ 276 w 299"/>
                  <a:gd name="T31" fmla="*/ 178 h 181"/>
                  <a:gd name="T32" fmla="*/ 299 w 299"/>
                  <a:gd name="T33" fmla="*/ 181 h 181"/>
                  <a:gd name="T34" fmla="*/ 283 w 299"/>
                  <a:gd name="T35" fmla="*/ 159 h 181"/>
                  <a:gd name="T36" fmla="*/ 269 w 299"/>
                  <a:gd name="T37" fmla="*/ 136 h 181"/>
                  <a:gd name="T38" fmla="*/ 256 w 299"/>
                  <a:gd name="T39" fmla="*/ 113 h 181"/>
                  <a:gd name="T40" fmla="*/ 243 w 299"/>
                  <a:gd name="T41" fmla="*/ 91 h 181"/>
                  <a:gd name="T42" fmla="*/ 231 w 299"/>
                  <a:gd name="T43" fmla="*/ 68 h 181"/>
                  <a:gd name="T44" fmla="*/ 220 w 299"/>
                  <a:gd name="T45" fmla="*/ 45 h 181"/>
                  <a:gd name="T46" fmla="*/ 210 w 299"/>
                  <a:gd name="T47" fmla="*/ 23 h 181"/>
                  <a:gd name="T48" fmla="*/ 200 w 299"/>
                  <a:gd name="T49" fmla="*/ 0 h 181"/>
                  <a:gd name="T50" fmla="*/ 0 w 299"/>
                  <a:gd name="T51" fmla="*/ 0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99" h="181">
                    <a:moveTo>
                      <a:pt x="0" y="0"/>
                    </a:moveTo>
                    <a:lnTo>
                      <a:pt x="14" y="17"/>
                    </a:lnTo>
                    <a:lnTo>
                      <a:pt x="28" y="34"/>
                    </a:lnTo>
                    <a:lnTo>
                      <a:pt x="43" y="50"/>
                    </a:lnTo>
                    <a:lnTo>
                      <a:pt x="59" y="66"/>
                    </a:lnTo>
                    <a:lnTo>
                      <a:pt x="76" y="81"/>
                    </a:lnTo>
                    <a:lnTo>
                      <a:pt x="93" y="95"/>
                    </a:lnTo>
                    <a:lnTo>
                      <a:pt x="112" y="108"/>
                    </a:lnTo>
                    <a:lnTo>
                      <a:pt x="130" y="121"/>
                    </a:lnTo>
                    <a:lnTo>
                      <a:pt x="149" y="132"/>
                    </a:lnTo>
                    <a:lnTo>
                      <a:pt x="169" y="142"/>
                    </a:lnTo>
                    <a:lnTo>
                      <a:pt x="190" y="152"/>
                    </a:lnTo>
                    <a:lnTo>
                      <a:pt x="211" y="159"/>
                    </a:lnTo>
                    <a:lnTo>
                      <a:pt x="232" y="167"/>
                    </a:lnTo>
                    <a:lnTo>
                      <a:pt x="254" y="173"/>
                    </a:lnTo>
                    <a:lnTo>
                      <a:pt x="276" y="178"/>
                    </a:lnTo>
                    <a:lnTo>
                      <a:pt x="299" y="181"/>
                    </a:lnTo>
                    <a:lnTo>
                      <a:pt x="283" y="159"/>
                    </a:lnTo>
                    <a:lnTo>
                      <a:pt x="269" y="136"/>
                    </a:lnTo>
                    <a:lnTo>
                      <a:pt x="256" y="113"/>
                    </a:lnTo>
                    <a:lnTo>
                      <a:pt x="243" y="91"/>
                    </a:lnTo>
                    <a:lnTo>
                      <a:pt x="231" y="68"/>
                    </a:lnTo>
                    <a:lnTo>
                      <a:pt x="220" y="45"/>
                    </a:lnTo>
                    <a:lnTo>
                      <a:pt x="210" y="23"/>
                    </a:lnTo>
                    <a:lnTo>
                      <a:pt x="20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1435" tIns="25718" rIns="51435" bIns="2571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/>
              </a:p>
            </p:txBody>
          </p:sp>
          <p:sp>
            <p:nvSpPr>
              <p:cNvPr id="160" name="Freeform 2615">
                <a:extLst>
                  <a:ext uri="{FF2B5EF4-FFF2-40B4-BE49-F238E27FC236}">
                    <a16:creationId xmlns:a16="http://schemas.microsoft.com/office/drawing/2014/main" id="{169F9711-978C-4E7D-8218-02EE36C3F5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01450" y="5230813"/>
                <a:ext cx="87313" cy="63500"/>
              </a:xfrm>
              <a:custGeom>
                <a:avLst/>
                <a:gdLst>
                  <a:gd name="T0" fmla="*/ 229 w 275"/>
                  <a:gd name="T1" fmla="*/ 0 h 202"/>
                  <a:gd name="T2" fmla="*/ 0 w 275"/>
                  <a:gd name="T3" fmla="*/ 0 h 202"/>
                  <a:gd name="T4" fmla="*/ 4 w 275"/>
                  <a:gd name="T5" fmla="*/ 28 h 202"/>
                  <a:gd name="T6" fmla="*/ 9 w 275"/>
                  <a:gd name="T7" fmla="*/ 54 h 202"/>
                  <a:gd name="T8" fmla="*/ 15 w 275"/>
                  <a:gd name="T9" fmla="*/ 81 h 202"/>
                  <a:gd name="T10" fmla="*/ 22 w 275"/>
                  <a:gd name="T11" fmla="*/ 106 h 202"/>
                  <a:gd name="T12" fmla="*/ 32 w 275"/>
                  <a:gd name="T13" fmla="*/ 131 h 202"/>
                  <a:gd name="T14" fmla="*/ 42 w 275"/>
                  <a:gd name="T15" fmla="*/ 156 h 202"/>
                  <a:gd name="T16" fmla="*/ 54 w 275"/>
                  <a:gd name="T17" fmla="*/ 180 h 202"/>
                  <a:gd name="T18" fmla="*/ 68 w 275"/>
                  <a:gd name="T19" fmla="*/ 202 h 202"/>
                  <a:gd name="T20" fmla="*/ 275 w 275"/>
                  <a:gd name="T21" fmla="*/ 202 h 202"/>
                  <a:gd name="T22" fmla="*/ 266 w 275"/>
                  <a:gd name="T23" fmla="*/ 177 h 202"/>
                  <a:gd name="T24" fmla="*/ 258 w 275"/>
                  <a:gd name="T25" fmla="*/ 151 h 202"/>
                  <a:gd name="T26" fmla="*/ 250 w 275"/>
                  <a:gd name="T27" fmla="*/ 126 h 202"/>
                  <a:gd name="T28" fmla="*/ 245 w 275"/>
                  <a:gd name="T29" fmla="*/ 101 h 202"/>
                  <a:gd name="T30" fmla="*/ 239 w 275"/>
                  <a:gd name="T31" fmla="*/ 75 h 202"/>
                  <a:gd name="T32" fmla="*/ 235 w 275"/>
                  <a:gd name="T33" fmla="*/ 51 h 202"/>
                  <a:gd name="T34" fmla="*/ 232 w 275"/>
                  <a:gd name="T35" fmla="*/ 26 h 202"/>
                  <a:gd name="T36" fmla="*/ 229 w 275"/>
                  <a:gd name="T37" fmla="*/ 0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75" h="202">
                    <a:moveTo>
                      <a:pt x="229" y="0"/>
                    </a:moveTo>
                    <a:lnTo>
                      <a:pt x="0" y="0"/>
                    </a:lnTo>
                    <a:lnTo>
                      <a:pt x="4" y="28"/>
                    </a:lnTo>
                    <a:lnTo>
                      <a:pt x="9" y="54"/>
                    </a:lnTo>
                    <a:lnTo>
                      <a:pt x="15" y="81"/>
                    </a:lnTo>
                    <a:lnTo>
                      <a:pt x="22" y="106"/>
                    </a:lnTo>
                    <a:lnTo>
                      <a:pt x="32" y="131"/>
                    </a:lnTo>
                    <a:lnTo>
                      <a:pt x="42" y="156"/>
                    </a:lnTo>
                    <a:lnTo>
                      <a:pt x="54" y="180"/>
                    </a:lnTo>
                    <a:lnTo>
                      <a:pt x="68" y="202"/>
                    </a:lnTo>
                    <a:lnTo>
                      <a:pt x="275" y="202"/>
                    </a:lnTo>
                    <a:lnTo>
                      <a:pt x="266" y="177"/>
                    </a:lnTo>
                    <a:lnTo>
                      <a:pt x="258" y="151"/>
                    </a:lnTo>
                    <a:lnTo>
                      <a:pt x="250" y="126"/>
                    </a:lnTo>
                    <a:lnTo>
                      <a:pt x="245" y="101"/>
                    </a:lnTo>
                    <a:lnTo>
                      <a:pt x="239" y="75"/>
                    </a:lnTo>
                    <a:lnTo>
                      <a:pt x="235" y="51"/>
                    </a:lnTo>
                    <a:lnTo>
                      <a:pt x="232" y="26"/>
                    </a:lnTo>
                    <a:lnTo>
                      <a:pt x="22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1435" tIns="25718" rIns="51435" bIns="2571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/>
              </a:p>
            </p:txBody>
          </p:sp>
          <p:sp>
            <p:nvSpPr>
              <p:cNvPr id="161" name="Freeform 2616">
                <a:extLst>
                  <a:ext uri="{FF2B5EF4-FFF2-40B4-BE49-F238E27FC236}">
                    <a16:creationId xmlns:a16="http://schemas.microsoft.com/office/drawing/2014/main" id="{C834D0CA-8DB5-4A27-917E-89875ECBD6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01450" y="5156200"/>
                <a:ext cx="79375" cy="65088"/>
              </a:xfrm>
              <a:custGeom>
                <a:avLst/>
                <a:gdLst>
                  <a:gd name="T0" fmla="*/ 252 w 252"/>
                  <a:gd name="T1" fmla="*/ 0 h 203"/>
                  <a:gd name="T2" fmla="*/ 42 w 252"/>
                  <a:gd name="T3" fmla="*/ 0 h 203"/>
                  <a:gd name="T4" fmla="*/ 33 w 252"/>
                  <a:gd name="T5" fmla="*/ 22 h 203"/>
                  <a:gd name="T6" fmla="*/ 25 w 252"/>
                  <a:gd name="T7" fmla="*/ 44 h 203"/>
                  <a:gd name="T8" fmla="*/ 17 w 252"/>
                  <a:gd name="T9" fmla="*/ 67 h 203"/>
                  <a:gd name="T10" fmla="*/ 11 w 252"/>
                  <a:gd name="T11" fmla="*/ 91 h 203"/>
                  <a:gd name="T12" fmla="*/ 6 w 252"/>
                  <a:gd name="T13" fmla="*/ 116 h 203"/>
                  <a:gd name="T14" fmla="*/ 3 w 252"/>
                  <a:gd name="T15" fmla="*/ 140 h 203"/>
                  <a:gd name="T16" fmla="*/ 0 w 252"/>
                  <a:gd name="T17" fmla="*/ 165 h 203"/>
                  <a:gd name="T18" fmla="*/ 0 w 252"/>
                  <a:gd name="T19" fmla="*/ 192 h 203"/>
                  <a:gd name="T20" fmla="*/ 0 w 252"/>
                  <a:gd name="T21" fmla="*/ 197 h 203"/>
                  <a:gd name="T22" fmla="*/ 0 w 252"/>
                  <a:gd name="T23" fmla="*/ 203 h 203"/>
                  <a:gd name="T24" fmla="*/ 228 w 252"/>
                  <a:gd name="T25" fmla="*/ 203 h 203"/>
                  <a:gd name="T26" fmla="*/ 228 w 252"/>
                  <a:gd name="T27" fmla="*/ 176 h 203"/>
                  <a:gd name="T28" fmla="*/ 228 w 252"/>
                  <a:gd name="T29" fmla="*/ 151 h 203"/>
                  <a:gd name="T30" fmla="*/ 229 w 252"/>
                  <a:gd name="T31" fmla="*/ 126 h 203"/>
                  <a:gd name="T32" fmla="*/ 233 w 252"/>
                  <a:gd name="T33" fmla="*/ 100 h 203"/>
                  <a:gd name="T34" fmla="*/ 236 w 252"/>
                  <a:gd name="T35" fmla="*/ 75 h 203"/>
                  <a:gd name="T36" fmla="*/ 240 w 252"/>
                  <a:gd name="T37" fmla="*/ 50 h 203"/>
                  <a:gd name="T38" fmla="*/ 246 w 252"/>
                  <a:gd name="T39" fmla="*/ 24 h 203"/>
                  <a:gd name="T40" fmla="*/ 252 w 252"/>
                  <a:gd name="T41" fmla="*/ 0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2" h="203">
                    <a:moveTo>
                      <a:pt x="252" y="0"/>
                    </a:moveTo>
                    <a:lnTo>
                      <a:pt x="42" y="0"/>
                    </a:lnTo>
                    <a:lnTo>
                      <a:pt x="33" y="22"/>
                    </a:lnTo>
                    <a:lnTo>
                      <a:pt x="25" y="44"/>
                    </a:lnTo>
                    <a:lnTo>
                      <a:pt x="17" y="67"/>
                    </a:lnTo>
                    <a:lnTo>
                      <a:pt x="11" y="91"/>
                    </a:lnTo>
                    <a:lnTo>
                      <a:pt x="6" y="116"/>
                    </a:lnTo>
                    <a:lnTo>
                      <a:pt x="3" y="140"/>
                    </a:lnTo>
                    <a:lnTo>
                      <a:pt x="0" y="165"/>
                    </a:lnTo>
                    <a:lnTo>
                      <a:pt x="0" y="192"/>
                    </a:lnTo>
                    <a:lnTo>
                      <a:pt x="0" y="197"/>
                    </a:lnTo>
                    <a:lnTo>
                      <a:pt x="0" y="203"/>
                    </a:lnTo>
                    <a:lnTo>
                      <a:pt x="228" y="203"/>
                    </a:lnTo>
                    <a:lnTo>
                      <a:pt x="228" y="176"/>
                    </a:lnTo>
                    <a:lnTo>
                      <a:pt x="228" y="151"/>
                    </a:lnTo>
                    <a:lnTo>
                      <a:pt x="229" y="126"/>
                    </a:lnTo>
                    <a:lnTo>
                      <a:pt x="233" y="100"/>
                    </a:lnTo>
                    <a:lnTo>
                      <a:pt x="236" y="75"/>
                    </a:lnTo>
                    <a:lnTo>
                      <a:pt x="240" y="50"/>
                    </a:lnTo>
                    <a:lnTo>
                      <a:pt x="246" y="24"/>
                    </a:lnTo>
                    <a:lnTo>
                      <a:pt x="25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1435" tIns="25718" rIns="51435" bIns="2571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/>
              </a:p>
            </p:txBody>
          </p:sp>
          <p:sp>
            <p:nvSpPr>
              <p:cNvPr id="162" name="Freeform 2617">
                <a:extLst>
                  <a:ext uri="{FF2B5EF4-FFF2-40B4-BE49-F238E27FC236}">
                    <a16:creationId xmlns:a16="http://schemas.microsoft.com/office/drawing/2014/main" id="{C3E11A7B-820E-4D3E-A1D4-02147B1D14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20500" y="5080000"/>
                <a:ext cx="101600" cy="66675"/>
              </a:xfrm>
              <a:custGeom>
                <a:avLst/>
                <a:gdLst>
                  <a:gd name="T0" fmla="*/ 321 w 321"/>
                  <a:gd name="T1" fmla="*/ 0 h 214"/>
                  <a:gd name="T2" fmla="*/ 295 w 321"/>
                  <a:gd name="T3" fmla="*/ 4 h 214"/>
                  <a:gd name="T4" fmla="*/ 269 w 321"/>
                  <a:gd name="T5" fmla="*/ 10 h 214"/>
                  <a:gd name="T6" fmla="*/ 245 w 321"/>
                  <a:gd name="T7" fmla="*/ 17 h 214"/>
                  <a:gd name="T8" fmla="*/ 221 w 321"/>
                  <a:gd name="T9" fmla="*/ 26 h 214"/>
                  <a:gd name="T10" fmla="*/ 198 w 321"/>
                  <a:gd name="T11" fmla="*/ 36 h 214"/>
                  <a:gd name="T12" fmla="*/ 175 w 321"/>
                  <a:gd name="T13" fmla="*/ 46 h 214"/>
                  <a:gd name="T14" fmla="*/ 153 w 321"/>
                  <a:gd name="T15" fmla="*/ 59 h 214"/>
                  <a:gd name="T16" fmla="*/ 132 w 321"/>
                  <a:gd name="T17" fmla="*/ 72 h 214"/>
                  <a:gd name="T18" fmla="*/ 112 w 321"/>
                  <a:gd name="T19" fmla="*/ 87 h 214"/>
                  <a:gd name="T20" fmla="*/ 93 w 321"/>
                  <a:gd name="T21" fmla="*/ 102 h 214"/>
                  <a:gd name="T22" fmla="*/ 75 w 321"/>
                  <a:gd name="T23" fmla="*/ 119 h 214"/>
                  <a:gd name="T24" fmla="*/ 58 w 321"/>
                  <a:gd name="T25" fmla="*/ 135 h 214"/>
                  <a:gd name="T26" fmla="*/ 42 w 321"/>
                  <a:gd name="T27" fmla="*/ 154 h 214"/>
                  <a:gd name="T28" fmla="*/ 26 w 321"/>
                  <a:gd name="T29" fmla="*/ 174 h 214"/>
                  <a:gd name="T30" fmla="*/ 12 w 321"/>
                  <a:gd name="T31" fmla="*/ 193 h 214"/>
                  <a:gd name="T32" fmla="*/ 0 w 321"/>
                  <a:gd name="T33" fmla="*/ 214 h 214"/>
                  <a:gd name="T34" fmla="*/ 202 w 321"/>
                  <a:gd name="T35" fmla="*/ 214 h 214"/>
                  <a:gd name="T36" fmla="*/ 213 w 321"/>
                  <a:gd name="T37" fmla="*/ 186 h 214"/>
                  <a:gd name="T38" fmla="*/ 224 w 321"/>
                  <a:gd name="T39" fmla="*/ 158 h 214"/>
                  <a:gd name="T40" fmla="*/ 238 w 321"/>
                  <a:gd name="T41" fmla="*/ 131 h 214"/>
                  <a:gd name="T42" fmla="*/ 251 w 321"/>
                  <a:gd name="T43" fmla="*/ 104 h 214"/>
                  <a:gd name="T44" fmla="*/ 266 w 321"/>
                  <a:gd name="T45" fmla="*/ 77 h 214"/>
                  <a:gd name="T46" fmla="*/ 284 w 321"/>
                  <a:gd name="T47" fmla="*/ 50 h 214"/>
                  <a:gd name="T48" fmla="*/ 301 w 321"/>
                  <a:gd name="T49" fmla="*/ 25 h 214"/>
                  <a:gd name="T50" fmla="*/ 321 w 321"/>
                  <a:gd name="T51" fmla="*/ 0 h 214"/>
                  <a:gd name="T52" fmla="*/ 321 w 321"/>
                  <a:gd name="T53" fmla="*/ 0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21" h="214">
                    <a:moveTo>
                      <a:pt x="321" y="0"/>
                    </a:moveTo>
                    <a:lnTo>
                      <a:pt x="295" y="4"/>
                    </a:lnTo>
                    <a:lnTo>
                      <a:pt x="269" y="10"/>
                    </a:lnTo>
                    <a:lnTo>
                      <a:pt x="245" y="17"/>
                    </a:lnTo>
                    <a:lnTo>
                      <a:pt x="221" y="26"/>
                    </a:lnTo>
                    <a:lnTo>
                      <a:pt x="198" y="36"/>
                    </a:lnTo>
                    <a:lnTo>
                      <a:pt x="175" y="46"/>
                    </a:lnTo>
                    <a:lnTo>
                      <a:pt x="153" y="59"/>
                    </a:lnTo>
                    <a:lnTo>
                      <a:pt x="132" y="72"/>
                    </a:lnTo>
                    <a:lnTo>
                      <a:pt x="112" y="87"/>
                    </a:lnTo>
                    <a:lnTo>
                      <a:pt x="93" y="102"/>
                    </a:lnTo>
                    <a:lnTo>
                      <a:pt x="75" y="119"/>
                    </a:lnTo>
                    <a:lnTo>
                      <a:pt x="58" y="135"/>
                    </a:lnTo>
                    <a:lnTo>
                      <a:pt x="42" y="154"/>
                    </a:lnTo>
                    <a:lnTo>
                      <a:pt x="26" y="174"/>
                    </a:lnTo>
                    <a:lnTo>
                      <a:pt x="12" y="193"/>
                    </a:lnTo>
                    <a:lnTo>
                      <a:pt x="0" y="214"/>
                    </a:lnTo>
                    <a:lnTo>
                      <a:pt x="202" y="214"/>
                    </a:lnTo>
                    <a:lnTo>
                      <a:pt x="213" y="186"/>
                    </a:lnTo>
                    <a:lnTo>
                      <a:pt x="224" y="158"/>
                    </a:lnTo>
                    <a:lnTo>
                      <a:pt x="238" y="131"/>
                    </a:lnTo>
                    <a:lnTo>
                      <a:pt x="251" y="104"/>
                    </a:lnTo>
                    <a:lnTo>
                      <a:pt x="266" y="77"/>
                    </a:lnTo>
                    <a:lnTo>
                      <a:pt x="284" y="50"/>
                    </a:lnTo>
                    <a:lnTo>
                      <a:pt x="301" y="25"/>
                    </a:lnTo>
                    <a:lnTo>
                      <a:pt x="321" y="0"/>
                    </a:lnTo>
                    <a:lnTo>
                      <a:pt x="32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1435" tIns="25718" rIns="51435" bIns="2571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/>
              </a:p>
            </p:txBody>
          </p:sp>
        </p:grpSp>
      </p:grpSp>
      <p:sp>
        <p:nvSpPr>
          <p:cNvPr id="165" name="Freeform 71">
            <a:extLst>
              <a:ext uri="{FF2B5EF4-FFF2-40B4-BE49-F238E27FC236}">
                <a16:creationId xmlns:a16="http://schemas.microsoft.com/office/drawing/2014/main" id="{A61B3C1B-9384-4E9B-BBE9-8422E4BCA177}"/>
              </a:ext>
            </a:extLst>
          </p:cNvPr>
          <p:cNvSpPr>
            <a:spLocks/>
          </p:cNvSpPr>
          <p:nvPr/>
        </p:nvSpPr>
        <p:spPr bwMode="auto">
          <a:xfrm>
            <a:off x="878924" y="5956770"/>
            <a:ext cx="541263" cy="544034"/>
          </a:xfrm>
          <a:custGeom>
            <a:avLst/>
            <a:gdLst>
              <a:gd name="T0" fmla="*/ 62 w 510"/>
              <a:gd name="T1" fmla="*/ 367 h 510"/>
              <a:gd name="T2" fmla="*/ 144 w 510"/>
              <a:gd name="T3" fmla="*/ 62 h 510"/>
              <a:gd name="T4" fmla="*/ 449 w 510"/>
              <a:gd name="T5" fmla="*/ 144 h 510"/>
              <a:gd name="T6" fmla="*/ 367 w 510"/>
              <a:gd name="T7" fmla="*/ 449 h 510"/>
              <a:gd name="T8" fmla="*/ 62 w 510"/>
              <a:gd name="T9" fmla="*/ 367 h 5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10" h="510">
                <a:moveTo>
                  <a:pt x="62" y="367"/>
                </a:moveTo>
                <a:cubicBezTo>
                  <a:pt x="0" y="260"/>
                  <a:pt x="37" y="124"/>
                  <a:pt x="144" y="62"/>
                </a:cubicBezTo>
                <a:cubicBezTo>
                  <a:pt x="250" y="0"/>
                  <a:pt x="387" y="37"/>
                  <a:pt x="449" y="144"/>
                </a:cubicBezTo>
                <a:cubicBezTo>
                  <a:pt x="510" y="251"/>
                  <a:pt x="474" y="387"/>
                  <a:pt x="367" y="449"/>
                </a:cubicBezTo>
                <a:cubicBezTo>
                  <a:pt x="260" y="510"/>
                  <a:pt x="124" y="474"/>
                  <a:pt x="62" y="367"/>
                </a:cubicBezTo>
                <a:close/>
              </a:path>
            </a:pathLst>
          </a:custGeom>
          <a:noFill/>
          <a:ln w="19050">
            <a:solidFill>
              <a:schemeClr val="bg1"/>
            </a:solidFill>
          </a:ln>
          <a:effectLst/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619"/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AA8835FC-95E0-4CF8-953F-BC37612077FB}"/>
              </a:ext>
            </a:extLst>
          </p:cNvPr>
          <p:cNvSpPr txBox="1"/>
          <p:nvPr/>
        </p:nvSpPr>
        <p:spPr>
          <a:xfrm>
            <a:off x="1500168" y="7093883"/>
            <a:ext cx="1128664" cy="46166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ru-RU" sz="1000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5</a:t>
            </a:r>
            <a:r>
              <a:rPr lang="en-US" sz="563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kk-KZ" sz="700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илс</a:t>
            </a:r>
          </a:p>
          <a:p>
            <a:pPr algn="ctr"/>
            <a:r>
              <a:rPr lang="kk-KZ" sz="1000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0</a:t>
            </a:r>
            <a:r>
              <a:rPr lang="kk-KZ" sz="563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kk-KZ" sz="700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рияланымдар</a:t>
            </a:r>
          </a:p>
          <a:p>
            <a:pPr algn="ctr"/>
            <a:r>
              <a:rPr lang="kk-KZ" sz="1000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91 </a:t>
            </a:r>
            <a:r>
              <a:rPr lang="kk-KZ" sz="700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орис</a:t>
            </a:r>
            <a:endParaRPr lang="kk-KZ" sz="560" b="1" dirty="0">
              <a:solidFill>
                <a:srgbClr val="0066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2" name="Рисунок 171">
            <a:extLst>
              <a:ext uri="{FF2B5EF4-FFF2-40B4-BE49-F238E27FC236}">
                <a16:creationId xmlns:a16="http://schemas.microsoft.com/office/drawing/2014/main" id="{81193481-40E5-4680-B360-FEB6EFFA4E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94146" y="6213104"/>
            <a:ext cx="734685" cy="763987"/>
          </a:xfrm>
          <a:prstGeom prst="rect">
            <a:avLst/>
          </a:prstGeom>
        </p:spPr>
      </p:pic>
      <p:sp>
        <p:nvSpPr>
          <p:cNvPr id="175" name="TextBox 174">
            <a:extLst>
              <a:ext uri="{FF2B5EF4-FFF2-40B4-BE49-F238E27FC236}">
                <a16:creationId xmlns:a16="http://schemas.microsoft.com/office/drawing/2014/main" id="{04BC2C29-4829-457F-9CB5-9667E91291BD}"/>
              </a:ext>
            </a:extLst>
          </p:cNvPr>
          <p:cNvSpPr txBox="1"/>
          <p:nvPr/>
        </p:nvSpPr>
        <p:spPr>
          <a:xfrm>
            <a:off x="3060752" y="7622587"/>
            <a:ext cx="1165286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kk-KZ" sz="1000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91 </a:t>
            </a:r>
            <a:r>
              <a:rPr lang="kk-KZ" sz="900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орис</a:t>
            </a:r>
          </a:p>
          <a:p>
            <a:pPr algn="ctr"/>
            <a:r>
              <a:rPr lang="kk-KZ" sz="1000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5</a:t>
            </a:r>
            <a:r>
              <a:rPr lang="kk-KZ" sz="900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kk-KZ" sz="700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рияланымдар</a:t>
            </a:r>
            <a:endParaRPr lang="en-US" sz="700" b="1" dirty="0">
              <a:solidFill>
                <a:srgbClr val="0066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7" name="Рисунок 176">
            <a:extLst>
              <a:ext uri="{FF2B5EF4-FFF2-40B4-BE49-F238E27FC236}">
                <a16:creationId xmlns:a16="http://schemas.microsoft.com/office/drawing/2014/main" id="{C622738F-16DC-4F8E-9FBA-91117DF44E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60090" y="6258088"/>
            <a:ext cx="919331" cy="823034"/>
          </a:xfrm>
          <a:prstGeom prst="rect">
            <a:avLst/>
          </a:prstGeom>
        </p:spPr>
      </p:pic>
      <p:sp>
        <p:nvSpPr>
          <p:cNvPr id="178" name="TextBox 177">
            <a:extLst>
              <a:ext uri="{FF2B5EF4-FFF2-40B4-BE49-F238E27FC236}">
                <a16:creationId xmlns:a16="http://schemas.microsoft.com/office/drawing/2014/main" id="{599FC325-9E90-44D6-8462-16B5466858CC}"/>
              </a:ext>
            </a:extLst>
          </p:cNvPr>
          <p:cNvSpPr txBox="1"/>
          <p:nvPr/>
        </p:nvSpPr>
        <p:spPr>
          <a:xfrm>
            <a:off x="4636587" y="7148990"/>
            <a:ext cx="918962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kk-KZ" sz="1000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3 </a:t>
            </a:r>
            <a:r>
              <a:rPr lang="kk-KZ" sz="700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део</a:t>
            </a:r>
            <a:endParaRPr lang="en-US" sz="700" b="1" dirty="0">
              <a:solidFill>
                <a:srgbClr val="0066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9" name="Freeform 83">
            <a:extLst>
              <a:ext uri="{FF2B5EF4-FFF2-40B4-BE49-F238E27FC236}">
                <a16:creationId xmlns:a16="http://schemas.microsoft.com/office/drawing/2014/main" id="{8E2FD1CD-7859-4C16-9E19-7B28AE883886}"/>
              </a:ext>
            </a:extLst>
          </p:cNvPr>
          <p:cNvSpPr>
            <a:spLocks noEditPoints="1"/>
          </p:cNvSpPr>
          <p:nvPr/>
        </p:nvSpPr>
        <p:spPr bwMode="auto">
          <a:xfrm rot="962533">
            <a:off x="3938131" y="6314809"/>
            <a:ext cx="659221" cy="121087"/>
          </a:xfrm>
          <a:custGeom>
            <a:avLst/>
            <a:gdLst>
              <a:gd name="T0" fmla="*/ 43 w 518"/>
              <a:gd name="T1" fmla="*/ 66 h 74"/>
              <a:gd name="T2" fmla="*/ 49 w 518"/>
              <a:gd name="T3" fmla="*/ 65 h 74"/>
              <a:gd name="T4" fmla="*/ 54 w 518"/>
              <a:gd name="T5" fmla="*/ 62 h 74"/>
              <a:gd name="T6" fmla="*/ 59 w 518"/>
              <a:gd name="T7" fmla="*/ 58 h 74"/>
              <a:gd name="T8" fmla="*/ 63 w 518"/>
              <a:gd name="T9" fmla="*/ 54 h 74"/>
              <a:gd name="T10" fmla="*/ 66 w 518"/>
              <a:gd name="T11" fmla="*/ 48 h 74"/>
              <a:gd name="T12" fmla="*/ 68 w 518"/>
              <a:gd name="T13" fmla="*/ 43 h 74"/>
              <a:gd name="T14" fmla="*/ 68 w 518"/>
              <a:gd name="T15" fmla="*/ 37 h 74"/>
              <a:gd name="T16" fmla="*/ 68 w 518"/>
              <a:gd name="T17" fmla="*/ 30 h 74"/>
              <a:gd name="T18" fmla="*/ 66 w 518"/>
              <a:gd name="T19" fmla="*/ 25 h 74"/>
              <a:gd name="T20" fmla="*/ 62 w 518"/>
              <a:gd name="T21" fmla="*/ 20 h 74"/>
              <a:gd name="T22" fmla="*/ 59 w 518"/>
              <a:gd name="T23" fmla="*/ 16 h 74"/>
              <a:gd name="T24" fmla="*/ 54 w 518"/>
              <a:gd name="T25" fmla="*/ 12 h 74"/>
              <a:gd name="T26" fmla="*/ 49 w 518"/>
              <a:gd name="T27" fmla="*/ 9 h 74"/>
              <a:gd name="T28" fmla="*/ 43 w 518"/>
              <a:gd name="T29" fmla="*/ 8 h 74"/>
              <a:gd name="T30" fmla="*/ 36 w 518"/>
              <a:gd name="T31" fmla="*/ 8 h 74"/>
              <a:gd name="T32" fmla="*/ 31 w 518"/>
              <a:gd name="T33" fmla="*/ 9 h 74"/>
              <a:gd name="T34" fmla="*/ 25 w 518"/>
              <a:gd name="T35" fmla="*/ 11 h 74"/>
              <a:gd name="T36" fmla="*/ 21 w 518"/>
              <a:gd name="T37" fmla="*/ 13 h 74"/>
              <a:gd name="T38" fmla="*/ 16 w 518"/>
              <a:gd name="T39" fmla="*/ 18 h 74"/>
              <a:gd name="T40" fmla="*/ 13 w 518"/>
              <a:gd name="T41" fmla="*/ 22 h 74"/>
              <a:gd name="T42" fmla="*/ 10 w 518"/>
              <a:gd name="T43" fmla="*/ 28 h 74"/>
              <a:gd name="T44" fmla="*/ 9 w 518"/>
              <a:gd name="T45" fmla="*/ 34 h 74"/>
              <a:gd name="T46" fmla="*/ 9 w 518"/>
              <a:gd name="T47" fmla="*/ 40 h 74"/>
              <a:gd name="T48" fmla="*/ 10 w 518"/>
              <a:gd name="T49" fmla="*/ 46 h 74"/>
              <a:gd name="T50" fmla="*/ 13 w 518"/>
              <a:gd name="T51" fmla="*/ 52 h 74"/>
              <a:gd name="T52" fmla="*/ 16 w 518"/>
              <a:gd name="T53" fmla="*/ 56 h 74"/>
              <a:gd name="T54" fmla="*/ 21 w 518"/>
              <a:gd name="T55" fmla="*/ 61 h 74"/>
              <a:gd name="T56" fmla="*/ 25 w 518"/>
              <a:gd name="T57" fmla="*/ 64 h 74"/>
              <a:gd name="T58" fmla="*/ 31 w 518"/>
              <a:gd name="T59" fmla="*/ 66 h 74"/>
              <a:gd name="T60" fmla="*/ 37 w 518"/>
              <a:gd name="T61" fmla="*/ 66 h 74"/>
              <a:gd name="T62" fmla="*/ 76 w 518"/>
              <a:gd name="T63" fmla="*/ 43 h 74"/>
              <a:gd name="T64" fmla="*/ 73 w 518"/>
              <a:gd name="T65" fmla="*/ 50 h 74"/>
              <a:gd name="T66" fmla="*/ 70 w 518"/>
              <a:gd name="T67" fmla="*/ 57 h 74"/>
              <a:gd name="T68" fmla="*/ 66 w 518"/>
              <a:gd name="T69" fmla="*/ 63 h 74"/>
              <a:gd name="T70" fmla="*/ 60 w 518"/>
              <a:gd name="T71" fmla="*/ 67 h 74"/>
              <a:gd name="T72" fmla="*/ 54 w 518"/>
              <a:gd name="T73" fmla="*/ 72 h 74"/>
              <a:gd name="T74" fmla="*/ 46 w 518"/>
              <a:gd name="T75" fmla="*/ 74 h 74"/>
              <a:gd name="T76" fmla="*/ 39 w 518"/>
              <a:gd name="T77" fmla="*/ 74 h 74"/>
              <a:gd name="T78" fmla="*/ 31 w 518"/>
              <a:gd name="T79" fmla="*/ 74 h 74"/>
              <a:gd name="T80" fmla="*/ 24 w 518"/>
              <a:gd name="T81" fmla="*/ 72 h 74"/>
              <a:gd name="T82" fmla="*/ 17 w 518"/>
              <a:gd name="T83" fmla="*/ 68 h 74"/>
              <a:gd name="T84" fmla="*/ 12 w 518"/>
              <a:gd name="T85" fmla="*/ 63 h 74"/>
              <a:gd name="T86" fmla="*/ 7 w 518"/>
              <a:gd name="T87" fmla="*/ 57 h 74"/>
              <a:gd name="T88" fmla="*/ 4 w 518"/>
              <a:gd name="T89" fmla="*/ 50 h 74"/>
              <a:gd name="T90" fmla="*/ 1 w 518"/>
              <a:gd name="T91" fmla="*/ 44 h 74"/>
              <a:gd name="T92" fmla="*/ 0 w 518"/>
              <a:gd name="T93" fmla="*/ 36 h 74"/>
              <a:gd name="T94" fmla="*/ 1 w 518"/>
              <a:gd name="T95" fmla="*/ 28 h 74"/>
              <a:gd name="T96" fmla="*/ 5 w 518"/>
              <a:gd name="T97" fmla="*/ 21 h 74"/>
              <a:gd name="T98" fmla="*/ 8 w 518"/>
              <a:gd name="T99" fmla="*/ 14 h 74"/>
              <a:gd name="T100" fmla="*/ 14 w 518"/>
              <a:gd name="T101" fmla="*/ 9 h 74"/>
              <a:gd name="T102" fmla="*/ 19 w 518"/>
              <a:gd name="T103" fmla="*/ 4 h 74"/>
              <a:gd name="T104" fmla="*/ 26 w 518"/>
              <a:gd name="T105" fmla="*/ 1 h 74"/>
              <a:gd name="T106" fmla="*/ 34 w 518"/>
              <a:gd name="T107" fmla="*/ 0 h 74"/>
              <a:gd name="T108" fmla="*/ 42 w 518"/>
              <a:gd name="T109" fmla="*/ 0 h 74"/>
              <a:gd name="T110" fmla="*/ 50 w 518"/>
              <a:gd name="T111" fmla="*/ 1 h 74"/>
              <a:gd name="T112" fmla="*/ 57 w 518"/>
              <a:gd name="T113" fmla="*/ 4 h 74"/>
              <a:gd name="T114" fmla="*/ 62 w 518"/>
              <a:gd name="T115" fmla="*/ 8 h 74"/>
              <a:gd name="T116" fmla="*/ 68 w 518"/>
              <a:gd name="T117" fmla="*/ 13 h 74"/>
              <a:gd name="T118" fmla="*/ 72 w 518"/>
              <a:gd name="T119" fmla="*/ 20 h 74"/>
              <a:gd name="T120" fmla="*/ 75 w 518"/>
              <a:gd name="T121" fmla="*/ 27 h 74"/>
              <a:gd name="T122" fmla="*/ 76 w 518"/>
              <a:gd name="T123" fmla="*/ 35 h 74"/>
              <a:gd name="T124" fmla="*/ 236 w 518"/>
              <a:gd name="T125" fmla="*/ 34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8" h="74">
                <a:moveTo>
                  <a:pt x="502" y="41"/>
                </a:moveTo>
                <a:lnTo>
                  <a:pt x="502" y="34"/>
                </a:lnTo>
                <a:lnTo>
                  <a:pt x="518" y="34"/>
                </a:lnTo>
                <a:lnTo>
                  <a:pt x="518" y="41"/>
                </a:lnTo>
                <a:lnTo>
                  <a:pt x="502" y="41"/>
                </a:lnTo>
                <a:lnTo>
                  <a:pt x="502" y="41"/>
                </a:lnTo>
                <a:close/>
                <a:moveTo>
                  <a:pt x="39" y="66"/>
                </a:moveTo>
                <a:lnTo>
                  <a:pt x="39" y="66"/>
                </a:lnTo>
                <a:lnTo>
                  <a:pt x="39" y="66"/>
                </a:lnTo>
                <a:lnTo>
                  <a:pt x="39" y="66"/>
                </a:lnTo>
                <a:lnTo>
                  <a:pt x="40" y="66"/>
                </a:lnTo>
                <a:lnTo>
                  <a:pt x="40" y="66"/>
                </a:lnTo>
                <a:lnTo>
                  <a:pt x="40" y="66"/>
                </a:lnTo>
                <a:lnTo>
                  <a:pt x="40" y="66"/>
                </a:lnTo>
                <a:lnTo>
                  <a:pt x="40" y="66"/>
                </a:lnTo>
                <a:lnTo>
                  <a:pt x="40" y="66"/>
                </a:lnTo>
                <a:lnTo>
                  <a:pt x="41" y="66"/>
                </a:lnTo>
                <a:lnTo>
                  <a:pt x="41" y="66"/>
                </a:lnTo>
                <a:lnTo>
                  <a:pt x="41" y="66"/>
                </a:lnTo>
                <a:lnTo>
                  <a:pt x="41" y="66"/>
                </a:lnTo>
                <a:lnTo>
                  <a:pt x="41" y="66"/>
                </a:lnTo>
                <a:lnTo>
                  <a:pt x="41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3" y="66"/>
                </a:lnTo>
                <a:lnTo>
                  <a:pt x="43" y="66"/>
                </a:lnTo>
                <a:lnTo>
                  <a:pt x="43" y="66"/>
                </a:lnTo>
                <a:lnTo>
                  <a:pt x="43" y="66"/>
                </a:lnTo>
                <a:lnTo>
                  <a:pt x="43" y="66"/>
                </a:lnTo>
                <a:lnTo>
                  <a:pt x="43" y="66"/>
                </a:lnTo>
                <a:lnTo>
                  <a:pt x="44" y="66"/>
                </a:lnTo>
                <a:lnTo>
                  <a:pt x="44" y="66"/>
                </a:lnTo>
                <a:lnTo>
                  <a:pt x="44" y="66"/>
                </a:lnTo>
                <a:lnTo>
                  <a:pt x="44" y="66"/>
                </a:lnTo>
                <a:lnTo>
                  <a:pt x="44" y="66"/>
                </a:lnTo>
                <a:lnTo>
                  <a:pt x="44" y="66"/>
                </a:lnTo>
                <a:lnTo>
                  <a:pt x="45" y="66"/>
                </a:lnTo>
                <a:lnTo>
                  <a:pt x="45" y="66"/>
                </a:lnTo>
                <a:lnTo>
                  <a:pt x="45" y="66"/>
                </a:lnTo>
                <a:lnTo>
                  <a:pt x="45" y="66"/>
                </a:lnTo>
                <a:lnTo>
                  <a:pt x="45" y="66"/>
                </a:lnTo>
                <a:lnTo>
                  <a:pt x="45" y="66"/>
                </a:lnTo>
                <a:lnTo>
                  <a:pt x="45" y="66"/>
                </a:lnTo>
                <a:lnTo>
                  <a:pt x="46" y="66"/>
                </a:lnTo>
                <a:lnTo>
                  <a:pt x="46" y="66"/>
                </a:lnTo>
                <a:lnTo>
                  <a:pt x="46" y="65"/>
                </a:lnTo>
                <a:lnTo>
                  <a:pt x="46" y="65"/>
                </a:lnTo>
                <a:lnTo>
                  <a:pt x="46" y="65"/>
                </a:lnTo>
                <a:lnTo>
                  <a:pt x="46" y="65"/>
                </a:lnTo>
                <a:lnTo>
                  <a:pt x="48" y="65"/>
                </a:lnTo>
                <a:lnTo>
                  <a:pt x="48" y="65"/>
                </a:lnTo>
                <a:lnTo>
                  <a:pt x="48" y="65"/>
                </a:lnTo>
                <a:lnTo>
                  <a:pt x="48" y="65"/>
                </a:lnTo>
                <a:lnTo>
                  <a:pt x="48" y="65"/>
                </a:lnTo>
                <a:lnTo>
                  <a:pt x="48" y="65"/>
                </a:lnTo>
                <a:lnTo>
                  <a:pt x="48" y="65"/>
                </a:lnTo>
                <a:lnTo>
                  <a:pt x="49" y="65"/>
                </a:lnTo>
                <a:lnTo>
                  <a:pt x="49" y="65"/>
                </a:lnTo>
                <a:lnTo>
                  <a:pt x="49" y="65"/>
                </a:lnTo>
                <a:lnTo>
                  <a:pt x="49" y="65"/>
                </a:lnTo>
                <a:lnTo>
                  <a:pt x="49" y="65"/>
                </a:lnTo>
                <a:lnTo>
                  <a:pt x="49" y="65"/>
                </a:lnTo>
                <a:lnTo>
                  <a:pt x="50" y="65"/>
                </a:lnTo>
                <a:lnTo>
                  <a:pt x="50" y="65"/>
                </a:lnTo>
                <a:lnTo>
                  <a:pt x="50" y="64"/>
                </a:lnTo>
                <a:lnTo>
                  <a:pt x="50" y="64"/>
                </a:lnTo>
                <a:lnTo>
                  <a:pt x="50" y="64"/>
                </a:lnTo>
                <a:lnTo>
                  <a:pt x="50" y="64"/>
                </a:lnTo>
                <a:lnTo>
                  <a:pt x="50" y="64"/>
                </a:lnTo>
                <a:lnTo>
                  <a:pt x="51" y="64"/>
                </a:lnTo>
                <a:lnTo>
                  <a:pt x="51" y="64"/>
                </a:lnTo>
                <a:lnTo>
                  <a:pt x="51" y="64"/>
                </a:lnTo>
                <a:lnTo>
                  <a:pt x="51" y="64"/>
                </a:lnTo>
                <a:lnTo>
                  <a:pt x="51" y="64"/>
                </a:lnTo>
                <a:lnTo>
                  <a:pt x="51" y="64"/>
                </a:lnTo>
                <a:lnTo>
                  <a:pt x="51" y="64"/>
                </a:lnTo>
                <a:lnTo>
                  <a:pt x="52" y="64"/>
                </a:lnTo>
                <a:lnTo>
                  <a:pt x="52" y="64"/>
                </a:lnTo>
                <a:lnTo>
                  <a:pt x="52" y="64"/>
                </a:lnTo>
                <a:lnTo>
                  <a:pt x="52" y="63"/>
                </a:lnTo>
                <a:lnTo>
                  <a:pt x="52" y="63"/>
                </a:lnTo>
                <a:lnTo>
                  <a:pt x="52" y="63"/>
                </a:lnTo>
                <a:lnTo>
                  <a:pt x="52" y="63"/>
                </a:lnTo>
                <a:lnTo>
                  <a:pt x="53" y="63"/>
                </a:lnTo>
                <a:lnTo>
                  <a:pt x="53" y="63"/>
                </a:lnTo>
                <a:lnTo>
                  <a:pt x="53" y="63"/>
                </a:lnTo>
                <a:lnTo>
                  <a:pt x="53" y="63"/>
                </a:lnTo>
                <a:lnTo>
                  <a:pt x="53" y="63"/>
                </a:lnTo>
                <a:lnTo>
                  <a:pt x="53" y="63"/>
                </a:lnTo>
                <a:lnTo>
                  <a:pt x="53" y="63"/>
                </a:lnTo>
                <a:lnTo>
                  <a:pt x="54" y="63"/>
                </a:lnTo>
                <a:lnTo>
                  <a:pt x="54" y="63"/>
                </a:lnTo>
                <a:lnTo>
                  <a:pt x="54" y="62"/>
                </a:lnTo>
                <a:lnTo>
                  <a:pt x="54" y="62"/>
                </a:lnTo>
                <a:lnTo>
                  <a:pt x="54" y="62"/>
                </a:lnTo>
                <a:lnTo>
                  <a:pt x="54" y="62"/>
                </a:lnTo>
                <a:lnTo>
                  <a:pt x="54" y="62"/>
                </a:lnTo>
                <a:lnTo>
                  <a:pt x="54" y="62"/>
                </a:lnTo>
                <a:lnTo>
                  <a:pt x="55" y="62"/>
                </a:lnTo>
                <a:lnTo>
                  <a:pt x="55" y="62"/>
                </a:lnTo>
                <a:lnTo>
                  <a:pt x="55" y="62"/>
                </a:lnTo>
                <a:lnTo>
                  <a:pt x="55" y="62"/>
                </a:lnTo>
                <a:lnTo>
                  <a:pt x="55" y="62"/>
                </a:lnTo>
                <a:lnTo>
                  <a:pt x="55" y="61"/>
                </a:lnTo>
                <a:lnTo>
                  <a:pt x="55" y="61"/>
                </a:lnTo>
                <a:lnTo>
                  <a:pt x="55" y="61"/>
                </a:lnTo>
                <a:lnTo>
                  <a:pt x="57" y="61"/>
                </a:lnTo>
                <a:lnTo>
                  <a:pt x="57" y="61"/>
                </a:lnTo>
                <a:lnTo>
                  <a:pt x="57" y="61"/>
                </a:lnTo>
                <a:lnTo>
                  <a:pt x="57" y="61"/>
                </a:lnTo>
                <a:lnTo>
                  <a:pt x="57" y="61"/>
                </a:lnTo>
                <a:lnTo>
                  <a:pt x="57" y="61"/>
                </a:lnTo>
                <a:lnTo>
                  <a:pt x="57" y="61"/>
                </a:lnTo>
                <a:lnTo>
                  <a:pt x="57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9" y="59"/>
                </a:lnTo>
                <a:lnTo>
                  <a:pt x="59" y="58"/>
                </a:lnTo>
                <a:lnTo>
                  <a:pt x="59" y="58"/>
                </a:lnTo>
                <a:lnTo>
                  <a:pt x="59" y="58"/>
                </a:lnTo>
                <a:lnTo>
                  <a:pt x="59" y="58"/>
                </a:lnTo>
                <a:lnTo>
                  <a:pt x="59" y="58"/>
                </a:lnTo>
                <a:lnTo>
                  <a:pt x="59" y="58"/>
                </a:lnTo>
                <a:lnTo>
                  <a:pt x="59" y="58"/>
                </a:lnTo>
                <a:lnTo>
                  <a:pt x="60" y="58"/>
                </a:lnTo>
                <a:lnTo>
                  <a:pt x="60" y="58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1" y="57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4"/>
                </a:lnTo>
                <a:lnTo>
                  <a:pt x="62" y="54"/>
                </a:lnTo>
                <a:lnTo>
                  <a:pt x="62" y="54"/>
                </a:lnTo>
                <a:lnTo>
                  <a:pt x="63" y="54"/>
                </a:lnTo>
                <a:lnTo>
                  <a:pt x="63" y="54"/>
                </a:lnTo>
                <a:lnTo>
                  <a:pt x="63" y="54"/>
                </a:lnTo>
                <a:lnTo>
                  <a:pt x="63" y="54"/>
                </a:lnTo>
                <a:lnTo>
                  <a:pt x="63" y="54"/>
                </a:lnTo>
                <a:lnTo>
                  <a:pt x="63" y="53"/>
                </a:lnTo>
                <a:lnTo>
                  <a:pt x="63" y="53"/>
                </a:lnTo>
                <a:lnTo>
                  <a:pt x="63" y="53"/>
                </a:lnTo>
                <a:lnTo>
                  <a:pt x="63" y="53"/>
                </a:lnTo>
                <a:lnTo>
                  <a:pt x="63" y="53"/>
                </a:lnTo>
                <a:lnTo>
                  <a:pt x="63" y="53"/>
                </a:lnTo>
                <a:lnTo>
                  <a:pt x="63" y="53"/>
                </a:lnTo>
                <a:lnTo>
                  <a:pt x="64" y="52"/>
                </a:lnTo>
                <a:lnTo>
                  <a:pt x="64" y="52"/>
                </a:lnTo>
                <a:lnTo>
                  <a:pt x="64" y="52"/>
                </a:lnTo>
                <a:lnTo>
                  <a:pt x="64" y="52"/>
                </a:lnTo>
                <a:lnTo>
                  <a:pt x="64" y="52"/>
                </a:lnTo>
                <a:lnTo>
                  <a:pt x="64" y="52"/>
                </a:lnTo>
                <a:lnTo>
                  <a:pt x="64" y="52"/>
                </a:lnTo>
                <a:lnTo>
                  <a:pt x="64" y="50"/>
                </a:lnTo>
                <a:lnTo>
                  <a:pt x="64" y="50"/>
                </a:lnTo>
                <a:lnTo>
                  <a:pt x="64" y="50"/>
                </a:lnTo>
                <a:lnTo>
                  <a:pt x="64" y="50"/>
                </a:lnTo>
                <a:lnTo>
                  <a:pt x="64" y="50"/>
                </a:lnTo>
                <a:lnTo>
                  <a:pt x="64" y="50"/>
                </a:lnTo>
                <a:lnTo>
                  <a:pt x="66" y="50"/>
                </a:lnTo>
                <a:lnTo>
                  <a:pt x="66" y="49"/>
                </a:lnTo>
                <a:lnTo>
                  <a:pt x="66" y="49"/>
                </a:lnTo>
                <a:lnTo>
                  <a:pt x="66" y="49"/>
                </a:lnTo>
                <a:lnTo>
                  <a:pt x="66" y="49"/>
                </a:lnTo>
                <a:lnTo>
                  <a:pt x="66" y="49"/>
                </a:lnTo>
                <a:lnTo>
                  <a:pt x="66" y="49"/>
                </a:lnTo>
                <a:lnTo>
                  <a:pt x="66" y="49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7" y="47"/>
                </a:lnTo>
                <a:lnTo>
                  <a:pt x="67" y="47"/>
                </a:lnTo>
                <a:lnTo>
                  <a:pt x="67" y="47"/>
                </a:lnTo>
                <a:lnTo>
                  <a:pt x="67" y="47"/>
                </a:lnTo>
                <a:lnTo>
                  <a:pt x="67" y="47"/>
                </a:lnTo>
                <a:lnTo>
                  <a:pt x="67" y="47"/>
                </a:lnTo>
                <a:lnTo>
                  <a:pt x="67" y="47"/>
                </a:lnTo>
                <a:lnTo>
                  <a:pt x="67" y="46"/>
                </a:lnTo>
                <a:lnTo>
                  <a:pt x="67" y="46"/>
                </a:lnTo>
                <a:lnTo>
                  <a:pt x="67" y="46"/>
                </a:lnTo>
                <a:lnTo>
                  <a:pt x="67" y="46"/>
                </a:lnTo>
                <a:lnTo>
                  <a:pt x="67" y="46"/>
                </a:lnTo>
                <a:lnTo>
                  <a:pt x="67" y="46"/>
                </a:lnTo>
                <a:lnTo>
                  <a:pt x="67" y="45"/>
                </a:lnTo>
                <a:lnTo>
                  <a:pt x="67" y="45"/>
                </a:lnTo>
                <a:lnTo>
                  <a:pt x="67" y="45"/>
                </a:lnTo>
                <a:lnTo>
                  <a:pt x="67" y="45"/>
                </a:lnTo>
                <a:lnTo>
                  <a:pt x="67" y="45"/>
                </a:lnTo>
                <a:lnTo>
                  <a:pt x="67" y="45"/>
                </a:lnTo>
                <a:lnTo>
                  <a:pt x="67" y="44"/>
                </a:lnTo>
                <a:lnTo>
                  <a:pt x="67" y="44"/>
                </a:lnTo>
                <a:lnTo>
                  <a:pt x="68" y="44"/>
                </a:lnTo>
                <a:lnTo>
                  <a:pt x="68" y="44"/>
                </a:lnTo>
                <a:lnTo>
                  <a:pt x="68" y="44"/>
                </a:lnTo>
                <a:lnTo>
                  <a:pt x="68" y="44"/>
                </a:lnTo>
                <a:lnTo>
                  <a:pt x="68" y="44"/>
                </a:lnTo>
                <a:lnTo>
                  <a:pt x="68" y="43"/>
                </a:lnTo>
                <a:lnTo>
                  <a:pt x="68" y="43"/>
                </a:lnTo>
                <a:lnTo>
                  <a:pt x="68" y="43"/>
                </a:lnTo>
                <a:lnTo>
                  <a:pt x="68" y="43"/>
                </a:lnTo>
                <a:lnTo>
                  <a:pt x="68" y="43"/>
                </a:lnTo>
                <a:lnTo>
                  <a:pt x="68" y="43"/>
                </a:lnTo>
                <a:lnTo>
                  <a:pt x="68" y="41"/>
                </a:lnTo>
                <a:lnTo>
                  <a:pt x="68" y="41"/>
                </a:lnTo>
                <a:lnTo>
                  <a:pt x="68" y="41"/>
                </a:lnTo>
                <a:lnTo>
                  <a:pt x="68" y="41"/>
                </a:lnTo>
                <a:lnTo>
                  <a:pt x="68" y="41"/>
                </a:lnTo>
                <a:lnTo>
                  <a:pt x="68" y="41"/>
                </a:lnTo>
                <a:lnTo>
                  <a:pt x="68" y="40"/>
                </a:lnTo>
                <a:lnTo>
                  <a:pt x="68" y="40"/>
                </a:lnTo>
                <a:lnTo>
                  <a:pt x="68" y="40"/>
                </a:lnTo>
                <a:lnTo>
                  <a:pt x="68" y="40"/>
                </a:lnTo>
                <a:lnTo>
                  <a:pt x="68" y="40"/>
                </a:lnTo>
                <a:lnTo>
                  <a:pt x="68" y="40"/>
                </a:lnTo>
                <a:lnTo>
                  <a:pt x="68" y="39"/>
                </a:lnTo>
                <a:lnTo>
                  <a:pt x="68" y="39"/>
                </a:lnTo>
                <a:lnTo>
                  <a:pt x="68" y="39"/>
                </a:lnTo>
                <a:lnTo>
                  <a:pt x="68" y="39"/>
                </a:lnTo>
                <a:lnTo>
                  <a:pt x="68" y="39"/>
                </a:lnTo>
                <a:lnTo>
                  <a:pt x="68" y="39"/>
                </a:lnTo>
                <a:lnTo>
                  <a:pt x="68" y="38"/>
                </a:lnTo>
                <a:lnTo>
                  <a:pt x="68" y="38"/>
                </a:lnTo>
                <a:lnTo>
                  <a:pt x="68" y="38"/>
                </a:lnTo>
                <a:lnTo>
                  <a:pt x="68" y="38"/>
                </a:lnTo>
                <a:lnTo>
                  <a:pt x="68" y="38"/>
                </a:lnTo>
                <a:lnTo>
                  <a:pt x="68" y="38"/>
                </a:lnTo>
                <a:lnTo>
                  <a:pt x="68" y="37"/>
                </a:lnTo>
                <a:lnTo>
                  <a:pt x="68" y="37"/>
                </a:lnTo>
                <a:lnTo>
                  <a:pt x="68" y="37"/>
                </a:lnTo>
                <a:lnTo>
                  <a:pt x="68" y="37"/>
                </a:lnTo>
                <a:lnTo>
                  <a:pt x="68" y="37"/>
                </a:lnTo>
                <a:lnTo>
                  <a:pt x="68" y="37"/>
                </a:lnTo>
                <a:lnTo>
                  <a:pt x="68" y="36"/>
                </a:lnTo>
                <a:lnTo>
                  <a:pt x="68" y="36"/>
                </a:lnTo>
                <a:lnTo>
                  <a:pt x="68" y="36"/>
                </a:lnTo>
                <a:lnTo>
                  <a:pt x="68" y="36"/>
                </a:lnTo>
                <a:lnTo>
                  <a:pt x="68" y="36"/>
                </a:lnTo>
                <a:lnTo>
                  <a:pt x="68" y="36"/>
                </a:lnTo>
                <a:lnTo>
                  <a:pt x="68" y="35"/>
                </a:lnTo>
                <a:lnTo>
                  <a:pt x="68" y="35"/>
                </a:lnTo>
                <a:lnTo>
                  <a:pt x="68" y="35"/>
                </a:lnTo>
                <a:lnTo>
                  <a:pt x="68" y="35"/>
                </a:lnTo>
                <a:lnTo>
                  <a:pt x="68" y="35"/>
                </a:lnTo>
                <a:lnTo>
                  <a:pt x="68" y="35"/>
                </a:lnTo>
                <a:lnTo>
                  <a:pt x="68" y="34"/>
                </a:lnTo>
                <a:lnTo>
                  <a:pt x="68" y="34"/>
                </a:lnTo>
                <a:lnTo>
                  <a:pt x="68" y="34"/>
                </a:lnTo>
                <a:lnTo>
                  <a:pt x="68" y="34"/>
                </a:lnTo>
                <a:lnTo>
                  <a:pt x="68" y="34"/>
                </a:lnTo>
                <a:lnTo>
                  <a:pt x="68" y="34"/>
                </a:lnTo>
                <a:lnTo>
                  <a:pt x="68" y="32"/>
                </a:lnTo>
                <a:lnTo>
                  <a:pt x="68" y="32"/>
                </a:lnTo>
                <a:lnTo>
                  <a:pt x="68" y="32"/>
                </a:lnTo>
                <a:lnTo>
                  <a:pt x="68" y="32"/>
                </a:lnTo>
                <a:lnTo>
                  <a:pt x="68" y="32"/>
                </a:lnTo>
                <a:lnTo>
                  <a:pt x="68" y="32"/>
                </a:lnTo>
                <a:lnTo>
                  <a:pt x="68" y="31"/>
                </a:lnTo>
                <a:lnTo>
                  <a:pt x="68" y="31"/>
                </a:lnTo>
                <a:lnTo>
                  <a:pt x="68" y="31"/>
                </a:lnTo>
                <a:lnTo>
                  <a:pt x="68" y="31"/>
                </a:lnTo>
                <a:lnTo>
                  <a:pt x="68" y="31"/>
                </a:lnTo>
                <a:lnTo>
                  <a:pt x="68" y="31"/>
                </a:lnTo>
                <a:lnTo>
                  <a:pt x="68" y="30"/>
                </a:lnTo>
                <a:lnTo>
                  <a:pt x="68" y="30"/>
                </a:lnTo>
                <a:lnTo>
                  <a:pt x="68" y="30"/>
                </a:lnTo>
                <a:lnTo>
                  <a:pt x="68" y="30"/>
                </a:lnTo>
                <a:lnTo>
                  <a:pt x="67" y="30"/>
                </a:lnTo>
                <a:lnTo>
                  <a:pt x="67" y="30"/>
                </a:lnTo>
                <a:lnTo>
                  <a:pt x="67" y="29"/>
                </a:lnTo>
                <a:lnTo>
                  <a:pt x="67" y="29"/>
                </a:lnTo>
                <a:lnTo>
                  <a:pt x="67" y="29"/>
                </a:lnTo>
                <a:lnTo>
                  <a:pt x="67" y="29"/>
                </a:lnTo>
                <a:lnTo>
                  <a:pt x="67" y="29"/>
                </a:lnTo>
                <a:lnTo>
                  <a:pt x="67" y="29"/>
                </a:lnTo>
                <a:lnTo>
                  <a:pt x="67" y="29"/>
                </a:lnTo>
                <a:lnTo>
                  <a:pt x="67" y="28"/>
                </a:lnTo>
                <a:lnTo>
                  <a:pt x="67" y="28"/>
                </a:lnTo>
                <a:lnTo>
                  <a:pt x="67" y="28"/>
                </a:lnTo>
                <a:lnTo>
                  <a:pt x="67" y="28"/>
                </a:lnTo>
                <a:lnTo>
                  <a:pt x="67" y="28"/>
                </a:lnTo>
                <a:lnTo>
                  <a:pt x="67" y="28"/>
                </a:lnTo>
                <a:lnTo>
                  <a:pt x="67" y="27"/>
                </a:lnTo>
                <a:lnTo>
                  <a:pt x="67" y="27"/>
                </a:lnTo>
                <a:lnTo>
                  <a:pt x="67" y="27"/>
                </a:lnTo>
                <a:lnTo>
                  <a:pt x="67" y="27"/>
                </a:lnTo>
                <a:lnTo>
                  <a:pt x="67" y="27"/>
                </a:lnTo>
                <a:lnTo>
                  <a:pt x="67" y="27"/>
                </a:lnTo>
                <a:lnTo>
                  <a:pt x="66" y="27"/>
                </a:lnTo>
                <a:lnTo>
                  <a:pt x="66" y="26"/>
                </a:lnTo>
                <a:lnTo>
                  <a:pt x="66" y="26"/>
                </a:lnTo>
                <a:lnTo>
                  <a:pt x="66" y="26"/>
                </a:lnTo>
                <a:lnTo>
                  <a:pt x="66" y="26"/>
                </a:lnTo>
                <a:lnTo>
                  <a:pt x="66" y="26"/>
                </a:lnTo>
                <a:lnTo>
                  <a:pt x="66" y="26"/>
                </a:lnTo>
                <a:lnTo>
                  <a:pt x="66" y="26"/>
                </a:lnTo>
                <a:lnTo>
                  <a:pt x="66" y="25"/>
                </a:lnTo>
                <a:lnTo>
                  <a:pt x="66" y="25"/>
                </a:lnTo>
                <a:lnTo>
                  <a:pt x="66" y="25"/>
                </a:lnTo>
                <a:lnTo>
                  <a:pt x="66" y="25"/>
                </a:lnTo>
                <a:lnTo>
                  <a:pt x="66" y="25"/>
                </a:lnTo>
                <a:lnTo>
                  <a:pt x="66" y="25"/>
                </a:lnTo>
                <a:lnTo>
                  <a:pt x="66" y="25"/>
                </a:lnTo>
                <a:lnTo>
                  <a:pt x="64" y="23"/>
                </a:lnTo>
                <a:lnTo>
                  <a:pt x="64" y="23"/>
                </a:lnTo>
                <a:lnTo>
                  <a:pt x="64" y="23"/>
                </a:lnTo>
                <a:lnTo>
                  <a:pt x="64" y="23"/>
                </a:lnTo>
                <a:lnTo>
                  <a:pt x="64" y="23"/>
                </a:lnTo>
                <a:lnTo>
                  <a:pt x="64" y="23"/>
                </a:lnTo>
                <a:lnTo>
                  <a:pt x="64" y="23"/>
                </a:lnTo>
                <a:lnTo>
                  <a:pt x="64" y="22"/>
                </a:lnTo>
                <a:lnTo>
                  <a:pt x="64" y="22"/>
                </a:lnTo>
                <a:lnTo>
                  <a:pt x="64" y="22"/>
                </a:lnTo>
                <a:lnTo>
                  <a:pt x="64" y="22"/>
                </a:lnTo>
                <a:lnTo>
                  <a:pt x="64" y="22"/>
                </a:lnTo>
                <a:lnTo>
                  <a:pt x="64" y="22"/>
                </a:lnTo>
                <a:lnTo>
                  <a:pt x="63" y="22"/>
                </a:lnTo>
                <a:lnTo>
                  <a:pt x="63" y="21"/>
                </a:lnTo>
                <a:lnTo>
                  <a:pt x="63" y="21"/>
                </a:lnTo>
                <a:lnTo>
                  <a:pt x="63" y="21"/>
                </a:lnTo>
                <a:lnTo>
                  <a:pt x="63" y="21"/>
                </a:lnTo>
                <a:lnTo>
                  <a:pt x="63" y="21"/>
                </a:lnTo>
                <a:lnTo>
                  <a:pt x="63" y="21"/>
                </a:lnTo>
                <a:lnTo>
                  <a:pt x="63" y="21"/>
                </a:lnTo>
                <a:lnTo>
                  <a:pt x="63" y="20"/>
                </a:lnTo>
                <a:lnTo>
                  <a:pt x="63" y="20"/>
                </a:lnTo>
                <a:lnTo>
                  <a:pt x="63" y="20"/>
                </a:lnTo>
                <a:lnTo>
                  <a:pt x="63" y="20"/>
                </a:lnTo>
                <a:lnTo>
                  <a:pt x="62" y="20"/>
                </a:lnTo>
                <a:lnTo>
                  <a:pt x="62" y="20"/>
                </a:lnTo>
                <a:lnTo>
                  <a:pt x="62" y="20"/>
                </a:lnTo>
                <a:lnTo>
                  <a:pt x="62" y="20"/>
                </a:lnTo>
                <a:lnTo>
                  <a:pt x="62" y="19"/>
                </a:lnTo>
                <a:lnTo>
                  <a:pt x="62" y="19"/>
                </a:lnTo>
                <a:lnTo>
                  <a:pt x="62" y="19"/>
                </a:lnTo>
                <a:lnTo>
                  <a:pt x="62" y="19"/>
                </a:lnTo>
                <a:lnTo>
                  <a:pt x="62" y="19"/>
                </a:lnTo>
                <a:lnTo>
                  <a:pt x="62" y="19"/>
                </a:lnTo>
                <a:lnTo>
                  <a:pt x="62" y="19"/>
                </a:lnTo>
                <a:lnTo>
                  <a:pt x="61" y="19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7" y="14"/>
                </a:lnTo>
                <a:lnTo>
                  <a:pt x="57" y="14"/>
                </a:lnTo>
                <a:lnTo>
                  <a:pt x="57" y="13"/>
                </a:lnTo>
                <a:lnTo>
                  <a:pt x="57" y="13"/>
                </a:lnTo>
                <a:lnTo>
                  <a:pt x="57" y="13"/>
                </a:lnTo>
                <a:lnTo>
                  <a:pt x="57" y="13"/>
                </a:lnTo>
                <a:lnTo>
                  <a:pt x="57" y="13"/>
                </a:lnTo>
                <a:lnTo>
                  <a:pt x="57" y="13"/>
                </a:lnTo>
                <a:lnTo>
                  <a:pt x="55" y="13"/>
                </a:lnTo>
                <a:lnTo>
                  <a:pt x="55" y="13"/>
                </a:lnTo>
                <a:lnTo>
                  <a:pt x="55" y="13"/>
                </a:lnTo>
                <a:lnTo>
                  <a:pt x="55" y="13"/>
                </a:lnTo>
                <a:lnTo>
                  <a:pt x="55" y="12"/>
                </a:lnTo>
                <a:lnTo>
                  <a:pt x="55" y="12"/>
                </a:lnTo>
                <a:lnTo>
                  <a:pt x="55" y="12"/>
                </a:lnTo>
                <a:lnTo>
                  <a:pt x="55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3" y="11"/>
                </a:lnTo>
                <a:lnTo>
                  <a:pt x="53" y="11"/>
                </a:lnTo>
                <a:lnTo>
                  <a:pt x="53" y="11"/>
                </a:lnTo>
                <a:lnTo>
                  <a:pt x="53" y="11"/>
                </a:lnTo>
                <a:lnTo>
                  <a:pt x="53" y="11"/>
                </a:lnTo>
                <a:lnTo>
                  <a:pt x="53" y="11"/>
                </a:lnTo>
                <a:lnTo>
                  <a:pt x="53" y="11"/>
                </a:lnTo>
                <a:lnTo>
                  <a:pt x="52" y="11"/>
                </a:lnTo>
                <a:lnTo>
                  <a:pt x="52" y="11"/>
                </a:lnTo>
                <a:lnTo>
                  <a:pt x="52" y="11"/>
                </a:lnTo>
                <a:lnTo>
                  <a:pt x="52" y="11"/>
                </a:lnTo>
                <a:lnTo>
                  <a:pt x="52" y="11"/>
                </a:lnTo>
                <a:lnTo>
                  <a:pt x="52" y="11"/>
                </a:lnTo>
                <a:lnTo>
                  <a:pt x="52" y="10"/>
                </a:lnTo>
                <a:lnTo>
                  <a:pt x="51" y="10"/>
                </a:lnTo>
                <a:lnTo>
                  <a:pt x="51" y="10"/>
                </a:lnTo>
                <a:lnTo>
                  <a:pt x="51" y="10"/>
                </a:lnTo>
                <a:lnTo>
                  <a:pt x="51" y="10"/>
                </a:lnTo>
                <a:lnTo>
                  <a:pt x="51" y="10"/>
                </a:lnTo>
                <a:lnTo>
                  <a:pt x="51" y="10"/>
                </a:lnTo>
                <a:lnTo>
                  <a:pt x="51" y="10"/>
                </a:lnTo>
                <a:lnTo>
                  <a:pt x="50" y="10"/>
                </a:lnTo>
                <a:lnTo>
                  <a:pt x="50" y="10"/>
                </a:lnTo>
                <a:lnTo>
                  <a:pt x="50" y="10"/>
                </a:lnTo>
                <a:lnTo>
                  <a:pt x="50" y="10"/>
                </a:lnTo>
                <a:lnTo>
                  <a:pt x="50" y="10"/>
                </a:lnTo>
                <a:lnTo>
                  <a:pt x="50" y="10"/>
                </a:lnTo>
                <a:lnTo>
                  <a:pt x="50" y="10"/>
                </a:lnTo>
                <a:lnTo>
                  <a:pt x="49" y="9"/>
                </a:lnTo>
                <a:lnTo>
                  <a:pt x="49" y="9"/>
                </a:lnTo>
                <a:lnTo>
                  <a:pt x="49" y="9"/>
                </a:lnTo>
                <a:lnTo>
                  <a:pt x="49" y="9"/>
                </a:lnTo>
                <a:lnTo>
                  <a:pt x="49" y="9"/>
                </a:lnTo>
                <a:lnTo>
                  <a:pt x="49" y="9"/>
                </a:lnTo>
                <a:lnTo>
                  <a:pt x="48" y="9"/>
                </a:lnTo>
                <a:lnTo>
                  <a:pt x="48" y="9"/>
                </a:lnTo>
                <a:lnTo>
                  <a:pt x="48" y="9"/>
                </a:lnTo>
                <a:lnTo>
                  <a:pt x="48" y="9"/>
                </a:lnTo>
                <a:lnTo>
                  <a:pt x="48" y="9"/>
                </a:lnTo>
                <a:lnTo>
                  <a:pt x="48" y="9"/>
                </a:lnTo>
                <a:lnTo>
                  <a:pt x="48" y="9"/>
                </a:lnTo>
                <a:lnTo>
                  <a:pt x="46" y="9"/>
                </a:lnTo>
                <a:lnTo>
                  <a:pt x="46" y="9"/>
                </a:lnTo>
                <a:lnTo>
                  <a:pt x="46" y="9"/>
                </a:lnTo>
                <a:lnTo>
                  <a:pt x="46" y="9"/>
                </a:lnTo>
                <a:lnTo>
                  <a:pt x="46" y="9"/>
                </a:lnTo>
                <a:lnTo>
                  <a:pt x="46" y="9"/>
                </a:lnTo>
                <a:lnTo>
                  <a:pt x="45" y="9"/>
                </a:lnTo>
                <a:lnTo>
                  <a:pt x="45" y="8"/>
                </a:lnTo>
                <a:lnTo>
                  <a:pt x="45" y="8"/>
                </a:lnTo>
                <a:lnTo>
                  <a:pt x="45" y="8"/>
                </a:lnTo>
                <a:lnTo>
                  <a:pt x="45" y="8"/>
                </a:lnTo>
                <a:lnTo>
                  <a:pt x="45" y="8"/>
                </a:lnTo>
                <a:lnTo>
                  <a:pt x="44" y="8"/>
                </a:lnTo>
                <a:lnTo>
                  <a:pt x="44" y="8"/>
                </a:lnTo>
                <a:lnTo>
                  <a:pt x="44" y="8"/>
                </a:lnTo>
                <a:lnTo>
                  <a:pt x="44" y="8"/>
                </a:lnTo>
                <a:lnTo>
                  <a:pt x="44" y="8"/>
                </a:lnTo>
                <a:lnTo>
                  <a:pt x="44" y="8"/>
                </a:lnTo>
                <a:lnTo>
                  <a:pt x="44" y="8"/>
                </a:lnTo>
                <a:lnTo>
                  <a:pt x="43" y="8"/>
                </a:lnTo>
                <a:lnTo>
                  <a:pt x="43" y="8"/>
                </a:lnTo>
                <a:lnTo>
                  <a:pt x="43" y="8"/>
                </a:lnTo>
                <a:lnTo>
                  <a:pt x="43" y="8"/>
                </a:lnTo>
                <a:lnTo>
                  <a:pt x="43" y="8"/>
                </a:lnTo>
                <a:lnTo>
                  <a:pt x="43" y="8"/>
                </a:lnTo>
                <a:lnTo>
                  <a:pt x="42" y="8"/>
                </a:lnTo>
                <a:lnTo>
                  <a:pt x="42" y="8"/>
                </a:lnTo>
                <a:lnTo>
                  <a:pt x="42" y="8"/>
                </a:lnTo>
                <a:lnTo>
                  <a:pt x="42" y="8"/>
                </a:lnTo>
                <a:lnTo>
                  <a:pt x="42" y="8"/>
                </a:lnTo>
                <a:lnTo>
                  <a:pt x="42" y="8"/>
                </a:lnTo>
                <a:lnTo>
                  <a:pt x="41" y="8"/>
                </a:lnTo>
                <a:lnTo>
                  <a:pt x="41" y="8"/>
                </a:lnTo>
                <a:lnTo>
                  <a:pt x="41" y="8"/>
                </a:lnTo>
                <a:lnTo>
                  <a:pt x="41" y="8"/>
                </a:lnTo>
                <a:lnTo>
                  <a:pt x="41" y="8"/>
                </a:lnTo>
                <a:lnTo>
                  <a:pt x="41" y="8"/>
                </a:lnTo>
                <a:lnTo>
                  <a:pt x="40" y="8"/>
                </a:lnTo>
                <a:lnTo>
                  <a:pt x="40" y="8"/>
                </a:lnTo>
                <a:lnTo>
                  <a:pt x="40" y="8"/>
                </a:lnTo>
                <a:lnTo>
                  <a:pt x="40" y="8"/>
                </a:lnTo>
                <a:lnTo>
                  <a:pt x="40" y="8"/>
                </a:lnTo>
                <a:lnTo>
                  <a:pt x="40" y="8"/>
                </a:lnTo>
                <a:lnTo>
                  <a:pt x="39" y="8"/>
                </a:lnTo>
                <a:lnTo>
                  <a:pt x="39" y="8"/>
                </a:lnTo>
                <a:lnTo>
                  <a:pt x="39" y="8"/>
                </a:lnTo>
                <a:lnTo>
                  <a:pt x="39" y="8"/>
                </a:lnTo>
                <a:lnTo>
                  <a:pt x="39" y="8"/>
                </a:lnTo>
                <a:lnTo>
                  <a:pt x="39" y="8"/>
                </a:lnTo>
                <a:lnTo>
                  <a:pt x="37" y="8"/>
                </a:lnTo>
                <a:lnTo>
                  <a:pt x="37" y="8"/>
                </a:lnTo>
                <a:lnTo>
                  <a:pt x="37" y="8"/>
                </a:lnTo>
                <a:lnTo>
                  <a:pt x="37" y="8"/>
                </a:lnTo>
                <a:lnTo>
                  <a:pt x="37" y="8"/>
                </a:lnTo>
                <a:lnTo>
                  <a:pt x="37" y="8"/>
                </a:lnTo>
                <a:lnTo>
                  <a:pt x="36" y="8"/>
                </a:lnTo>
                <a:lnTo>
                  <a:pt x="36" y="8"/>
                </a:lnTo>
                <a:lnTo>
                  <a:pt x="36" y="8"/>
                </a:lnTo>
                <a:lnTo>
                  <a:pt x="36" y="8"/>
                </a:lnTo>
                <a:lnTo>
                  <a:pt x="36" y="8"/>
                </a:lnTo>
                <a:lnTo>
                  <a:pt x="36" y="8"/>
                </a:lnTo>
                <a:lnTo>
                  <a:pt x="35" y="8"/>
                </a:lnTo>
                <a:lnTo>
                  <a:pt x="35" y="8"/>
                </a:lnTo>
                <a:lnTo>
                  <a:pt x="35" y="8"/>
                </a:lnTo>
                <a:lnTo>
                  <a:pt x="35" y="8"/>
                </a:lnTo>
                <a:lnTo>
                  <a:pt x="35" y="8"/>
                </a:lnTo>
                <a:lnTo>
                  <a:pt x="35" y="8"/>
                </a:lnTo>
                <a:lnTo>
                  <a:pt x="34" y="8"/>
                </a:lnTo>
                <a:lnTo>
                  <a:pt x="34" y="8"/>
                </a:lnTo>
                <a:lnTo>
                  <a:pt x="34" y="8"/>
                </a:lnTo>
                <a:lnTo>
                  <a:pt x="34" y="8"/>
                </a:lnTo>
                <a:lnTo>
                  <a:pt x="34" y="8"/>
                </a:lnTo>
                <a:lnTo>
                  <a:pt x="34" y="8"/>
                </a:lnTo>
                <a:lnTo>
                  <a:pt x="33" y="8"/>
                </a:lnTo>
                <a:lnTo>
                  <a:pt x="33" y="8"/>
                </a:lnTo>
                <a:lnTo>
                  <a:pt x="33" y="8"/>
                </a:lnTo>
                <a:lnTo>
                  <a:pt x="33" y="8"/>
                </a:lnTo>
                <a:lnTo>
                  <a:pt x="33" y="8"/>
                </a:lnTo>
                <a:lnTo>
                  <a:pt x="33" y="8"/>
                </a:lnTo>
                <a:lnTo>
                  <a:pt x="32" y="8"/>
                </a:lnTo>
                <a:lnTo>
                  <a:pt x="32" y="8"/>
                </a:lnTo>
                <a:lnTo>
                  <a:pt x="32" y="8"/>
                </a:lnTo>
                <a:lnTo>
                  <a:pt x="32" y="8"/>
                </a:lnTo>
                <a:lnTo>
                  <a:pt x="32" y="8"/>
                </a:lnTo>
                <a:lnTo>
                  <a:pt x="32" y="8"/>
                </a:lnTo>
                <a:lnTo>
                  <a:pt x="31" y="8"/>
                </a:lnTo>
                <a:lnTo>
                  <a:pt x="31" y="9"/>
                </a:lnTo>
                <a:lnTo>
                  <a:pt x="31" y="9"/>
                </a:lnTo>
                <a:lnTo>
                  <a:pt x="31" y="9"/>
                </a:lnTo>
                <a:lnTo>
                  <a:pt x="31" y="9"/>
                </a:lnTo>
                <a:lnTo>
                  <a:pt x="31" y="9"/>
                </a:lnTo>
                <a:lnTo>
                  <a:pt x="31" y="9"/>
                </a:lnTo>
                <a:lnTo>
                  <a:pt x="30" y="9"/>
                </a:lnTo>
                <a:lnTo>
                  <a:pt x="30" y="9"/>
                </a:lnTo>
                <a:lnTo>
                  <a:pt x="30" y="9"/>
                </a:lnTo>
                <a:lnTo>
                  <a:pt x="30" y="9"/>
                </a:lnTo>
                <a:lnTo>
                  <a:pt x="30" y="9"/>
                </a:lnTo>
                <a:lnTo>
                  <a:pt x="30" y="9"/>
                </a:lnTo>
                <a:lnTo>
                  <a:pt x="28" y="9"/>
                </a:lnTo>
                <a:lnTo>
                  <a:pt x="28" y="9"/>
                </a:lnTo>
                <a:lnTo>
                  <a:pt x="28" y="9"/>
                </a:lnTo>
                <a:lnTo>
                  <a:pt x="28" y="9"/>
                </a:lnTo>
                <a:lnTo>
                  <a:pt x="28" y="9"/>
                </a:lnTo>
                <a:lnTo>
                  <a:pt x="28" y="9"/>
                </a:lnTo>
                <a:lnTo>
                  <a:pt x="28" y="9"/>
                </a:lnTo>
                <a:lnTo>
                  <a:pt x="27" y="9"/>
                </a:lnTo>
                <a:lnTo>
                  <a:pt x="27" y="10"/>
                </a:lnTo>
                <a:lnTo>
                  <a:pt x="27" y="10"/>
                </a:lnTo>
                <a:lnTo>
                  <a:pt x="27" y="10"/>
                </a:lnTo>
                <a:lnTo>
                  <a:pt x="27" y="10"/>
                </a:lnTo>
                <a:lnTo>
                  <a:pt x="27" y="10"/>
                </a:lnTo>
                <a:lnTo>
                  <a:pt x="26" y="10"/>
                </a:lnTo>
                <a:lnTo>
                  <a:pt x="26" y="10"/>
                </a:lnTo>
                <a:lnTo>
                  <a:pt x="26" y="10"/>
                </a:lnTo>
                <a:lnTo>
                  <a:pt x="26" y="10"/>
                </a:lnTo>
                <a:lnTo>
                  <a:pt x="26" y="10"/>
                </a:lnTo>
                <a:lnTo>
                  <a:pt x="26" y="10"/>
                </a:lnTo>
                <a:lnTo>
                  <a:pt x="26" y="10"/>
                </a:lnTo>
                <a:lnTo>
                  <a:pt x="25" y="10"/>
                </a:lnTo>
                <a:lnTo>
                  <a:pt x="25" y="10"/>
                </a:lnTo>
                <a:lnTo>
                  <a:pt x="25" y="10"/>
                </a:lnTo>
                <a:lnTo>
                  <a:pt x="25" y="11"/>
                </a:lnTo>
                <a:lnTo>
                  <a:pt x="25" y="11"/>
                </a:lnTo>
                <a:lnTo>
                  <a:pt x="25" y="11"/>
                </a:lnTo>
                <a:lnTo>
                  <a:pt x="25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3" y="11"/>
                </a:lnTo>
                <a:lnTo>
                  <a:pt x="23" y="12"/>
                </a:lnTo>
                <a:lnTo>
                  <a:pt x="23" y="12"/>
                </a:lnTo>
                <a:lnTo>
                  <a:pt x="23" y="12"/>
                </a:lnTo>
                <a:lnTo>
                  <a:pt x="23" y="12"/>
                </a:lnTo>
                <a:lnTo>
                  <a:pt x="23" y="12"/>
                </a:lnTo>
                <a:lnTo>
                  <a:pt x="23" y="12"/>
                </a:lnTo>
                <a:lnTo>
                  <a:pt x="22" y="12"/>
                </a:lnTo>
                <a:lnTo>
                  <a:pt x="22" y="12"/>
                </a:lnTo>
                <a:lnTo>
                  <a:pt x="22" y="12"/>
                </a:lnTo>
                <a:lnTo>
                  <a:pt x="22" y="12"/>
                </a:lnTo>
                <a:lnTo>
                  <a:pt x="22" y="12"/>
                </a:lnTo>
                <a:lnTo>
                  <a:pt x="22" y="12"/>
                </a:lnTo>
                <a:lnTo>
                  <a:pt x="22" y="13"/>
                </a:lnTo>
                <a:lnTo>
                  <a:pt x="22" y="13"/>
                </a:lnTo>
                <a:lnTo>
                  <a:pt x="21" y="13"/>
                </a:lnTo>
                <a:lnTo>
                  <a:pt x="21" y="13"/>
                </a:lnTo>
                <a:lnTo>
                  <a:pt x="21" y="13"/>
                </a:lnTo>
                <a:lnTo>
                  <a:pt x="21" y="13"/>
                </a:lnTo>
                <a:lnTo>
                  <a:pt x="21" y="13"/>
                </a:lnTo>
                <a:lnTo>
                  <a:pt x="21" y="13"/>
                </a:lnTo>
                <a:lnTo>
                  <a:pt x="21" y="13"/>
                </a:lnTo>
                <a:lnTo>
                  <a:pt x="19" y="13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8" y="14"/>
                </a:lnTo>
                <a:lnTo>
                  <a:pt x="18" y="14"/>
                </a:lnTo>
                <a:lnTo>
                  <a:pt x="18" y="16"/>
                </a:lnTo>
                <a:lnTo>
                  <a:pt x="18" y="16"/>
                </a:lnTo>
                <a:lnTo>
                  <a:pt x="18" y="16"/>
                </a:lnTo>
                <a:lnTo>
                  <a:pt x="18" y="16"/>
                </a:lnTo>
                <a:lnTo>
                  <a:pt x="18" y="16"/>
                </a:lnTo>
                <a:lnTo>
                  <a:pt x="18" y="16"/>
                </a:lnTo>
                <a:lnTo>
                  <a:pt x="17" y="16"/>
                </a:lnTo>
                <a:lnTo>
                  <a:pt x="17" y="16"/>
                </a:lnTo>
                <a:lnTo>
                  <a:pt x="17" y="16"/>
                </a:lnTo>
                <a:lnTo>
                  <a:pt x="17" y="17"/>
                </a:lnTo>
                <a:lnTo>
                  <a:pt x="17" y="17"/>
                </a:lnTo>
                <a:lnTo>
                  <a:pt x="17" y="17"/>
                </a:lnTo>
                <a:lnTo>
                  <a:pt x="17" y="17"/>
                </a:lnTo>
                <a:lnTo>
                  <a:pt x="17" y="17"/>
                </a:lnTo>
                <a:lnTo>
                  <a:pt x="17" y="17"/>
                </a:lnTo>
                <a:lnTo>
                  <a:pt x="16" y="17"/>
                </a:lnTo>
                <a:lnTo>
                  <a:pt x="16" y="17"/>
                </a:lnTo>
                <a:lnTo>
                  <a:pt x="16" y="17"/>
                </a:lnTo>
                <a:lnTo>
                  <a:pt x="16" y="18"/>
                </a:lnTo>
                <a:lnTo>
                  <a:pt x="16" y="18"/>
                </a:lnTo>
                <a:lnTo>
                  <a:pt x="16" y="18"/>
                </a:lnTo>
                <a:lnTo>
                  <a:pt x="16" y="18"/>
                </a:lnTo>
                <a:lnTo>
                  <a:pt x="16" y="18"/>
                </a:lnTo>
                <a:lnTo>
                  <a:pt x="16" y="18"/>
                </a:lnTo>
                <a:lnTo>
                  <a:pt x="16" y="18"/>
                </a:lnTo>
                <a:lnTo>
                  <a:pt x="15" y="18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20"/>
                </a:lnTo>
                <a:lnTo>
                  <a:pt x="14" y="20"/>
                </a:lnTo>
                <a:lnTo>
                  <a:pt x="14" y="20"/>
                </a:lnTo>
                <a:lnTo>
                  <a:pt x="14" y="20"/>
                </a:lnTo>
                <a:lnTo>
                  <a:pt x="14" y="20"/>
                </a:lnTo>
                <a:lnTo>
                  <a:pt x="14" y="20"/>
                </a:lnTo>
                <a:lnTo>
                  <a:pt x="14" y="20"/>
                </a:lnTo>
                <a:lnTo>
                  <a:pt x="14" y="20"/>
                </a:lnTo>
                <a:lnTo>
                  <a:pt x="14" y="21"/>
                </a:lnTo>
                <a:lnTo>
                  <a:pt x="14" y="21"/>
                </a:lnTo>
                <a:lnTo>
                  <a:pt x="14" y="21"/>
                </a:lnTo>
                <a:lnTo>
                  <a:pt x="14" y="21"/>
                </a:lnTo>
                <a:lnTo>
                  <a:pt x="13" y="21"/>
                </a:lnTo>
                <a:lnTo>
                  <a:pt x="13" y="21"/>
                </a:lnTo>
                <a:lnTo>
                  <a:pt x="13" y="21"/>
                </a:lnTo>
                <a:lnTo>
                  <a:pt x="13" y="22"/>
                </a:lnTo>
                <a:lnTo>
                  <a:pt x="13" y="22"/>
                </a:lnTo>
                <a:lnTo>
                  <a:pt x="13" y="22"/>
                </a:lnTo>
                <a:lnTo>
                  <a:pt x="13" y="22"/>
                </a:lnTo>
                <a:lnTo>
                  <a:pt x="13" y="22"/>
                </a:lnTo>
                <a:lnTo>
                  <a:pt x="13" y="22"/>
                </a:lnTo>
                <a:lnTo>
                  <a:pt x="13" y="22"/>
                </a:lnTo>
                <a:lnTo>
                  <a:pt x="13" y="23"/>
                </a:lnTo>
                <a:lnTo>
                  <a:pt x="13" y="23"/>
                </a:lnTo>
                <a:lnTo>
                  <a:pt x="13" y="23"/>
                </a:lnTo>
                <a:lnTo>
                  <a:pt x="12" y="23"/>
                </a:lnTo>
                <a:lnTo>
                  <a:pt x="12" y="23"/>
                </a:lnTo>
                <a:lnTo>
                  <a:pt x="12" y="23"/>
                </a:lnTo>
                <a:lnTo>
                  <a:pt x="12" y="23"/>
                </a:lnTo>
                <a:lnTo>
                  <a:pt x="12" y="25"/>
                </a:lnTo>
                <a:lnTo>
                  <a:pt x="12" y="25"/>
                </a:lnTo>
                <a:lnTo>
                  <a:pt x="12" y="25"/>
                </a:lnTo>
                <a:lnTo>
                  <a:pt x="12" y="25"/>
                </a:lnTo>
                <a:lnTo>
                  <a:pt x="12" y="25"/>
                </a:lnTo>
                <a:lnTo>
                  <a:pt x="12" y="25"/>
                </a:lnTo>
                <a:lnTo>
                  <a:pt x="12" y="25"/>
                </a:lnTo>
                <a:lnTo>
                  <a:pt x="12" y="26"/>
                </a:lnTo>
                <a:lnTo>
                  <a:pt x="12" y="26"/>
                </a:lnTo>
                <a:lnTo>
                  <a:pt x="12" y="26"/>
                </a:lnTo>
                <a:lnTo>
                  <a:pt x="12" y="26"/>
                </a:lnTo>
                <a:lnTo>
                  <a:pt x="10" y="26"/>
                </a:lnTo>
                <a:lnTo>
                  <a:pt x="10" y="26"/>
                </a:lnTo>
                <a:lnTo>
                  <a:pt x="10" y="26"/>
                </a:lnTo>
                <a:lnTo>
                  <a:pt x="10" y="27"/>
                </a:lnTo>
                <a:lnTo>
                  <a:pt x="10" y="27"/>
                </a:lnTo>
                <a:lnTo>
                  <a:pt x="10" y="27"/>
                </a:lnTo>
                <a:lnTo>
                  <a:pt x="10" y="27"/>
                </a:lnTo>
                <a:lnTo>
                  <a:pt x="10" y="27"/>
                </a:lnTo>
                <a:lnTo>
                  <a:pt x="10" y="27"/>
                </a:lnTo>
                <a:lnTo>
                  <a:pt x="10" y="27"/>
                </a:lnTo>
                <a:lnTo>
                  <a:pt x="10" y="28"/>
                </a:lnTo>
                <a:lnTo>
                  <a:pt x="10" y="28"/>
                </a:lnTo>
                <a:lnTo>
                  <a:pt x="10" y="28"/>
                </a:lnTo>
                <a:lnTo>
                  <a:pt x="10" y="28"/>
                </a:lnTo>
                <a:lnTo>
                  <a:pt x="10" y="28"/>
                </a:lnTo>
                <a:lnTo>
                  <a:pt x="10" y="28"/>
                </a:lnTo>
                <a:lnTo>
                  <a:pt x="10" y="29"/>
                </a:lnTo>
                <a:lnTo>
                  <a:pt x="10" y="29"/>
                </a:lnTo>
                <a:lnTo>
                  <a:pt x="10" y="29"/>
                </a:lnTo>
                <a:lnTo>
                  <a:pt x="9" y="29"/>
                </a:lnTo>
                <a:lnTo>
                  <a:pt x="9" y="29"/>
                </a:lnTo>
                <a:lnTo>
                  <a:pt x="9" y="29"/>
                </a:lnTo>
                <a:lnTo>
                  <a:pt x="9" y="29"/>
                </a:lnTo>
                <a:lnTo>
                  <a:pt x="9" y="30"/>
                </a:lnTo>
                <a:lnTo>
                  <a:pt x="9" y="30"/>
                </a:lnTo>
                <a:lnTo>
                  <a:pt x="9" y="30"/>
                </a:lnTo>
                <a:lnTo>
                  <a:pt x="9" y="30"/>
                </a:lnTo>
                <a:lnTo>
                  <a:pt x="9" y="30"/>
                </a:lnTo>
                <a:lnTo>
                  <a:pt x="9" y="30"/>
                </a:lnTo>
                <a:lnTo>
                  <a:pt x="9" y="31"/>
                </a:lnTo>
                <a:lnTo>
                  <a:pt x="9" y="31"/>
                </a:lnTo>
                <a:lnTo>
                  <a:pt x="9" y="31"/>
                </a:lnTo>
                <a:lnTo>
                  <a:pt x="9" y="31"/>
                </a:lnTo>
                <a:lnTo>
                  <a:pt x="9" y="31"/>
                </a:lnTo>
                <a:lnTo>
                  <a:pt x="9" y="31"/>
                </a:lnTo>
                <a:lnTo>
                  <a:pt x="9" y="32"/>
                </a:lnTo>
                <a:lnTo>
                  <a:pt x="9" y="32"/>
                </a:lnTo>
                <a:lnTo>
                  <a:pt x="9" y="32"/>
                </a:lnTo>
                <a:lnTo>
                  <a:pt x="9" y="32"/>
                </a:lnTo>
                <a:lnTo>
                  <a:pt x="9" y="32"/>
                </a:lnTo>
                <a:lnTo>
                  <a:pt x="9" y="32"/>
                </a:lnTo>
                <a:lnTo>
                  <a:pt x="9" y="34"/>
                </a:lnTo>
                <a:lnTo>
                  <a:pt x="9" y="34"/>
                </a:lnTo>
                <a:lnTo>
                  <a:pt x="9" y="34"/>
                </a:lnTo>
                <a:lnTo>
                  <a:pt x="9" y="34"/>
                </a:lnTo>
                <a:lnTo>
                  <a:pt x="9" y="34"/>
                </a:lnTo>
                <a:lnTo>
                  <a:pt x="9" y="34"/>
                </a:lnTo>
                <a:lnTo>
                  <a:pt x="9" y="35"/>
                </a:lnTo>
                <a:lnTo>
                  <a:pt x="9" y="35"/>
                </a:lnTo>
                <a:lnTo>
                  <a:pt x="9" y="35"/>
                </a:lnTo>
                <a:lnTo>
                  <a:pt x="9" y="35"/>
                </a:lnTo>
                <a:lnTo>
                  <a:pt x="9" y="35"/>
                </a:lnTo>
                <a:lnTo>
                  <a:pt x="9" y="35"/>
                </a:lnTo>
                <a:lnTo>
                  <a:pt x="9" y="36"/>
                </a:lnTo>
                <a:lnTo>
                  <a:pt x="9" y="36"/>
                </a:lnTo>
                <a:lnTo>
                  <a:pt x="9" y="36"/>
                </a:lnTo>
                <a:lnTo>
                  <a:pt x="9" y="36"/>
                </a:lnTo>
                <a:lnTo>
                  <a:pt x="9" y="36"/>
                </a:lnTo>
                <a:lnTo>
                  <a:pt x="9" y="36"/>
                </a:lnTo>
                <a:lnTo>
                  <a:pt x="9" y="37"/>
                </a:lnTo>
                <a:lnTo>
                  <a:pt x="9" y="37"/>
                </a:lnTo>
                <a:lnTo>
                  <a:pt x="9" y="37"/>
                </a:lnTo>
                <a:lnTo>
                  <a:pt x="9" y="37"/>
                </a:lnTo>
                <a:lnTo>
                  <a:pt x="9" y="37"/>
                </a:lnTo>
                <a:lnTo>
                  <a:pt x="9" y="37"/>
                </a:lnTo>
                <a:lnTo>
                  <a:pt x="9" y="38"/>
                </a:lnTo>
                <a:lnTo>
                  <a:pt x="9" y="38"/>
                </a:lnTo>
                <a:lnTo>
                  <a:pt x="9" y="38"/>
                </a:lnTo>
                <a:lnTo>
                  <a:pt x="9" y="38"/>
                </a:lnTo>
                <a:lnTo>
                  <a:pt x="9" y="38"/>
                </a:lnTo>
                <a:lnTo>
                  <a:pt x="9" y="38"/>
                </a:lnTo>
                <a:lnTo>
                  <a:pt x="9" y="39"/>
                </a:lnTo>
                <a:lnTo>
                  <a:pt x="9" y="39"/>
                </a:lnTo>
                <a:lnTo>
                  <a:pt x="9" y="39"/>
                </a:lnTo>
                <a:lnTo>
                  <a:pt x="9" y="39"/>
                </a:lnTo>
                <a:lnTo>
                  <a:pt x="9" y="39"/>
                </a:lnTo>
                <a:lnTo>
                  <a:pt x="9" y="39"/>
                </a:lnTo>
                <a:lnTo>
                  <a:pt x="9" y="40"/>
                </a:lnTo>
                <a:lnTo>
                  <a:pt x="9" y="40"/>
                </a:lnTo>
                <a:lnTo>
                  <a:pt x="9" y="40"/>
                </a:lnTo>
                <a:lnTo>
                  <a:pt x="9" y="40"/>
                </a:lnTo>
                <a:lnTo>
                  <a:pt x="9" y="40"/>
                </a:lnTo>
                <a:lnTo>
                  <a:pt x="9" y="40"/>
                </a:lnTo>
                <a:lnTo>
                  <a:pt x="9" y="41"/>
                </a:lnTo>
                <a:lnTo>
                  <a:pt x="9" y="41"/>
                </a:lnTo>
                <a:lnTo>
                  <a:pt x="9" y="41"/>
                </a:lnTo>
                <a:lnTo>
                  <a:pt x="9" y="41"/>
                </a:lnTo>
                <a:lnTo>
                  <a:pt x="9" y="41"/>
                </a:lnTo>
                <a:lnTo>
                  <a:pt x="9" y="41"/>
                </a:lnTo>
                <a:lnTo>
                  <a:pt x="9" y="43"/>
                </a:lnTo>
                <a:lnTo>
                  <a:pt x="9" y="43"/>
                </a:lnTo>
                <a:lnTo>
                  <a:pt x="9" y="43"/>
                </a:lnTo>
                <a:lnTo>
                  <a:pt x="9" y="43"/>
                </a:lnTo>
                <a:lnTo>
                  <a:pt x="9" y="43"/>
                </a:lnTo>
                <a:lnTo>
                  <a:pt x="9" y="43"/>
                </a:lnTo>
                <a:lnTo>
                  <a:pt x="9" y="44"/>
                </a:lnTo>
                <a:lnTo>
                  <a:pt x="9" y="44"/>
                </a:lnTo>
                <a:lnTo>
                  <a:pt x="9" y="44"/>
                </a:lnTo>
                <a:lnTo>
                  <a:pt x="9" y="44"/>
                </a:lnTo>
                <a:lnTo>
                  <a:pt x="9" y="44"/>
                </a:lnTo>
                <a:lnTo>
                  <a:pt x="9" y="44"/>
                </a:lnTo>
                <a:lnTo>
                  <a:pt x="9" y="44"/>
                </a:lnTo>
                <a:lnTo>
                  <a:pt x="9" y="45"/>
                </a:lnTo>
                <a:lnTo>
                  <a:pt x="9" y="45"/>
                </a:lnTo>
                <a:lnTo>
                  <a:pt x="9" y="45"/>
                </a:lnTo>
                <a:lnTo>
                  <a:pt x="9" y="45"/>
                </a:lnTo>
                <a:lnTo>
                  <a:pt x="10" y="45"/>
                </a:lnTo>
                <a:lnTo>
                  <a:pt x="10" y="45"/>
                </a:lnTo>
                <a:lnTo>
                  <a:pt x="10" y="46"/>
                </a:lnTo>
                <a:lnTo>
                  <a:pt x="10" y="46"/>
                </a:lnTo>
                <a:lnTo>
                  <a:pt x="10" y="46"/>
                </a:lnTo>
                <a:lnTo>
                  <a:pt x="10" y="46"/>
                </a:lnTo>
                <a:lnTo>
                  <a:pt x="10" y="46"/>
                </a:lnTo>
                <a:lnTo>
                  <a:pt x="10" y="46"/>
                </a:lnTo>
                <a:lnTo>
                  <a:pt x="10" y="47"/>
                </a:lnTo>
                <a:lnTo>
                  <a:pt x="10" y="47"/>
                </a:lnTo>
                <a:lnTo>
                  <a:pt x="10" y="47"/>
                </a:lnTo>
                <a:lnTo>
                  <a:pt x="10" y="47"/>
                </a:lnTo>
                <a:lnTo>
                  <a:pt x="10" y="47"/>
                </a:lnTo>
                <a:lnTo>
                  <a:pt x="10" y="47"/>
                </a:lnTo>
                <a:lnTo>
                  <a:pt x="10" y="47"/>
                </a:lnTo>
                <a:lnTo>
                  <a:pt x="10" y="48"/>
                </a:lnTo>
                <a:lnTo>
                  <a:pt x="10" y="48"/>
                </a:lnTo>
                <a:lnTo>
                  <a:pt x="10" y="48"/>
                </a:lnTo>
                <a:lnTo>
                  <a:pt x="10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9"/>
                </a:lnTo>
                <a:lnTo>
                  <a:pt x="12" y="49"/>
                </a:lnTo>
                <a:lnTo>
                  <a:pt x="12" y="49"/>
                </a:lnTo>
                <a:lnTo>
                  <a:pt x="12" y="49"/>
                </a:lnTo>
                <a:lnTo>
                  <a:pt x="12" y="49"/>
                </a:lnTo>
                <a:lnTo>
                  <a:pt x="12" y="49"/>
                </a:lnTo>
                <a:lnTo>
                  <a:pt x="12" y="49"/>
                </a:lnTo>
                <a:lnTo>
                  <a:pt x="12" y="50"/>
                </a:lnTo>
                <a:lnTo>
                  <a:pt x="12" y="50"/>
                </a:lnTo>
                <a:lnTo>
                  <a:pt x="12" y="50"/>
                </a:lnTo>
                <a:lnTo>
                  <a:pt x="12" y="50"/>
                </a:lnTo>
                <a:lnTo>
                  <a:pt x="12" y="50"/>
                </a:lnTo>
                <a:lnTo>
                  <a:pt x="13" y="50"/>
                </a:lnTo>
                <a:lnTo>
                  <a:pt x="13" y="50"/>
                </a:lnTo>
                <a:lnTo>
                  <a:pt x="13" y="52"/>
                </a:lnTo>
                <a:lnTo>
                  <a:pt x="13" y="52"/>
                </a:lnTo>
                <a:lnTo>
                  <a:pt x="13" y="52"/>
                </a:lnTo>
                <a:lnTo>
                  <a:pt x="13" y="52"/>
                </a:lnTo>
                <a:lnTo>
                  <a:pt x="13" y="52"/>
                </a:lnTo>
                <a:lnTo>
                  <a:pt x="13" y="52"/>
                </a:lnTo>
                <a:lnTo>
                  <a:pt x="13" y="52"/>
                </a:lnTo>
                <a:lnTo>
                  <a:pt x="13" y="53"/>
                </a:lnTo>
                <a:lnTo>
                  <a:pt x="13" y="53"/>
                </a:lnTo>
                <a:lnTo>
                  <a:pt x="13" y="53"/>
                </a:lnTo>
                <a:lnTo>
                  <a:pt x="13" y="53"/>
                </a:lnTo>
                <a:lnTo>
                  <a:pt x="14" y="53"/>
                </a:lnTo>
                <a:lnTo>
                  <a:pt x="14" y="53"/>
                </a:lnTo>
                <a:lnTo>
                  <a:pt x="14" y="53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6"/>
                </a:lnTo>
                <a:lnTo>
                  <a:pt x="15" y="56"/>
                </a:lnTo>
                <a:lnTo>
                  <a:pt x="16" y="56"/>
                </a:lnTo>
                <a:lnTo>
                  <a:pt x="16" y="56"/>
                </a:lnTo>
                <a:lnTo>
                  <a:pt x="16" y="56"/>
                </a:lnTo>
                <a:lnTo>
                  <a:pt x="16" y="56"/>
                </a:lnTo>
                <a:lnTo>
                  <a:pt x="16" y="56"/>
                </a:lnTo>
                <a:lnTo>
                  <a:pt x="16" y="56"/>
                </a:lnTo>
                <a:lnTo>
                  <a:pt x="16" y="57"/>
                </a:lnTo>
                <a:lnTo>
                  <a:pt x="16" y="57"/>
                </a:lnTo>
                <a:lnTo>
                  <a:pt x="16" y="57"/>
                </a:lnTo>
                <a:lnTo>
                  <a:pt x="16" y="57"/>
                </a:lnTo>
                <a:lnTo>
                  <a:pt x="17" y="57"/>
                </a:lnTo>
                <a:lnTo>
                  <a:pt x="17" y="57"/>
                </a:lnTo>
                <a:lnTo>
                  <a:pt x="17" y="57"/>
                </a:lnTo>
                <a:lnTo>
                  <a:pt x="17" y="57"/>
                </a:lnTo>
                <a:lnTo>
                  <a:pt x="17" y="57"/>
                </a:lnTo>
                <a:lnTo>
                  <a:pt x="17" y="58"/>
                </a:lnTo>
                <a:lnTo>
                  <a:pt x="17" y="58"/>
                </a:lnTo>
                <a:lnTo>
                  <a:pt x="17" y="58"/>
                </a:lnTo>
                <a:lnTo>
                  <a:pt x="17" y="58"/>
                </a:lnTo>
                <a:lnTo>
                  <a:pt x="18" y="58"/>
                </a:lnTo>
                <a:lnTo>
                  <a:pt x="18" y="58"/>
                </a:lnTo>
                <a:lnTo>
                  <a:pt x="18" y="58"/>
                </a:lnTo>
                <a:lnTo>
                  <a:pt x="18" y="58"/>
                </a:lnTo>
                <a:lnTo>
                  <a:pt x="18" y="58"/>
                </a:lnTo>
                <a:lnTo>
                  <a:pt x="18" y="59"/>
                </a:lnTo>
                <a:lnTo>
                  <a:pt x="18" y="59"/>
                </a:lnTo>
                <a:lnTo>
                  <a:pt x="18" y="59"/>
                </a:lnTo>
                <a:lnTo>
                  <a:pt x="19" y="59"/>
                </a:lnTo>
                <a:lnTo>
                  <a:pt x="19" y="59"/>
                </a:lnTo>
                <a:lnTo>
                  <a:pt x="19" y="59"/>
                </a:lnTo>
                <a:lnTo>
                  <a:pt x="19" y="59"/>
                </a:lnTo>
                <a:lnTo>
                  <a:pt x="19" y="59"/>
                </a:lnTo>
                <a:lnTo>
                  <a:pt x="19" y="59"/>
                </a:lnTo>
                <a:lnTo>
                  <a:pt x="19" y="59"/>
                </a:lnTo>
                <a:lnTo>
                  <a:pt x="19" y="61"/>
                </a:lnTo>
                <a:lnTo>
                  <a:pt x="19" y="61"/>
                </a:lnTo>
                <a:lnTo>
                  <a:pt x="21" y="61"/>
                </a:lnTo>
                <a:lnTo>
                  <a:pt x="21" y="61"/>
                </a:lnTo>
                <a:lnTo>
                  <a:pt x="21" y="61"/>
                </a:lnTo>
                <a:lnTo>
                  <a:pt x="21" y="61"/>
                </a:lnTo>
                <a:lnTo>
                  <a:pt x="21" y="61"/>
                </a:lnTo>
                <a:lnTo>
                  <a:pt x="21" y="61"/>
                </a:lnTo>
                <a:lnTo>
                  <a:pt x="21" y="61"/>
                </a:lnTo>
                <a:lnTo>
                  <a:pt x="22" y="61"/>
                </a:lnTo>
                <a:lnTo>
                  <a:pt x="22" y="62"/>
                </a:lnTo>
                <a:lnTo>
                  <a:pt x="22" y="62"/>
                </a:lnTo>
                <a:lnTo>
                  <a:pt x="22" y="62"/>
                </a:lnTo>
                <a:lnTo>
                  <a:pt x="22" y="62"/>
                </a:lnTo>
                <a:lnTo>
                  <a:pt x="22" y="62"/>
                </a:lnTo>
                <a:lnTo>
                  <a:pt x="22" y="62"/>
                </a:lnTo>
                <a:lnTo>
                  <a:pt x="22" y="62"/>
                </a:lnTo>
                <a:lnTo>
                  <a:pt x="23" y="62"/>
                </a:lnTo>
                <a:lnTo>
                  <a:pt x="23" y="62"/>
                </a:lnTo>
                <a:lnTo>
                  <a:pt x="23" y="62"/>
                </a:lnTo>
                <a:lnTo>
                  <a:pt x="23" y="62"/>
                </a:lnTo>
                <a:lnTo>
                  <a:pt x="23" y="63"/>
                </a:lnTo>
                <a:lnTo>
                  <a:pt x="23" y="63"/>
                </a:lnTo>
                <a:lnTo>
                  <a:pt x="23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5" y="63"/>
                </a:lnTo>
                <a:lnTo>
                  <a:pt x="25" y="63"/>
                </a:lnTo>
                <a:lnTo>
                  <a:pt x="25" y="64"/>
                </a:lnTo>
                <a:lnTo>
                  <a:pt x="25" y="64"/>
                </a:lnTo>
                <a:lnTo>
                  <a:pt x="25" y="64"/>
                </a:lnTo>
                <a:lnTo>
                  <a:pt x="25" y="64"/>
                </a:lnTo>
                <a:lnTo>
                  <a:pt x="25" y="64"/>
                </a:lnTo>
                <a:lnTo>
                  <a:pt x="26" y="64"/>
                </a:lnTo>
                <a:lnTo>
                  <a:pt x="26" y="64"/>
                </a:lnTo>
                <a:lnTo>
                  <a:pt x="26" y="64"/>
                </a:lnTo>
                <a:lnTo>
                  <a:pt x="26" y="64"/>
                </a:lnTo>
                <a:lnTo>
                  <a:pt x="26" y="64"/>
                </a:lnTo>
                <a:lnTo>
                  <a:pt x="26" y="64"/>
                </a:lnTo>
                <a:lnTo>
                  <a:pt x="26" y="64"/>
                </a:lnTo>
                <a:lnTo>
                  <a:pt x="27" y="64"/>
                </a:lnTo>
                <a:lnTo>
                  <a:pt x="27" y="64"/>
                </a:lnTo>
                <a:lnTo>
                  <a:pt x="27" y="64"/>
                </a:lnTo>
                <a:lnTo>
                  <a:pt x="27" y="65"/>
                </a:lnTo>
                <a:lnTo>
                  <a:pt x="27" y="65"/>
                </a:lnTo>
                <a:lnTo>
                  <a:pt x="27" y="65"/>
                </a:lnTo>
                <a:lnTo>
                  <a:pt x="28" y="65"/>
                </a:lnTo>
                <a:lnTo>
                  <a:pt x="28" y="65"/>
                </a:lnTo>
                <a:lnTo>
                  <a:pt x="28" y="65"/>
                </a:lnTo>
                <a:lnTo>
                  <a:pt x="28" y="65"/>
                </a:lnTo>
                <a:lnTo>
                  <a:pt x="28" y="65"/>
                </a:lnTo>
                <a:lnTo>
                  <a:pt x="28" y="65"/>
                </a:lnTo>
                <a:lnTo>
                  <a:pt x="28" y="65"/>
                </a:lnTo>
                <a:lnTo>
                  <a:pt x="30" y="65"/>
                </a:lnTo>
                <a:lnTo>
                  <a:pt x="30" y="65"/>
                </a:lnTo>
                <a:lnTo>
                  <a:pt x="30" y="65"/>
                </a:lnTo>
                <a:lnTo>
                  <a:pt x="30" y="65"/>
                </a:lnTo>
                <a:lnTo>
                  <a:pt x="30" y="65"/>
                </a:lnTo>
                <a:lnTo>
                  <a:pt x="30" y="65"/>
                </a:lnTo>
                <a:lnTo>
                  <a:pt x="31" y="65"/>
                </a:lnTo>
                <a:lnTo>
                  <a:pt x="31" y="65"/>
                </a:lnTo>
                <a:lnTo>
                  <a:pt x="31" y="65"/>
                </a:lnTo>
                <a:lnTo>
                  <a:pt x="31" y="66"/>
                </a:lnTo>
                <a:lnTo>
                  <a:pt x="31" y="66"/>
                </a:lnTo>
                <a:lnTo>
                  <a:pt x="31" y="66"/>
                </a:lnTo>
                <a:lnTo>
                  <a:pt x="31" y="66"/>
                </a:lnTo>
                <a:lnTo>
                  <a:pt x="32" y="66"/>
                </a:lnTo>
                <a:lnTo>
                  <a:pt x="32" y="66"/>
                </a:lnTo>
                <a:lnTo>
                  <a:pt x="32" y="66"/>
                </a:lnTo>
                <a:lnTo>
                  <a:pt x="32" y="66"/>
                </a:lnTo>
                <a:lnTo>
                  <a:pt x="32" y="66"/>
                </a:lnTo>
                <a:lnTo>
                  <a:pt x="32" y="66"/>
                </a:lnTo>
                <a:lnTo>
                  <a:pt x="33" y="66"/>
                </a:lnTo>
                <a:lnTo>
                  <a:pt x="33" y="66"/>
                </a:lnTo>
                <a:lnTo>
                  <a:pt x="33" y="66"/>
                </a:lnTo>
                <a:lnTo>
                  <a:pt x="33" y="66"/>
                </a:lnTo>
                <a:lnTo>
                  <a:pt x="33" y="66"/>
                </a:lnTo>
                <a:lnTo>
                  <a:pt x="33" y="66"/>
                </a:lnTo>
                <a:lnTo>
                  <a:pt x="34" y="66"/>
                </a:lnTo>
                <a:lnTo>
                  <a:pt x="34" y="66"/>
                </a:lnTo>
                <a:lnTo>
                  <a:pt x="34" y="66"/>
                </a:lnTo>
                <a:lnTo>
                  <a:pt x="34" y="66"/>
                </a:lnTo>
                <a:lnTo>
                  <a:pt x="34" y="66"/>
                </a:lnTo>
                <a:lnTo>
                  <a:pt x="34" y="66"/>
                </a:lnTo>
                <a:lnTo>
                  <a:pt x="35" y="66"/>
                </a:lnTo>
                <a:lnTo>
                  <a:pt x="35" y="66"/>
                </a:lnTo>
                <a:lnTo>
                  <a:pt x="35" y="66"/>
                </a:lnTo>
                <a:lnTo>
                  <a:pt x="35" y="66"/>
                </a:lnTo>
                <a:lnTo>
                  <a:pt x="35" y="66"/>
                </a:lnTo>
                <a:lnTo>
                  <a:pt x="35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7" y="66"/>
                </a:lnTo>
                <a:lnTo>
                  <a:pt x="37" y="66"/>
                </a:lnTo>
                <a:lnTo>
                  <a:pt x="37" y="66"/>
                </a:lnTo>
                <a:lnTo>
                  <a:pt x="37" y="66"/>
                </a:lnTo>
                <a:lnTo>
                  <a:pt x="37" y="66"/>
                </a:lnTo>
                <a:lnTo>
                  <a:pt x="37" y="66"/>
                </a:lnTo>
                <a:lnTo>
                  <a:pt x="39" y="66"/>
                </a:lnTo>
                <a:lnTo>
                  <a:pt x="39" y="66"/>
                </a:lnTo>
                <a:lnTo>
                  <a:pt x="39" y="66"/>
                </a:lnTo>
                <a:lnTo>
                  <a:pt x="39" y="66"/>
                </a:lnTo>
                <a:close/>
                <a:moveTo>
                  <a:pt x="76" y="37"/>
                </a:moveTo>
                <a:lnTo>
                  <a:pt x="76" y="37"/>
                </a:lnTo>
                <a:lnTo>
                  <a:pt x="76" y="37"/>
                </a:lnTo>
                <a:lnTo>
                  <a:pt x="76" y="38"/>
                </a:lnTo>
                <a:lnTo>
                  <a:pt x="76" y="38"/>
                </a:lnTo>
                <a:lnTo>
                  <a:pt x="76" y="38"/>
                </a:lnTo>
                <a:lnTo>
                  <a:pt x="76" y="38"/>
                </a:lnTo>
                <a:lnTo>
                  <a:pt x="76" y="39"/>
                </a:lnTo>
                <a:lnTo>
                  <a:pt x="76" y="39"/>
                </a:lnTo>
                <a:lnTo>
                  <a:pt x="76" y="39"/>
                </a:lnTo>
                <a:lnTo>
                  <a:pt x="76" y="39"/>
                </a:lnTo>
                <a:lnTo>
                  <a:pt x="76" y="39"/>
                </a:lnTo>
                <a:lnTo>
                  <a:pt x="76" y="40"/>
                </a:lnTo>
                <a:lnTo>
                  <a:pt x="76" y="40"/>
                </a:lnTo>
                <a:lnTo>
                  <a:pt x="76" y="40"/>
                </a:lnTo>
                <a:lnTo>
                  <a:pt x="76" y="40"/>
                </a:lnTo>
                <a:lnTo>
                  <a:pt x="76" y="40"/>
                </a:lnTo>
                <a:lnTo>
                  <a:pt x="76" y="41"/>
                </a:lnTo>
                <a:lnTo>
                  <a:pt x="76" y="41"/>
                </a:lnTo>
                <a:lnTo>
                  <a:pt x="76" y="41"/>
                </a:lnTo>
                <a:lnTo>
                  <a:pt x="76" y="41"/>
                </a:lnTo>
                <a:lnTo>
                  <a:pt x="76" y="43"/>
                </a:lnTo>
                <a:lnTo>
                  <a:pt x="76" y="43"/>
                </a:lnTo>
                <a:lnTo>
                  <a:pt x="76" y="43"/>
                </a:lnTo>
                <a:lnTo>
                  <a:pt x="76" y="43"/>
                </a:lnTo>
                <a:lnTo>
                  <a:pt x="76" y="43"/>
                </a:lnTo>
                <a:lnTo>
                  <a:pt x="76" y="44"/>
                </a:lnTo>
                <a:lnTo>
                  <a:pt x="76" y="44"/>
                </a:lnTo>
                <a:lnTo>
                  <a:pt x="76" y="44"/>
                </a:lnTo>
                <a:lnTo>
                  <a:pt x="76" y="44"/>
                </a:lnTo>
                <a:lnTo>
                  <a:pt x="76" y="44"/>
                </a:lnTo>
                <a:lnTo>
                  <a:pt x="76" y="45"/>
                </a:lnTo>
                <a:lnTo>
                  <a:pt x="76" y="45"/>
                </a:lnTo>
                <a:lnTo>
                  <a:pt x="76" y="45"/>
                </a:lnTo>
                <a:lnTo>
                  <a:pt x="75" y="45"/>
                </a:lnTo>
                <a:lnTo>
                  <a:pt x="75" y="45"/>
                </a:lnTo>
                <a:lnTo>
                  <a:pt x="75" y="46"/>
                </a:lnTo>
                <a:lnTo>
                  <a:pt x="75" y="46"/>
                </a:lnTo>
                <a:lnTo>
                  <a:pt x="75" y="46"/>
                </a:lnTo>
                <a:lnTo>
                  <a:pt x="75" y="46"/>
                </a:lnTo>
                <a:lnTo>
                  <a:pt x="75" y="46"/>
                </a:lnTo>
                <a:lnTo>
                  <a:pt x="75" y="47"/>
                </a:lnTo>
                <a:lnTo>
                  <a:pt x="75" y="47"/>
                </a:lnTo>
                <a:lnTo>
                  <a:pt x="75" y="47"/>
                </a:lnTo>
                <a:lnTo>
                  <a:pt x="75" y="47"/>
                </a:lnTo>
                <a:lnTo>
                  <a:pt x="75" y="47"/>
                </a:lnTo>
                <a:lnTo>
                  <a:pt x="75" y="48"/>
                </a:lnTo>
                <a:lnTo>
                  <a:pt x="75" y="48"/>
                </a:lnTo>
                <a:lnTo>
                  <a:pt x="75" y="48"/>
                </a:lnTo>
                <a:lnTo>
                  <a:pt x="75" y="48"/>
                </a:lnTo>
                <a:lnTo>
                  <a:pt x="75" y="48"/>
                </a:lnTo>
                <a:lnTo>
                  <a:pt x="75" y="49"/>
                </a:lnTo>
                <a:lnTo>
                  <a:pt x="75" y="49"/>
                </a:lnTo>
                <a:lnTo>
                  <a:pt x="73" y="49"/>
                </a:lnTo>
                <a:lnTo>
                  <a:pt x="73" y="49"/>
                </a:lnTo>
                <a:lnTo>
                  <a:pt x="73" y="49"/>
                </a:lnTo>
                <a:lnTo>
                  <a:pt x="73" y="50"/>
                </a:lnTo>
                <a:lnTo>
                  <a:pt x="73" y="50"/>
                </a:lnTo>
                <a:lnTo>
                  <a:pt x="73" y="50"/>
                </a:lnTo>
                <a:lnTo>
                  <a:pt x="73" y="50"/>
                </a:lnTo>
                <a:lnTo>
                  <a:pt x="73" y="50"/>
                </a:lnTo>
                <a:lnTo>
                  <a:pt x="73" y="50"/>
                </a:lnTo>
                <a:lnTo>
                  <a:pt x="73" y="52"/>
                </a:lnTo>
                <a:lnTo>
                  <a:pt x="73" y="52"/>
                </a:lnTo>
                <a:lnTo>
                  <a:pt x="73" y="52"/>
                </a:lnTo>
                <a:lnTo>
                  <a:pt x="73" y="52"/>
                </a:lnTo>
                <a:lnTo>
                  <a:pt x="72" y="52"/>
                </a:lnTo>
                <a:lnTo>
                  <a:pt x="72" y="53"/>
                </a:lnTo>
                <a:lnTo>
                  <a:pt x="72" y="53"/>
                </a:lnTo>
                <a:lnTo>
                  <a:pt x="72" y="53"/>
                </a:lnTo>
                <a:lnTo>
                  <a:pt x="72" y="53"/>
                </a:lnTo>
                <a:lnTo>
                  <a:pt x="72" y="53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1" y="55"/>
                </a:lnTo>
                <a:lnTo>
                  <a:pt x="71" y="55"/>
                </a:lnTo>
                <a:lnTo>
                  <a:pt x="71" y="55"/>
                </a:lnTo>
                <a:lnTo>
                  <a:pt x="71" y="55"/>
                </a:lnTo>
                <a:lnTo>
                  <a:pt x="71" y="55"/>
                </a:lnTo>
                <a:lnTo>
                  <a:pt x="71" y="56"/>
                </a:lnTo>
                <a:lnTo>
                  <a:pt x="71" y="56"/>
                </a:lnTo>
                <a:lnTo>
                  <a:pt x="71" y="56"/>
                </a:lnTo>
                <a:lnTo>
                  <a:pt x="71" y="56"/>
                </a:lnTo>
                <a:lnTo>
                  <a:pt x="71" y="56"/>
                </a:lnTo>
                <a:lnTo>
                  <a:pt x="70" y="56"/>
                </a:lnTo>
                <a:lnTo>
                  <a:pt x="70" y="57"/>
                </a:lnTo>
                <a:lnTo>
                  <a:pt x="70" y="57"/>
                </a:lnTo>
                <a:lnTo>
                  <a:pt x="70" y="57"/>
                </a:lnTo>
                <a:lnTo>
                  <a:pt x="70" y="57"/>
                </a:lnTo>
                <a:lnTo>
                  <a:pt x="70" y="57"/>
                </a:lnTo>
                <a:lnTo>
                  <a:pt x="70" y="57"/>
                </a:lnTo>
                <a:lnTo>
                  <a:pt x="70" y="58"/>
                </a:lnTo>
                <a:lnTo>
                  <a:pt x="70" y="58"/>
                </a:lnTo>
                <a:lnTo>
                  <a:pt x="69" y="58"/>
                </a:lnTo>
                <a:lnTo>
                  <a:pt x="69" y="58"/>
                </a:lnTo>
                <a:lnTo>
                  <a:pt x="69" y="58"/>
                </a:lnTo>
                <a:lnTo>
                  <a:pt x="69" y="58"/>
                </a:lnTo>
                <a:lnTo>
                  <a:pt x="69" y="59"/>
                </a:lnTo>
                <a:lnTo>
                  <a:pt x="69" y="59"/>
                </a:lnTo>
                <a:lnTo>
                  <a:pt x="69" y="59"/>
                </a:lnTo>
                <a:lnTo>
                  <a:pt x="69" y="59"/>
                </a:lnTo>
                <a:lnTo>
                  <a:pt x="69" y="59"/>
                </a:lnTo>
                <a:lnTo>
                  <a:pt x="68" y="59"/>
                </a:lnTo>
                <a:lnTo>
                  <a:pt x="68" y="61"/>
                </a:lnTo>
                <a:lnTo>
                  <a:pt x="68" y="61"/>
                </a:lnTo>
                <a:lnTo>
                  <a:pt x="68" y="61"/>
                </a:lnTo>
                <a:lnTo>
                  <a:pt x="68" y="61"/>
                </a:lnTo>
                <a:lnTo>
                  <a:pt x="68" y="61"/>
                </a:lnTo>
                <a:lnTo>
                  <a:pt x="68" y="61"/>
                </a:lnTo>
                <a:lnTo>
                  <a:pt x="67" y="61"/>
                </a:lnTo>
                <a:lnTo>
                  <a:pt x="67" y="62"/>
                </a:lnTo>
                <a:lnTo>
                  <a:pt x="67" y="62"/>
                </a:lnTo>
                <a:lnTo>
                  <a:pt x="67" y="62"/>
                </a:lnTo>
                <a:lnTo>
                  <a:pt x="67" y="62"/>
                </a:lnTo>
                <a:lnTo>
                  <a:pt x="67" y="62"/>
                </a:lnTo>
                <a:lnTo>
                  <a:pt x="67" y="62"/>
                </a:lnTo>
                <a:lnTo>
                  <a:pt x="67" y="63"/>
                </a:lnTo>
                <a:lnTo>
                  <a:pt x="66" y="63"/>
                </a:lnTo>
                <a:lnTo>
                  <a:pt x="66" y="63"/>
                </a:lnTo>
                <a:lnTo>
                  <a:pt x="66" y="63"/>
                </a:lnTo>
                <a:lnTo>
                  <a:pt x="66" y="63"/>
                </a:lnTo>
                <a:lnTo>
                  <a:pt x="66" y="63"/>
                </a:lnTo>
                <a:lnTo>
                  <a:pt x="66" y="63"/>
                </a:lnTo>
                <a:lnTo>
                  <a:pt x="66" y="64"/>
                </a:lnTo>
                <a:lnTo>
                  <a:pt x="64" y="64"/>
                </a:lnTo>
                <a:lnTo>
                  <a:pt x="64" y="64"/>
                </a:lnTo>
                <a:lnTo>
                  <a:pt x="64" y="64"/>
                </a:lnTo>
                <a:lnTo>
                  <a:pt x="64" y="64"/>
                </a:lnTo>
                <a:lnTo>
                  <a:pt x="64" y="64"/>
                </a:lnTo>
                <a:lnTo>
                  <a:pt x="64" y="64"/>
                </a:lnTo>
                <a:lnTo>
                  <a:pt x="64" y="65"/>
                </a:lnTo>
                <a:lnTo>
                  <a:pt x="63" y="65"/>
                </a:lnTo>
                <a:lnTo>
                  <a:pt x="63" y="65"/>
                </a:lnTo>
                <a:lnTo>
                  <a:pt x="63" y="65"/>
                </a:lnTo>
                <a:lnTo>
                  <a:pt x="63" y="65"/>
                </a:lnTo>
                <a:lnTo>
                  <a:pt x="63" y="65"/>
                </a:lnTo>
                <a:lnTo>
                  <a:pt x="63" y="65"/>
                </a:lnTo>
                <a:lnTo>
                  <a:pt x="63" y="65"/>
                </a:lnTo>
                <a:lnTo>
                  <a:pt x="62" y="66"/>
                </a:lnTo>
                <a:lnTo>
                  <a:pt x="62" y="66"/>
                </a:lnTo>
                <a:lnTo>
                  <a:pt x="62" y="66"/>
                </a:lnTo>
                <a:lnTo>
                  <a:pt x="62" y="66"/>
                </a:lnTo>
                <a:lnTo>
                  <a:pt x="62" y="66"/>
                </a:lnTo>
                <a:lnTo>
                  <a:pt x="62" y="66"/>
                </a:lnTo>
                <a:lnTo>
                  <a:pt x="61" y="66"/>
                </a:lnTo>
                <a:lnTo>
                  <a:pt x="61" y="66"/>
                </a:lnTo>
                <a:lnTo>
                  <a:pt x="61" y="67"/>
                </a:lnTo>
                <a:lnTo>
                  <a:pt x="61" y="67"/>
                </a:lnTo>
                <a:lnTo>
                  <a:pt x="61" y="67"/>
                </a:lnTo>
                <a:lnTo>
                  <a:pt x="61" y="67"/>
                </a:lnTo>
                <a:lnTo>
                  <a:pt x="61" y="67"/>
                </a:lnTo>
                <a:lnTo>
                  <a:pt x="60" y="67"/>
                </a:lnTo>
                <a:lnTo>
                  <a:pt x="60" y="67"/>
                </a:lnTo>
                <a:lnTo>
                  <a:pt x="60" y="67"/>
                </a:lnTo>
                <a:lnTo>
                  <a:pt x="60" y="68"/>
                </a:lnTo>
                <a:lnTo>
                  <a:pt x="60" y="68"/>
                </a:lnTo>
                <a:lnTo>
                  <a:pt x="60" y="68"/>
                </a:lnTo>
                <a:lnTo>
                  <a:pt x="59" y="68"/>
                </a:lnTo>
                <a:lnTo>
                  <a:pt x="59" y="68"/>
                </a:lnTo>
                <a:lnTo>
                  <a:pt x="59" y="68"/>
                </a:lnTo>
                <a:lnTo>
                  <a:pt x="59" y="68"/>
                </a:lnTo>
                <a:lnTo>
                  <a:pt x="59" y="68"/>
                </a:lnTo>
                <a:lnTo>
                  <a:pt x="59" y="68"/>
                </a:lnTo>
                <a:lnTo>
                  <a:pt x="58" y="70"/>
                </a:lnTo>
                <a:lnTo>
                  <a:pt x="58" y="70"/>
                </a:lnTo>
                <a:lnTo>
                  <a:pt x="58" y="70"/>
                </a:lnTo>
                <a:lnTo>
                  <a:pt x="58" y="70"/>
                </a:lnTo>
                <a:lnTo>
                  <a:pt x="58" y="70"/>
                </a:lnTo>
                <a:lnTo>
                  <a:pt x="57" y="70"/>
                </a:lnTo>
                <a:lnTo>
                  <a:pt x="57" y="70"/>
                </a:lnTo>
                <a:lnTo>
                  <a:pt x="57" y="70"/>
                </a:lnTo>
                <a:lnTo>
                  <a:pt x="57" y="70"/>
                </a:lnTo>
                <a:lnTo>
                  <a:pt x="57" y="70"/>
                </a:lnTo>
                <a:lnTo>
                  <a:pt x="57" y="71"/>
                </a:lnTo>
                <a:lnTo>
                  <a:pt x="55" y="71"/>
                </a:lnTo>
                <a:lnTo>
                  <a:pt x="55" y="71"/>
                </a:lnTo>
                <a:lnTo>
                  <a:pt x="55" y="71"/>
                </a:lnTo>
                <a:lnTo>
                  <a:pt x="55" y="71"/>
                </a:lnTo>
                <a:lnTo>
                  <a:pt x="55" y="71"/>
                </a:lnTo>
                <a:lnTo>
                  <a:pt x="55" y="71"/>
                </a:lnTo>
                <a:lnTo>
                  <a:pt x="54" y="71"/>
                </a:lnTo>
                <a:lnTo>
                  <a:pt x="54" y="71"/>
                </a:lnTo>
                <a:lnTo>
                  <a:pt x="54" y="71"/>
                </a:lnTo>
                <a:lnTo>
                  <a:pt x="54" y="71"/>
                </a:lnTo>
                <a:lnTo>
                  <a:pt x="54" y="72"/>
                </a:lnTo>
                <a:lnTo>
                  <a:pt x="53" y="72"/>
                </a:lnTo>
                <a:lnTo>
                  <a:pt x="53" y="72"/>
                </a:lnTo>
                <a:lnTo>
                  <a:pt x="53" y="72"/>
                </a:lnTo>
                <a:lnTo>
                  <a:pt x="53" y="72"/>
                </a:lnTo>
                <a:lnTo>
                  <a:pt x="53" y="72"/>
                </a:lnTo>
                <a:lnTo>
                  <a:pt x="52" y="72"/>
                </a:lnTo>
                <a:lnTo>
                  <a:pt x="52" y="72"/>
                </a:lnTo>
                <a:lnTo>
                  <a:pt x="52" y="72"/>
                </a:lnTo>
                <a:lnTo>
                  <a:pt x="52" y="72"/>
                </a:lnTo>
                <a:lnTo>
                  <a:pt x="52" y="72"/>
                </a:lnTo>
                <a:lnTo>
                  <a:pt x="52" y="72"/>
                </a:lnTo>
                <a:lnTo>
                  <a:pt x="51" y="72"/>
                </a:lnTo>
                <a:lnTo>
                  <a:pt x="51" y="73"/>
                </a:lnTo>
                <a:lnTo>
                  <a:pt x="51" y="73"/>
                </a:lnTo>
                <a:lnTo>
                  <a:pt x="51" y="73"/>
                </a:lnTo>
                <a:lnTo>
                  <a:pt x="51" y="73"/>
                </a:lnTo>
                <a:lnTo>
                  <a:pt x="50" y="73"/>
                </a:lnTo>
                <a:lnTo>
                  <a:pt x="50" y="73"/>
                </a:lnTo>
                <a:lnTo>
                  <a:pt x="50" y="73"/>
                </a:lnTo>
                <a:lnTo>
                  <a:pt x="50" y="73"/>
                </a:lnTo>
                <a:lnTo>
                  <a:pt x="50" y="73"/>
                </a:lnTo>
                <a:lnTo>
                  <a:pt x="49" y="73"/>
                </a:lnTo>
                <a:lnTo>
                  <a:pt x="49" y="73"/>
                </a:lnTo>
                <a:lnTo>
                  <a:pt x="49" y="73"/>
                </a:lnTo>
                <a:lnTo>
                  <a:pt x="49" y="73"/>
                </a:lnTo>
                <a:lnTo>
                  <a:pt x="49" y="73"/>
                </a:lnTo>
                <a:lnTo>
                  <a:pt x="48" y="73"/>
                </a:lnTo>
                <a:lnTo>
                  <a:pt x="48" y="73"/>
                </a:lnTo>
                <a:lnTo>
                  <a:pt x="48" y="73"/>
                </a:lnTo>
                <a:lnTo>
                  <a:pt x="48" y="74"/>
                </a:lnTo>
                <a:lnTo>
                  <a:pt x="48" y="74"/>
                </a:lnTo>
                <a:lnTo>
                  <a:pt x="46" y="74"/>
                </a:lnTo>
                <a:lnTo>
                  <a:pt x="46" y="74"/>
                </a:lnTo>
                <a:lnTo>
                  <a:pt x="46" y="74"/>
                </a:lnTo>
                <a:lnTo>
                  <a:pt x="46" y="74"/>
                </a:lnTo>
                <a:lnTo>
                  <a:pt x="46" y="74"/>
                </a:lnTo>
                <a:lnTo>
                  <a:pt x="45" y="74"/>
                </a:lnTo>
                <a:lnTo>
                  <a:pt x="45" y="74"/>
                </a:lnTo>
                <a:lnTo>
                  <a:pt x="45" y="74"/>
                </a:lnTo>
                <a:lnTo>
                  <a:pt x="45" y="74"/>
                </a:lnTo>
                <a:lnTo>
                  <a:pt x="45" y="74"/>
                </a:lnTo>
                <a:lnTo>
                  <a:pt x="44" y="74"/>
                </a:lnTo>
                <a:lnTo>
                  <a:pt x="44" y="74"/>
                </a:lnTo>
                <a:lnTo>
                  <a:pt x="44" y="74"/>
                </a:lnTo>
                <a:lnTo>
                  <a:pt x="44" y="74"/>
                </a:lnTo>
                <a:lnTo>
                  <a:pt x="44" y="74"/>
                </a:lnTo>
                <a:lnTo>
                  <a:pt x="43" y="74"/>
                </a:lnTo>
                <a:lnTo>
                  <a:pt x="43" y="74"/>
                </a:lnTo>
                <a:lnTo>
                  <a:pt x="43" y="74"/>
                </a:lnTo>
                <a:lnTo>
                  <a:pt x="43" y="74"/>
                </a:lnTo>
                <a:lnTo>
                  <a:pt x="42" y="74"/>
                </a:lnTo>
                <a:lnTo>
                  <a:pt x="42" y="74"/>
                </a:lnTo>
                <a:lnTo>
                  <a:pt x="42" y="74"/>
                </a:lnTo>
                <a:lnTo>
                  <a:pt x="42" y="74"/>
                </a:lnTo>
                <a:lnTo>
                  <a:pt x="42" y="74"/>
                </a:lnTo>
                <a:lnTo>
                  <a:pt x="41" y="74"/>
                </a:lnTo>
                <a:lnTo>
                  <a:pt x="41" y="74"/>
                </a:lnTo>
                <a:lnTo>
                  <a:pt x="41" y="74"/>
                </a:lnTo>
                <a:lnTo>
                  <a:pt x="41" y="74"/>
                </a:lnTo>
                <a:lnTo>
                  <a:pt x="41" y="74"/>
                </a:lnTo>
                <a:lnTo>
                  <a:pt x="40" y="74"/>
                </a:lnTo>
                <a:lnTo>
                  <a:pt x="40" y="74"/>
                </a:lnTo>
                <a:lnTo>
                  <a:pt x="40" y="74"/>
                </a:lnTo>
                <a:lnTo>
                  <a:pt x="40" y="74"/>
                </a:lnTo>
                <a:lnTo>
                  <a:pt x="40" y="74"/>
                </a:lnTo>
                <a:lnTo>
                  <a:pt x="39" y="74"/>
                </a:lnTo>
                <a:lnTo>
                  <a:pt x="39" y="74"/>
                </a:lnTo>
                <a:lnTo>
                  <a:pt x="39" y="74"/>
                </a:lnTo>
                <a:lnTo>
                  <a:pt x="39" y="74"/>
                </a:lnTo>
                <a:lnTo>
                  <a:pt x="37" y="74"/>
                </a:lnTo>
                <a:lnTo>
                  <a:pt x="37" y="74"/>
                </a:lnTo>
                <a:lnTo>
                  <a:pt x="37" y="74"/>
                </a:lnTo>
                <a:lnTo>
                  <a:pt x="37" y="74"/>
                </a:lnTo>
                <a:lnTo>
                  <a:pt x="37" y="74"/>
                </a:lnTo>
                <a:lnTo>
                  <a:pt x="36" y="74"/>
                </a:lnTo>
                <a:lnTo>
                  <a:pt x="36" y="74"/>
                </a:lnTo>
                <a:lnTo>
                  <a:pt x="36" y="74"/>
                </a:lnTo>
                <a:lnTo>
                  <a:pt x="36" y="74"/>
                </a:lnTo>
                <a:lnTo>
                  <a:pt x="36" y="74"/>
                </a:lnTo>
                <a:lnTo>
                  <a:pt x="35" y="74"/>
                </a:lnTo>
                <a:lnTo>
                  <a:pt x="35" y="74"/>
                </a:lnTo>
                <a:lnTo>
                  <a:pt x="35" y="74"/>
                </a:lnTo>
                <a:lnTo>
                  <a:pt x="35" y="74"/>
                </a:lnTo>
                <a:lnTo>
                  <a:pt x="34" y="74"/>
                </a:lnTo>
                <a:lnTo>
                  <a:pt x="34" y="74"/>
                </a:lnTo>
                <a:lnTo>
                  <a:pt x="34" y="74"/>
                </a:lnTo>
                <a:lnTo>
                  <a:pt x="34" y="74"/>
                </a:lnTo>
                <a:lnTo>
                  <a:pt x="34" y="74"/>
                </a:lnTo>
                <a:lnTo>
                  <a:pt x="33" y="74"/>
                </a:lnTo>
                <a:lnTo>
                  <a:pt x="33" y="74"/>
                </a:lnTo>
                <a:lnTo>
                  <a:pt x="33" y="74"/>
                </a:lnTo>
                <a:lnTo>
                  <a:pt x="33" y="74"/>
                </a:lnTo>
                <a:lnTo>
                  <a:pt x="33" y="74"/>
                </a:lnTo>
                <a:lnTo>
                  <a:pt x="32" y="74"/>
                </a:lnTo>
                <a:lnTo>
                  <a:pt x="32" y="74"/>
                </a:lnTo>
                <a:lnTo>
                  <a:pt x="32" y="74"/>
                </a:lnTo>
                <a:lnTo>
                  <a:pt x="32" y="74"/>
                </a:lnTo>
                <a:lnTo>
                  <a:pt x="32" y="74"/>
                </a:lnTo>
                <a:lnTo>
                  <a:pt x="31" y="74"/>
                </a:lnTo>
                <a:lnTo>
                  <a:pt x="31" y="74"/>
                </a:lnTo>
                <a:lnTo>
                  <a:pt x="31" y="74"/>
                </a:lnTo>
                <a:lnTo>
                  <a:pt x="31" y="74"/>
                </a:lnTo>
                <a:lnTo>
                  <a:pt x="31" y="74"/>
                </a:lnTo>
                <a:lnTo>
                  <a:pt x="30" y="74"/>
                </a:lnTo>
                <a:lnTo>
                  <a:pt x="30" y="74"/>
                </a:lnTo>
                <a:lnTo>
                  <a:pt x="30" y="74"/>
                </a:lnTo>
                <a:lnTo>
                  <a:pt x="30" y="73"/>
                </a:lnTo>
                <a:lnTo>
                  <a:pt x="30" y="73"/>
                </a:lnTo>
                <a:lnTo>
                  <a:pt x="28" y="73"/>
                </a:lnTo>
                <a:lnTo>
                  <a:pt x="28" y="73"/>
                </a:lnTo>
                <a:lnTo>
                  <a:pt x="28" y="73"/>
                </a:lnTo>
                <a:lnTo>
                  <a:pt x="28" y="73"/>
                </a:lnTo>
                <a:lnTo>
                  <a:pt x="28" y="73"/>
                </a:lnTo>
                <a:lnTo>
                  <a:pt x="27" y="73"/>
                </a:lnTo>
                <a:lnTo>
                  <a:pt x="27" y="73"/>
                </a:lnTo>
                <a:lnTo>
                  <a:pt x="27" y="73"/>
                </a:lnTo>
                <a:lnTo>
                  <a:pt x="27" y="73"/>
                </a:lnTo>
                <a:lnTo>
                  <a:pt x="27" y="73"/>
                </a:lnTo>
                <a:lnTo>
                  <a:pt x="26" y="73"/>
                </a:lnTo>
                <a:lnTo>
                  <a:pt x="26" y="73"/>
                </a:lnTo>
                <a:lnTo>
                  <a:pt x="26" y="73"/>
                </a:lnTo>
                <a:lnTo>
                  <a:pt x="26" y="73"/>
                </a:lnTo>
                <a:lnTo>
                  <a:pt x="26" y="73"/>
                </a:lnTo>
                <a:lnTo>
                  <a:pt x="25" y="72"/>
                </a:lnTo>
                <a:lnTo>
                  <a:pt x="25" y="72"/>
                </a:lnTo>
                <a:lnTo>
                  <a:pt x="25" y="72"/>
                </a:lnTo>
                <a:lnTo>
                  <a:pt x="25" y="72"/>
                </a:lnTo>
                <a:lnTo>
                  <a:pt x="25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3" y="72"/>
                </a:lnTo>
                <a:lnTo>
                  <a:pt x="23" y="72"/>
                </a:lnTo>
                <a:lnTo>
                  <a:pt x="23" y="71"/>
                </a:lnTo>
                <a:lnTo>
                  <a:pt x="23" y="71"/>
                </a:lnTo>
                <a:lnTo>
                  <a:pt x="23" y="71"/>
                </a:lnTo>
                <a:lnTo>
                  <a:pt x="22" y="71"/>
                </a:lnTo>
                <a:lnTo>
                  <a:pt x="22" y="71"/>
                </a:lnTo>
                <a:lnTo>
                  <a:pt x="22" y="71"/>
                </a:lnTo>
                <a:lnTo>
                  <a:pt x="22" y="71"/>
                </a:lnTo>
                <a:lnTo>
                  <a:pt x="22" y="71"/>
                </a:lnTo>
                <a:lnTo>
                  <a:pt x="22" y="71"/>
                </a:lnTo>
                <a:lnTo>
                  <a:pt x="21" y="71"/>
                </a:lnTo>
                <a:lnTo>
                  <a:pt x="21" y="71"/>
                </a:lnTo>
                <a:lnTo>
                  <a:pt x="21" y="70"/>
                </a:lnTo>
                <a:lnTo>
                  <a:pt x="21" y="70"/>
                </a:lnTo>
                <a:lnTo>
                  <a:pt x="21" y="70"/>
                </a:lnTo>
                <a:lnTo>
                  <a:pt x="19" y="70"/>
                </a:lnTo>
                <a:lnTo>
                  <a:pt x="19" y="70"/>
                </a:lnTo>
                <a:lnTo>
                  <a:pt x="19" y="70"/>
                </a:lnTo>
                <a:lnTo>
                  <a:pt x="19" y="70"/>
                </a:lnTo>
                <a:lnTo>
                  <a:pt x="19" y="70"/>
                </a:lnTo>
                <a:lnTo>
                  <a:pt x="19" y="70"/>
                </a:lnTo>
                <a:lnTo>
                  <a:pt x="18" y="70"/>
                </a:lnTo>
                <a:lnTo>
                  <a:pt x="18" y="68"/>
                </a:lnTo>
                <a:lnTo>
                  <a:pt x="18" y="68"/>
                </a:lnTo>
                <a:lnTo>
                  <a:pt x="18" y="68"/>
                </a:lnTo>
                <a:lnTo>
                  <a:pt x="18" y="68"/>
                </a:lnTo>
                <a:lnTo>
                  <a:pt x="18" y="68"/>
                </a:lnTo>
                <a:lnTo>
                  <a:pt x="17" y="68"/>
                </a:lnTo>
                <a:lnTo>
                  <a:pt x="17" y="68"/>
                </a:lnTo>
                <a:lnTo>
                  <a:pt x="17" y="68"/>
                </a:lnTo>
                <a:lnTo>
                  <a:pt x="17" y="68"/>
                </a:lnTo>
                <a:lnTo>
                  <a:pt x="17" y="67"/>
                </a:lnTo>
                <a:lnTo>
                  <a:pt x="17" y="67"/>
                </a:lnTo>
                <a:lnTo>
                  <a:pt x="16" y="67"/>
                </a:lnTo>
                <a:lnTo>
                  <a:pt x="16" y="67"/>
                </a:lnTo>
                <a:lnTo>
                  <a:pt x="16" y="67"/>
                </a:lnTo>
                <a:lnTo>
                  <a:pt x="16" y="67"/>
                </a:lnTo>
                <a:lnTo>
                  <a:pt x="16" y="67"/>
                </a:lnTo>
                <a:lnTo>
                  <a:pt x="16" y="67"/>
                </a:lnTo>
                <a:lnTo>
                  <a:pt x="15" y="66"/>
                </a:lnTo>
                <a:lnTo>
                  <a:pt x="15" y="66"/>
                </a:lnTo>
                <a:lnTo>
                  <a:pt x="15" y="66"/>
                </a:lnTo>
                <a:lnTo>
                  <a:pt x="15" y="66"/>
                </a:lnTo>
                <a:lnTo>
                  <a:pt x="15" y="66"/>
                </a:lnTo>
                <a:lnTo>
                  <a:pt x="15" y="66"/>
                </a:lnTo>
                <a:lnTo>
                  <a:pt x="14" y="66"/>
                </a:lnTo>
                <a:lnTo>
                  <a:pt x="14" y="66"/>
                </a:lnTo>
                <a:lnTo>
                  <a:pt x="14" y="65"/>
                </a:lnTo>
                <a:lnTo>
                  <a:pt x="14" y="65"/>
                </a:lnTo>
                <a:lnTo>
                  <a:pt x="14" y="65"/>
                </a:lnTo>
                <a:lnTo>
                  <a:pt x="14" y="65"/>
                </a:lnTo>
                <a:lnTo>
                  <a:pt x="14" y="65"/>
                </a:lnTo>
                <a:lnTo>
                  <a:pt x="13" y="65"/>
                </a:lnTo>
                <a:lnTo>
                  <a:pt x="13" y="65"/>
                </a:lnTo>
                <a:lnTo>
                  <a:pt x="13" y="65"/>
                </a:lnTo>
                <a:lnTo>
                  <a:pt x="13" y="64"/>
                </a:lnTo>
                <a:lnTo>
                  <a:pt x="13" y="64"/>
                </a:lnTo>
                <a:lnTo>
                  <a:pt x="13" y="64"/>
                </a:lnTo>
                <a:lnTo>
                  <a:pt x="13" y="64"/>
                </a:lnTo>
                <a:lnTo>
                  <a:pt x="12" y="64"/>
                </a:lnTo>
                <a:lnTo>
                  <a:pt x="12" y="64"/>
                </a:lnTo>
                <a:lnTo>
                  <a:pt x="12" y="64"/>
                </a:lnTo>
                <a:lnTo>
                  <a:pt x="12" y="63"/>
                </a:lnTo>
                <a:lnTo>
                  <a:pt x="12" y="63"/>
                </a:lnTo>
                <a:lnTo>
                  <a:pt x="12" y="63"/>
                </a:lnTo>
                <a:lnTo>
                  <a:pt x="12" y="63"/>
                </a:lnTo>
                <a:lnTo>
                  <a:pt x="10" y="63"/>
                </a:lnTo>
                <a:lnTo>
                  <a:pt x="10" y="63"/>
                </a:lnTo>
                <a:lnTo>
                  <a:pt x="10" y="63"/>
                </a:lnTo>
                <a:lnTo>
                  <a:pt x="10" y="62"/>
                </a:lnTo>
                <a:lnTo>
                  <a:pt x="10" y="62"/>
                </a:lnTo>
                <a:lnTo>
                  <a:pt x="10" y="62"/>
                </a:lnTo>
                <a:lnTo>
                  <a:pt x="10" y="62"/>
                </a:lnTo>
                <a:lnTo>
                  <a:pt x="10" y="62"/>
                </a:lnTo>
                <a:lnTo>
                  <a:pt x="9" y="62"/>
                </a:lnTo>
                <a:lnTo>
                  <a:pt x="9" y="61"/>
                </a:lnTo>
                <a:lnTo>
                  <a:pt x="9" y="61"/>
                </a:lnTo>
                <a:lnTo>
                  <a:pt x="9" y="61"/>
                </a:lnTo>
                <a:lnTo>
                  <a:pt x="9" y="61"/>
                </a:lnTo>
                <a:lnTo>
                  <a:pt x="9" y="61"/>
                </a:lnTo>
                <a:lnTo>
                  <a:pt x="9" y="61"/>
                </a:lnTo>
                <a:lnTo>
                  <a:pt x="8" y="61"/>
                </a:lnTo>
                <a:lnTo>
                  <a:pt x="8" y="59"/>
                </a:lnTo>
                <a:lnTo>
                  <a:pt x="8" y="59"/>
                </a:lnTo>
                <a:lnTo>
                  <a:pt x="8" y="59"/>
                </a:lnTo>
                <a:lnTo>
                  <a:pt x="8" y="59"/>
                </a:lnTo>
                <a:lnTo>
                  <a:pt x="8" y="59"/>
                </a:lnTo>
                <a:lnTo>
                  <a:pt x="8" y="59"/>
                </a:lnTo>
                <a:lnTo>
                  <a:pt x="8" y="58"/>
                </a:lnTo>
                <a:lnTo>
                  <a:pt x="8" y="58"/>
                </a:lnTo>
                <a:lnTo>
                  <a:pt x="7" y="58"/>
                </a:lnTo>
                <a:lnTo>
                  <a:pt x="7" y="58"/>
                </a:lnTo>
                <a:lnTo>
                  <a:pt x="7" y="58"/>
                </a:lnTo>
                <a:lnTo>
                  <a:pt x="7" y="58"/>
                </a:lnTo>
                <a:lnTo>
                  <a:pt x="7" y="57"/>
                </a:lnTo>
                <a:lnTo>
                  <a:pt x="7" y="57"/>
                </a:lnTo>
                <a:lnTo>
                  <a:pt x="7" y="57"/>
                </a:lnTo>
                <a:lnTo>
                  <a:pt x="7" y="57"/>
                </a:lnTo>
                <a:lnTo>
                  <a:pt x="7" y="57"/>
                </a:lnTo>
                <a:lnTo>
                  <a:pt x="6" y="57"/>
                </a:lnTo>
                <a:lnTo>
                  <a:pt x="6" y="56"/>
                </a:lnTo>
                <a:lnTo>
                  <a:pt x="6" y="56"/>
                </a:lnTo>
                <a:lnTo>
                  <a:pt x="6" y="56"/>
                </a:lnTo>
                <a:lnTo>
                  <a:pt x="6" y="56"/>
                </a:lnTo>
                <a:lnTo>
                  <a:pt x="6" y="56"/>
                </a:lnTo>
                <a:lnTo>
                  <a:pt x="6" y="56"/>
                </a:lnTo>
                <a:lnTo>
                  <a:pt x="6" y="55"/>
                </a:lnTo>
                <a:lnTo>
                  <a:pt x="6" y="55"/>
                </a:lnTo>
                <a:lnTo>
                  <a:pt x="6" y="55"/>
                </a:lnTo>
                <a:lnTo>
                  <a:pt x="5" y="55"/>
                </a:lnTo>
                <a:lnTo>
                  <a:pt x="5" y="55"/>
                </a:lnTo>
                <a:lnTo>
                  <a:pt x="5" y="54"/>
                </a:lnTo>
                <a:lnTo>
                  <a:pt x="5" y="54"/>
                </a:lnTo>
                <a:lnTo>
                  <a:pt x="5" y="54"/>
                </a:lnTo>
                <a:lnTo>
                  <a:pt x="5" y="54"/>
                </a:lnTo>
                <a:lnTo>
                  <a:pt x="5" y="54"/>
                </a:lnTo>
                <a:lnTo>
                  <a:pt x="5" y="54"/>
                </a:lnTo>
                <a:lnTo>
                  <a:pt x="5" y="53"/>
                </a:lnTo>
                <a:lnTo>
                  <a:pt x="5" y="53"/>
                </a:lnTo>
                <a:lnTo>
                  <a:pt x="5" y="53"/>
                </a:lnTo>
                <a:lnTo>
                  <a:pt x="4" y="53"/>
                </a:lnTo>
                <a:lnTo>
                  <a:pt x="4" y="53"/>
                </a:lnTo>
                <a:lnTo>
                  <a:pt x="4" y="52"/>
                </a:lnTo>
                <a:lnTo>
                  <a:pt x="4" y="52"/>
                </a:lnTo>
                <a:lnTo>
                  <a:pt x="4" y="52"/>
                </a:lnTo>
                <a:lnTo>
                  <a:pt x="4" y="52"/>
                </a:lnTo>
                <a:lnTo>
                  <a:pt x="4" y="52"/>
                </a:lnTo>
                <a:lnTo>
                  <a:pt x="4" y="50"/>
                </a:lnTo>
                <a:lnTo>
                  <a:pt x="4" y="50"/>
                </a:lnTo>
                <a:lnTo>
                  <a:pt x="4" y="50"/>
                </a:lnTo>
                <a:lnTo>
                  <a:pt x="4" y="50"/>
                </a:lnTo>
                <a:lnTo>
                  <a:pt x="4" y="50"/>
                </a:lnTo>
                <a:lnTo>
                  <a:pt x="4" y="50"/>
                </a:lnTo>
                <a:lnTo>
                  <a:pt x="3" y="49"/>
                </a:lnTo>
                <a:lnTo>
                  <a:pt x="3" y="49"/>
                </a:lnTo>
                <a:lnTo>
                  <a:pt x="3" y="49"/>
                </a:lnTo>
                <a:lnTo>
                  <a:pt x="3" y="49"/>
                </a:lnTo>
                <a:lnTo>
                  <a:pt x="3" y="49"/>
                </a:lnTo>
                <a:lnTo>
                  <a:pt x="3" y="48"/>
                </a:lnTo>
                <a:lnTo>
                  <a:pt x="3" y="48"/>
                </a:lnTo>
                <a:lnTo>
                  <a:pt x="3" y="48"/>
                </a:lnTo>
                <a:lnTo>
                  <a:pt x="3" y="48"/>
                </a:lnTo>
                <a:lnTo>
                  <a:pt x="3" y="48"/>
                </a:lnTo>
                <a:lnTo>
                  <a:pt x="3" y="47"/>
                </a:lnTo>
                <a:lnTo>
                  <a:pt x="3" y="47"/>
                </a:lnTo>
                <a:lnTo>
                  <a:pt x="3" y="47"/>
                </a:lnTo>
                <a:lnTo>
                  <a:pt x="3" y="47"/>
                </a:lnTo>
                <a:lnTo>
                  <a:pt x="3" y="47"/>
                </a:lnTo>
                <a:lnTo>
                  <a:pt x="3" y="46"/>
                </a:lnTo>
                <a:lnTo>
                  <a:pt x="1" y="46"/>
                </a:lnTo>
                <a:lnTo>
                  <a:pt x="1" y="46"/>
                </a:lnTo>
                <a:lnTo>
                  <a:pt x="1" y="46"/>
                </a:lnTo>
                <a:lnTo>
                  <a:pt x="1" y="46"/>
                </a:lnTo>
                <a:lnTo>
                  <a:pt x="1" y="45"/>
                </a:lnTo>
                <a:lnTo>
                  <a:pt x="1" y="45"/>
                </a:lnTo>
                <a:lnTo>
                  <a:pt x="1" y="45"/>
                </a:lnTo>
                <a:lnTo>
                  <a:pt x="1" y="45"/>
                </a:lnTo>
                <a:lnTo>
                  <a:pt x="1" y="45"/>
                </a:lnTo>
                <a:lnTo>
                  <a:pt x="1" y="44"/>
                </a:lnTo>
                <a:lnTo>
                  <a:pt x="1" y="44"/>
                </a:lnTo>
                <a:lnTo>
                  <a:pt x="1" y="44"/>
                </a:lnTo>
                <a:lnTo>
                  <a:pt x="1" y="44"/>
                </a:lnTo>
                <a:lnTo>
                  <a:pt x="1" y="44"/>
                </a:lnTo>
                <a:lnTo>
                  <a:pt x="1" y="43"/>
                </a:lnTo>
                <a:lnTo>
                  <a:pt x="1" y="43"/>
                </a:lnTo>
                <a:lnTo>
                  <a:pt x="1" y="43"/>
                </a:lnTo>
                <a:lnTo>
                  <a:pt x="1" y="43"/>
                </a:lnTo>
                <a:lnTo>
                  <a:pt x="1" y="43"/>
                </a:lnTo>
                <a:lnTo>
                  <a:pt x="1" y="41"/>
                </a:lnTo>
                <a:lnTo>
                  <a:pt x="1" y="41"/>
                </a:lnTo>
                <a:lnTo>
                  <a:pt x="1" y="41"/>
                </a:lnTo>
                <a:lnTo>
                  <a:pt x="1" y="41"/>
                </a:lnTo>
                <a:lnTo>
                  <a:pt x="1" y="40"/>
                </a:lnTo>
                <a:lnTo>
                  <a:pt x="1" y="40"/>
                </a:lnTo>
                <a:lnTo>
                  <a:pt x="1" y="40"/>
                </a:lnTo>
                <a:lnTo>
                  <a:pt x="1" y="40"/>
                </a:lnTo>
                <a:lnTo>
                  <a:pt x="1" y="40"/>
                </a:lnTo>
                <a:lnTo>
                  <a:pt x="1" y="39"/>
                </a:lnTo>
                <a:lnTo>
                  <a:pt x="1" y="39"/>
                </a:lnTo>
                <a:lnTo>
                  <a:pt x="1" y="39"/>
                </a:lnTo>
                <a:lnTo>
                  <a:pt x="1" y="39"/>
                </a:lnTo>
                <a:lnTo>
                  <a:pt x="0" y="39"/>
                </a:lnTo>
                <a:lnTo>
                  <a:pt x="0" y="38"/>
                </a:lnTo>
                <a:lnTo>
                  <a:pt x="0" y="38"/>
                </a:lnTo>
                <a:lnTo>
                  <a:pt x="0" y="38"/>
                </a:lnTo>
                <a:lnTo>
                  <a:pt x="0" y="38"/>
                </a:lnTo>
                <a:lnTo>
                  <a:pt x="0" y="37"/>
                </a:lnTo>
                <a:lnTo>
                  <a:pt x="0" y="37"/>
                </a:lnTo>
                <a:lnTo>
                  <a:pt x="0" y="37"/>
                </a:lnTo>
                <a:lnTo>
                  <a:pt x="0" y="37"/>
                </a:lnTo>
                <a:lnTo>
                  <a:pt x="0" y="37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1" y="35"/>
                </a:lnTo>
                <a:lnTo>
                  <a:pt x="1" y="35"/>
                </a:lnTo>
                <a:lnTo>
                  <a:pt x="1" y="35"/>
                </a:lnTo>
                <a:lnTo>
                  <a:pt x="1" y="35"/>
                </a:lnTo>
                <a:lnTo>
                  <a:pt x="1" y="34"/>
                </a:lnTo>
                <a:lnTo>
                  <a:pt x="1" y="34"/>
                </a:lnTo>
                <a:lnTo>
                  <a:pt x="1" y="34"/>
                </a:lnTo>
                <a:lnTo>
                  <a:pt x="1" y="34"/>
                </a:lnTo>
                <a:lnTo>
                  <a:pt x="1" y="34"/>
                </a:lnTo>
                <a:lnTo>
                  <a:pt x="1" y="32"/>
                </a:lnTo>
                <a:lnTo>
                  <a:pt x="1" y="32"/>
                </a:lnTo>
                <a:lnTo>
                  <a:pt x="1" y="32"/>
                </a:lnTo>
                <a:lnTo>
                  <a:pt x="1" y="32"/>
                </a:lnTo>
                <a:lnTo>
                  <a:pt x="1" y="32"/>
                </a:lnTo>
                <a:lnTo>
                  <a:pt x="1" y="31"/>
                </a:lnTo>
                <a:lnTo>
                  <a:pt x="1" y="31"/>
                </a:lnTo>
                <a:lnTo>
                  <a:pt x="1" y="31"/>
                </a:lnTo>
                <a:lnTo>
                  <a:pt x="1" y="31"/>
                </a:lnTo>
                <a:lnTo>
                  <a:pt x="1" y="31"/>
                </a:lnTo>
                <a:lnTo>
                  <a:pt x="1" y="30"/>
                </a:lnTo>
                <a:lnTo>
                  <a:pt x="1" y="30"/>
                </a:lnTo>
                <a:lnTo>
                  <a:pt x="1" y="30"/>
                </a:lnTo>
                <a:lnTo>
                  <a:pt x="1" y="30"/>
                </a:lnTo>
                <a:lnTo>
                  <a:pt x="1" y="30"/>
                </a:lnTo>
                <a:lnTo>
                  <a:pt x="1" y="29"/>
                </a:lnTo>
                <a:lnTo>
                  <a:pt x="1" y="29"/>
                </a:lnTo>
                <a:lnTo>
                  <a:pt x="1" y="29"/>
                </a:lnTo>
                <a:lnTo>
                  <a:pt x="1" y="29"/>
                </a:lnTo>
                <a:lnTo>
                  <a:pt x="1" y="29"/>
                </a:lnTo>
                <a:lnTo>
                  <a:pt x="1" y="28"/>
                </a:lnTo>
                <a:lnTo>
                  <a:pt x="1" y="28"/>
                </a:lnTo>
                <a:lnTo>
                  <a:pt x="1" y="28"/>
                </a:lnTo>
                <a:lnTo>
                  <a:pt x="3" y="28"/>
                </a:lnTo>
                <a:lnTo>
                  <a:pt x="3" y="28"/>
                </a:lnTo>
                <a:lnTo>
                  <a:pt x="3" y="27"/>
                </a:lnTo>
                <a:lnTo>
                  <a:pt x="3" y="27"/>
                </a:lnTo>
                <a:lnTo>
                  <a:pt x="3" y="27"/>
                </a:lnTo>
                <a:lnTo>
                  <a:pt x="3" y="27"/>
                </a:lnTo>
                <a:lnTo>
                  <a:pt x="3" y="27"/>
                </a:lnTo>
                <a:lnTo>
                  <a:pt x="3" y="26"/>
                </a:lnTo>
                <a:lnTo>
                  <a:pt x="3" y="26"/>
                </a:lnTo>
                <a:lnTo>
                  <a:pt x="3" y="26"/>
                </a:lnTo>
                <a:lnTo>
                  <a:pt x="3" y="26"/>
                </a:lnTo>
                <a:lnTo>
                  <a:pt x="3" y="26"/>
                </a:lnTo>
                <a:lnTo>
                  <a:pt x="3" y="25"/>
                </a:lnTo>
                <a:lnTo>
                  <a:pt x="3" y="25"/>
                </a:lnTo>
                <a:lnTo>
                  <a:pt x="3" y="25"/>
                </a:lnTo>
                <a:lnTo>
                  <a:pt x="3" y="25"/>
                </a:lnTo>
                <a:lnTo>
                  <a:pt x="4" y="25"/>
                </a:lnTo>
                <a:lnTo>
                  <a:pt x="4" y="23"/>
                </a:lnTo>
                <a:lnTo>
                  <a:pt x="4" y="23"/>
                </a:lnTo>
                <a:lnTo>
                  <a:pt x="4" y="23"/>
                </a:lnTo>
                <a:lnTo>
                  <a:pt x="4" y="23"/>
                </a:lnTo>
                <a:lnTo>
                  <a:pt x="4" y="23"/>
                </a:lnTo>
                <a:lnTo>
                  <a:pt x="4" y="22"/>
                </a:lnTo>
                <a:lnTo>
                  <a:pt x="4" y="22"/>
                </a:lnTo>
                <a:lnTo>
                  <a:pt x="4" y="22"/>
                </a:lnTo>
                <a:lnTo>
                  <a:pt x="4" y="22"/>
                </a:lnTo>
                <a:lnTo>
                  <a:pt x="4" y="22"/>
                </a:lnTo>
                <a:lnTo>
                  <a:pt x="4" y="22"/>
                </a:lnTo>
                <a:lnTo>
                  <a:pt x="4" y="21"/>
                </a:lnTo>
                <a:lnTo>
                  <a:pt x="5" y="21"/>
                </a:lnTo>
                <a:lnTo>
                  <a:pt x="5" y="21"/>
                </a:lnTo>
                <a:lnTo>
                  <a:pt x="5" y="21"/>
                </a:lnTo>
                <a:lnTo>
                  <a:pt x="5" y="21"/>
                </a:lnTo>
                <a:lnTo>
                  <a:pt x="5" y="20"/>
                </a:lnTo>
                <a:lnTo>
                  <a:pt x="5" y="20"/>
                </a:lnTo>
                <a:lnTo>
                  <a:pt x="5" y="20"/>
                </a:lnTo>
                <a:lnTo>
                  <a:pt x="5" y="20"/>
                </a:lnTo>
                <a:lnTo>
                  <a:pt x="5" y="20"/>
                </a:lnTo>
                <a:lnTo>
                  <a:pt x="5" y="20"/>
                </a:lnTo>
                <a:lnTo>
                  <a:pt x="5" y="19"/>
                </a:lnTo>
                <a:lnTo>
                  <a:pt x="6" y="19"/>
                </a:lnTo>
                <a:lnTo>
                  <a:pt x="6" y="19"/>
                </a:lnTo>
                <a:lnTo>
                  <a:pt x="6" y="19"/>
                </a:lnTo>
                <a:lnTo>
                  <a:pt x="6" y="19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7" y="17"/>
                </a:lnTo>
                <a:lnTo>
                  <a:pt x="7" y="17"/>
                </a:lnTo>
                <a:lnTo>
                  <a:pt x="7" y="17"/>
                </a:lnTo>
                <a:lnTo>
                  <a:pt x="7" y="17"/>
                </a:lnTo>
                <a:lnTo>
                  <a:pt x="7" y="17"/>
                </a:lnTo>
                <a:lnTo>
                  <a:pt x="7" y="17"/>
                </a:lnTo>
                <a:lnTo>
                  <a:pt x="7" y="16"/>
                </a:lnTo>
                <a:lnTo>
                  <a:pt x="7" y="16"/>
                </a:lnTo>
                <a:lnTo>
                  <a:pt x="7" y="16"/>
                </a:lnTo>
                <a:lnTo>
                  <a:pt x="8" y="16"/>
                </a:lnTo>
                <a:lnTo>
                  <a:pt x="8" y="16"/>
                </a:lnTo>
                <a:lnTo>
                  <a:pt x="8" y="16"/>
                </a:lnTo>
                <a:lnTo>
                  <a:pt x="8" y="14"/>
                </a:lnTo>
                <a:lnTo>
                  <a:pt x="8" y="14"/>
                </a:lnTo>
                <a:lnTo>
                  <a:pt x="8" y="14"/>
                </a:lnTo>
                <a:lnTo>
                  <a:pt x="8" y="14"/>
                </a:lnTo>
                <a:lnTo>
                  <a:pt x="8" y="14"/>
                </a:lnTo>
                <a:lnTo>
                  <a:pt x="8" y="14"/>
                </a:lnTo>
                <a:lnTo>
                  <a:pt x="9" y="13"/>
                </a:lnTo>
                <a:lnTo>
                  <a:pt x="9" y="13"/>
                </a:lnTo>
                <a:lnTo>
                  <a:pt x="9" y="13"/>
                </a:lnTo>
                <a:lnTo>
                  <a:pt x="9" y="13"/>
                </a:lnTo>
                <a:lnTo>
                  <a:pt x="9" y="13"/>
                </a:lnTo>
                <a:lnTo>
                  <a:pt x="9" y="13"/>
                </a:lnTo>
                <a:lnTo>
                  <a:pt x="9" y="13"/>
                </a:lnTo>
                <a:lnTo>
                  <a:pt x="10" y="12"/>
                </a:lnTo>
                <a:lnTo>
                  <a:pt x="10" y="12"/>
                </a:lnTo>
                <a:lnTo>
                  <a:pt x="10" y="12"/>
                </a:lnTo>
                <a:lnTo>
                  <a:pt x="10" y="12"/>
                </a:lnTo>
                <a:lnTo>
                  <a:pt x="10" y="12"/>
                </a:lnTo>
                <a:lnTo>
                  <a:pt x="10" y="12"/>
                </a:lnTo>
                <a:lnTo>
                  <a:pt x="10" y="11"/>
                </a:lnTo>
                <a:lnTo>
                  <a:pt x="10" y="11"/>
                </a:lnTo>
                <a:lnTo>
                  <a:pt x="12" y="11"/>
                </a:lnTo>
                <a:lnTo>
                  <a:pt x="12" y="11"/>
                </a:lnTo>
                <a:lnTo>
                  <a:pt x="12" y="11"/>
                </a:lnTo>
                <a:lnTo>
                  <a:pt x="12" y="11"/>
                </a:lnTo>
                <a:lnTo>
                  <a:pt x="12" y="11"/>
                </a:lnTo>
                <a:lnTo>
                  <a:pt x="12" y="10"/>
                </a:lnTo>
                <a:lnTo>
                  <a:pt x="12" y="10"/>
                </a:lnTo>
                <a:lnTo>
                  <a:pt x="13" y="10"/>
                </a:lnTo>
                <a:lnTo>
                  <a:pt x="13" y="10"/>
                </a:lnTo>
                <a:lnTo>
                  <a:pt x="13" y="10"/>
                </a:lnTo>
                <a:lnTo>
                  <a:pt x="13" y="10"/>
                </a:lnTo>
                <a:lnTo>
                  <a:pt x="13" y="10"/>
                </a:lnTo>
                <a:lnTo>
                  <a:pt x="13" y="9"/>
                </a:lnTo>
                <a:lnTo>
                  <a:pt x="13" y="9"/>
                </a:lnTo>
                <a:lnTo>
                  <a:pt x="14" y="9"/>
                </a:lnTo>
                <a:lnTo>
                  <a:pt x="14" y="9"/>
                </a:lnTo>
                <a:lnTo>
                  <a:pt x="14" y="9"/>
                </a:lnTo>
                <a:lnTo>
                  <a:pt x="14" y="9"/>
                </a:lnTo>
                <a:lnTo>
                  <a:pt x="14" y="9"/>
                </a:lnTo>
                <a:lnTo>
                  <a:pt x="14" y="9"/>
                </a:lnTo>
                <a:lnTo>
                  <a:pt x="14" y="8"/>
                </a:lnTo>
                <a:lnTo>
                  <a:pt x="15" y="8"/>
                </a:lnTo>
                <a:lnTo>
                  <a:pt x="15" y="8"/>
                </a:lnTo>
                <a:lnTo>
                  <a:pt x="15" y="8"/>
                </a:lnTo>
                <a:lnTo>
                  <a:pt x="15" y="8"/>
                </a:lnTo>
                <a:lnTo>
                  <a:pt x="15" y="8"/>
                </a:lnTo>
                <a:lnTo>
                  <a:pt x="15" y="8"/>
                </a:lnTo>
                <a:lnTo>
                  <a:pt x="16" y="8"/>
                </a:lnTo>
                <a:lnTo>
                  <a:pt x="16" y="7"/>
                </a:lnTo>
                <a:lnTo>
                  <a:pt x="16" y="7"/>
                </a:lnTo>
                <a:lnTo>
                  <a:pt x="16" y="7"/>
                </a:lnTo>
                <a:lnTo>
                  <a:pt x="16" y="7"/>
                </a:lnTo>
                <a:lnTo>
                  <a:pt x="16" y="7"/>
                </a:lnTo>
                <a:lnTo>
                  <a:pt x="17" y="7"/>
                </a:lnTo>
                <a:lnTo>
                  <a:pt x="17" y="7"/>
                </a:lnTo>
                <a:lnTo>
                  <a:pt x="17" y="7"/>
                </a:lnTo>
                <a:lnTo>
                  <a:pt x="17" y="5"/>
                </a:lnTo>
                <a:lnTo>
                  <a:pt x="17" y="5"/>
                </a:lnTo>
                <a:lnTo>
                  <a:pt x="17" y="5"/>
                </a:lnTo>
                <a:lnTo>
                  <a:pt x="18" y="5"/>
                </a:lnTo>
                <a:lnTo>
                  <a:pt x="18" y="5"/>
                </a:lnTo>
                <a:lnTo>
                  <a:pt x="18" y="5"/>
                </a:lnTo>
                <a:lnTo>
                  <a:pt x="18" y="5"/>
                </a:lnTo>
                <a:lnTo>
                  <a:pt x="18" y="5"/>
                </a:lnTo>
                <a:lnTo>
                  <a:pt x="18" y="5"/>
                </a:lnTo>
                <a:lnTo>
                  <a:pt x="19" y="5"/>
                </a:lnTo>
                <a:lnTo>
                  <a:pt x="19" y="4"/>
                </a:lnTo>
                <a:lnTo>
                  <a:pt x="19" y="4"/>
                </a:lnTo>
                <a:lnTo>
                  <a:pt x="19" y="4"/>
                </a:lnTo>
                <a:lnTo>
                  <a:pt x="19" y="4"/>
                </a:lnTo>
                <a:lnTo>
                  <a:pt x="19" y="4"/>
                </a:lnTo>
                <a:lnTo>
                  <a:pt x="21" y="4"/>
                </a:lnTo>
                <a:lnTo>
                  <a:pt x="21" y="4"/>
                </a:lnTo>
                <a:lnTo>
                  <a:pt x="21" y="4"/>
                </a:lnTo>
                <a:lnTo>
                  <a:pt x="21" y="4"/>
                </a:lnTo>
                <a:lnTo>
                  <a:pt x="21" y="4"/>
                </a:lnTo>
                <a:lnTo>
                  <a:pt x="22" y="3"/>
                </a:lnTo>
                <a:lnTo>
                  <a:pt x="22" y="3"/>
                </a:lnTo>
                <a:lnTo>
                  <a:pt x="22" y="3"/>
                </a:lnTo>
                <a:lnTo>
                  <a:pt x="22" y="3"/>
                </a:lnTo>
                <a:lnTo>
                  <a:pt x="22" y="3"/>
                </a:lnTo>
                <a:lnTo>
                  <a:pt x="22" y="3"/>
                </a:lnTo>
                <a:lnTo>
                  <a:pt x="23" y="3"/>
                </a:lnTo>
                <a:lnTo>
                  <a:pt x="23" y="3"/>
                </a:lnTo>
                <a:lnTo>
                  <a:pt x="23" y="3"/>
                </a:lnTo>
                <a:lnTo>
                  <a:pt x="23" y="3"/>
                </a:lnTo>
                <a:lnTo>
                  <a:pt x="23" y="3"/>
                </a:lnTo>
                <a:lnTo>
                  <a:pt x="24" y="2"/>
                </a:lnTo>
                <a:lnTo>
                  <a:pt x="24" y="2"/>
                </a:lnTo>
                <a:lnTo>
                  <a:pt x="24" y="2"/>
                </a:lnTo>
                <a:lnTo>
                  <a:pt x="24" y="2"/>
                </a:lnTo>
                <a:lnTo>
                  <a:pt x="24" y="2"/>
                </a:lnTo>
                <a:lnTo>
                  <a:pt x="24" y="2"/>
                </a:lnTo>
                <a:lnTo>
                  <a:pt x="25" y="2"/>
                </a:lnTo>
                <a:lnTo>
                  <a:pt x="25" y="2"/>
                </a:lnTo>
                <a:lnTo>
                  <a:pt x="25" y="2"/>
                </a:lnTo>
                <a:lnTo>
                  <a:pt x="25" y="2"/>
                </a:lnTo>
                <a:lnTo>
                  <a:pt x="25" y="2"/>
                </a:lnTo>
                <a:lnTo>
                  <a:pt x="26" y="2"/>
                </a:lnTo>
                <a:lnTo>
                  <a:pt x="26" y="2"/>
                </a:lnTo>
                <a:lnTo>
                  <a:pt x="26" y="1"/>
                </a:lnTo>
                <a:lnTo>
                  <a:pt x="26" y="1"/>
                </a:lnTo>
                <a:lnTo>
                  <a:pt x="26" y="1"/>
                </a:lnTo>
                <a:lnTo>
                  <a:pt x="27" y="1"/>
                </a:lnTo>
                <a:lnTo>
                  <a:pt x="27" y="1"/>
                </a:lnTo>
                <a:lnTo>
                  <a:pt x="27" y="1"/>
                </a:lnTo>
                <a:lnTo>
                  <a:pt x="27" y="1"/>
                </a:lnTo>
                <a:lnTo>
                  <a:pt x="27" y="1"/>
                </a:lnTo>
                <a:lnTo>
                  <a:pt x="28" y="1"/>
                </a:lnTo>
                <a:lnTo>
                  <a:pt x="28" y="1"/>
                </a:lnTo>
                <a:lnTo>
                  <a:pt x="28" y="1"/>
                </a:lnTo>
                <a:lnTo>
                  <a:pt x="28" y="1"/>
                </a:lnTo>
                <a:lnTo>
                  <a:pt x="28" y="1"/>
                </a:lnTo>
                <a:lnTo>
                  <a:pt x="30" y="1"/>
                </a:lnTo>
                <a:lnTo>
                  <a:pt x="30" y="1"/>
                </a:lnTo>
                <a:lnTo>
                  <a:pt x="30" y="1"/>
                </a:lnTo>
                <a:lnTo>
                  <a:pt x="30" y="1"/>
                </a:lnTo>
                <a:lnTo>
                  <a:pt x="30" y="1"/>
                </a:lnTo>
                <a:lnTo>
                  <a:pt x="31" y="0"/>
                </a:lnTo>
                <a:lnTo>
                  <a:pt x="31" y="0"/>
                </a:lnTo>
                <a:lnTo>
                  <a:pt x="31" y="0"/>
                </a:lnTo>
                <a:lnTo>
                  <a:pt x="31" y="0"/>
                </a:lnTo>
                <a:lnTo>
                  <a:pt x="31" y="0"/>
                </a:lnTo>
                <a:lnTo>
                  <a:pt x="32" y="0"/>
                </a:lnTo>
                <a:lnTo>
                  <a:pt x="32" y="0"/>
                </a:lnTo>
                <a:lnTo>
                  <a:pt x="32" y="0"/>
                </a:lnTo>
                <a:lnTo>
                  <a:pt x="32" y="0"/>
                </a:lnTo>
                <a:lnTo>
                  <a:pt x="32" y="0"/>
                </a:lnTo>
                <a:lnTo>
                  <a:pt x="33" y="0"/>
                </a:lnTo>
                <a:lnTo>
                  <a:pt x="33" y="0"/>
                </a:lnTo>
                <a:lnTo>
                  <a:pt x="33" y="0"/>
                </a:lnTo>
                <a:lnTo>
                  <a:pt x="33" y="0"/>
                </a:lnTo>
                <a:lnTo>
                  <a:pt x="33" y="0"/>
                </a:lnTo>
                <a:lnTo>
                  <a:pt x="34" y="0"/>
                </a:lnTo>
                <a:lnTo>
                  <a:pt x="34" y="0"/>
                </a:lnTo>
                <a:lnTo>
                  <a:pt x="34" y="0"/>
                </a:lnTo>
                <a:lnTo>
                  <a:pt x="34" y="0"/>
                </a:lnTo>
                <a:lnTo>
                  <a:pt x="34" y="0"/>
                </a:lnTo>
                <a:lnTo>
                  <a:pt x="35" y="0"/>
                </a:lnTo>
                <a:lnTo>
                  <a:pt x="35" y="0"/>
                </a:lnTo>
                <a:lnTo>
                  <a:pt x="35" y="0"/>
                </a:lnTo>
                <a:lnTo>
                  <a:pt x="35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7" y="0"/>
                </a:lnTo>
                <a:lnTo>
                  <a:pt x="37" y="0"/>
                </a:lnTo>
                <a:lnTo>
                  <a:pt x="37" y="0"/>
                </a:lnTo>
                <a:lnTo>
                  <a:pt x="37" y="0"/>
                </a:lnTo>
                <a:lnTo>
                  <a:pt x="37" y="0"/>
                </a:lnTo>
                <a:lnTo>
                  <a:pt x="39" y="0"/>
                </a:lnTo>
                <a:lnTo>
                  <a:pt x="39" y="0"/>
                </a:lnTo>
                <a:lnTo>
                  <a:pt x="39" y="0"/>
                </a:lnTo>
                <a:lnTo>
                  <a:pt x="39" y="0"/>
                </a:lnTo>
                <a:lnTo>
                  <a:pt x="40" y="0"/>
                </a:lnTo>
                <a:lnTo>
                  <a:pt x="40" y="0"/>
                </a:lnTo>
                <a:lnTo>
                  <a:pt x="40" y="0"/>
                </a:lnTo>
                <a:lnTo>
                  <a:pt x="40" y="0"/>
                </a:lnTo>
                <a:lnTo>
                  <a:pt x="40" y="0"/>
                </a:lnTo>
                <a:lnTo>
                  <a:pt x="41" y="0"/>
                </a:lnTo>
                <a:lnTo>
                  <a:pt x="41" y="0"/>
                </a:lnTo>
                <a:lnTo>
                  <a:pt x="41" y="0"/>
                </a:lnTo>
                <a:lnTo>
                  <a:pt x="41" y="0"/>
                </a:lnTo>
                <a:lnTo>
                  <a:pt x="41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3" y="0"/>
                </a:lnTo>
                <a:lnTo>
                  <a:pt x="43" y="0"/>
                </a:lnTo>
                <a:lnTo>
                  <a:pt x="43" y="0"/>
                </a:lnTo>
                <a:lnTo>
                  <a:pt x="43" y="0"/>
                </a:lnTo>
                <a:lnTo>
                  <a:pt x="44" y="0"/>
                </a:lnTo>
                <a:lnTo>
                  <a:pt x="44" y="0"/>
                </a:lnTo>
                <a:lnTo>
                  <a:pt x="44" y="0"/>
                </a:lnTo>
                <a:lnTo>
                  <a:pt x="44" y="0"/>
                </a:lnTo>
                <a:lnTo>
                  <a:pt x="44" y="0"/>
                </a:lnTo>
                <a:lnTo>
                  <a:pt x="45" y="0"/>
                </a:lnTo>
                <a:lnTo>
                  <a:pt x="45" y="0"/>
                </a:lnTo>
                <a:lnTo>
                  <a:pt x="45" y="0"/>
                </a:lnTo>
                <a:lnTo>
                  <a:pt x="45" y="0"/>
                </a:lnTo>
                <a:lnTo>
                  <a:pt x="45" y="0"/>
                </a:lnTo>
                <a:lnTo>
                  <a:pt x="46" y="0"/>
                </a:lnTo>
                <a:lnTo>
                  <a:pt x="46" y="0"/>
                </a:lnTo>
                <a:lnTo>
                  <a:pt x="46" y="0"/>
                </a:lnTo>
                <a:lnTo>
                  <a:pt x="46" y="0"/>
                </a:lnTo>
                <a:lnTo>
                  <a:pt x="46" y="1"/>
                </a:lnTo>
                <a:lnTo>
                  <a:pt x="48" y="1"/>
                </a:lnTo>
                <a:lnTo>
                  <a:pt x="48" y="1"/>
                </a:lnTo>
                <a:lnTo>
                  <a:pt x="48" y="1"/>
                </a:lnTo>
                <a:lnTo>
                  <a:pt x="48" y="1"/>
                </a:lnTo>
                <a:lnTo>
                  <a:pt x="48" y="1"/>
                </a:lnTo>
                <a:lnTo>
                  <a:pt x="49" y="1"/>
                </a:lnTo>
                <a:lnTo>
                  <a:pt x="49" y="1"/>
                </a:lnTo>
                <a:lnTo>
                  <a:pt x="49" y="1"/>
                </a:lnTo>
                <a:lnTo>
                  <a:pt x="49" y="1"/>
                </a:lnTo>
                <a:lnTo>
                  <a:pt x="49" y="1"/>
                </a:lnTo>
                <a:lnTo>
                  <a:pt x="50" y="1"/>
                </a:lnTo>
                <a:lnTo>
                  <a:pt x="50" y="1"/>
                </a:lnTo>
                <a:lnTo>
                  <a:pt x="50" y="1"/>
                </a:lnTo>
                <a:lnTo>
                  <a:pt x="50" y="1"/>
                </a:lnTo>
                <a:lnTo>
                  <a:pt x="50" y="1"/>
                </a:lnTo>
                <a:lnTo>
                  <a:pt x="51" y="1"/>
                </a:lnTo>
                <a:lnTo>
                  <a:pt x="51" y="1"/>
                </a:lnTo>
                <a:lnTo>
                  <a:pt x="51" y="2"/>
                </a:lnTo>
                <a:lnTo>
                  <a:pt x="51" y="2"/>
                </a:lnTo>
                <a:lnTo>
                  <a:pt x="51" y="2"/>
                </a:lnTo>
                <a:lnTo>
                  <a:pt x="52" y="2"/>
                </a:lnTo>
                <a:lnTo>
                  <a:pt x="52" y="2"/>
                </a:lnTo>
                <a:lnTo>
                  <a:pt x="52" y="2"/>
                </a:lnTo>
                <a:lnTo>
                  <a:pt x="52" y="2"/>
                </a:lnTo>
                <a:lnTo>
                  <a:pt x="52" y="2"/>
                </a:lnTo>
                <a:lnTo>
                  <a:pt x="52" y="2"/>
                </a:lnTo>
                <a:lnTo>
                  <a:pt x="53" y="2"/>
                </a:lnTo>
                <a:lnTo>
                  <a:pt x="53" y="2"/>
                </a:lnTo>
                <a:lnTo>
                  <a:pt x="53" y="2"/>
                </a:lnTo>
                <a:lnTo>
                  <a:pt x="53" y="2"/>
                </a:lnTo>
                <a:lnTo>
                  <a:pt x="53" y="3"/>
                </a:lnTo>
                <a:lnTo>
                  <a:pt x="54" y="3"/>
                </a:lnTo>
                <a:lnTo>
                  <a:pt x="54" y="3"/>
                </a:lnTo>
                <a:lnTo>
                  <a:pt x="54" y="3"/>
                </a:lnTo>
                <a:lnTo>
                  <a:pt x="54" y="3"/>
                </a:lnTo>
                <a:lnTo>
                  <a:pt x="54" y="3"/>
                </a:lnTo>
                <a:lnTo>
                  <a:pt x="55" y="3"/>
                </a:lnTo>
                <a:lnTo>
                  <a:pt x="55" y="3"/>
                </a:lnTo>
                <a:lnTo>
                  <a:pt x="55" y="3"/>
                </a:lnTo>
                <a:lnTo>
                  <a:pt x="55" y="3"/>
                </a:lnTo>
                <a:lnTo>
                  <a:pt x="55" y="3"/>
                </a:lnTo>
                <a:lnTo>
                  <a:pt x="55" y="4"/>
                </a:lnTo>
                <a:lnTo>
                  <a:pt x="57" y="4"/>
                </a:lnTo>
                <a:lnTo>
                  <a:pt x="57" y="4"/>
                </a:lnTo>
                <a:lnTo>
                  <a:pt x="57" y="4"/>
                </a:lnTo>
                <a:lnTo>
                  <a:pt x="57" y="4"/>
                </a:lnTo>
                <a:lnTo>
                  <a:pt x="57" y="4"/>
                </a:lnTo>
                <a:lnTo>
                  <a:pt x="57" y="4"/>
                </a:lnTo>
                <a:lnTo>
                  <a:pt x="58" y="4"/>
                </a:lnTo>
                <a:lnTo>
                  <a:pt x="58" y="4"/>
                </a:lnTo>
                <a:lnTo>
                  <a:pt x="58" y="4"/>
                </a:lnTo>
                <a:lnTo>
                  <a:pt x="58" y="5"/>
                </a:lnTo>
                <a:lnTo>
                  <a:pt x="58" y="5"/>
                </a:lnTo>
                <a:lnTo>
                  <a:pt x="59" y="5"/>
                </a:lnTo>
                <a:lnTo>
                  <a:pt x="59" y="5"/>
                </a:lnTo>
                <a:lnTo>
                  <a:pt x="59" y="5"/>
                </a:lnTo>
                <a:lnTo>
                  <a:pt x="59" y="5"/>
                </a:lnTo>
                <a:lnTo>
                  <a:pt x="59" y="5"/>
                </a:lnTo>
                <a:lnTo>
                  <a:pt x="59" y="5"/>
                </a:lnTo>
                <a:lnTo>
                  <a:pt x="60" y="5"/>
                </a:lnTo>
                <a:lnTo>
                  <a:pt x="60" y="5"/>
                </a:lnTo>
                <a:lnTo>
                  <a:pt x="60" y="7"/>
                </a:lnTo>
                <a:lnTo>
                  <a:pt x="60" y="7"/>
                </a:lnTo>
                <a:lnTo>
                  <a:pt x="60" y="7"/>
                </a:lnTo>
                <a:lnTo>
                  <a:pt x="60" y="7"/>
                </a:lnTo>
                <a:lnTo>
                  <a:pt x="61" y="7"/>
                </a:lnTo>
                <a:lnTo>
                  <a:pt x="61" y="7"/>
                </a:lnTo>
                <a:lnTo>
                  <a:pt x="61" y="7"/>
                </a:lnTo>
                <a:lnTo>
                  <a:pt x="61" y="7"/>
                </a:lnTo>
                <a:lnTo>
                  <a:pt x="61" y="8"/>
                </a:lnTo>
                <a:lnTo>
                  <a:pt x="61" y="8"/>
                </a:lnTo>
                <a:lnTo>
                  <a:pt x="61" y="8"/>
                </a:lnTo>
                <a:lnTo>
                  <a:pt x="62" y="8"/>
                </a:lnTo>
                <a:lnTo>
                  <a:pt x="62" y="8"/>
                </a:lnTo>
                <a:lnTo>
                  <a:pt x="62" y="8"/>
                </a:lnTo>
                <a:lnTo>
                  <a:pt x="62" y="8"/>
                </a:lnTo>
                <a:lnTo>
                  <a:pt x="62" y="8"/>
                </a:lnTo>
                <a:lnTo>
                  <a:pt x="62" y="9"/>
                </a:lnTo>
                <a:lnTo>
                  <a:pt x="63" y="9"/>
                </a:lnTo>
                <a:lnTo>
                  <a:pt x="63" y="9"/>
                </a:lnTo>
                <a:lnTo>
                  <a:pt x="63" y="9"/>
                </a:lnTo>
                <a:lnTo>
                  <a:pt x="63" y="9"/>
                </a:lnTo>
                <a:lnTo>
                  <a:pt x="63" y="9"/>
                </a:lnTo>
                <a:lnTo>
                  <a:pt x="63" y="9"/>
                </a:lnTo>
                <a:lnTo>
                  <a:pt x="63" y="9"/>
                </a:lnTo>
                <a:lnTo>
                  <a:pt x="64" y="10"/>
                </a:lnTo>
                <a:lnTo>
                  <a:pt x="64" y="10"/>
                </a:lnTo>
                <a:lnTo>
                  <a:pt x="64" y="10"/>
                </a:lnTo>
                <a:lnTo>
                  <a:pt x="64" y="10"/>
                </a:lnTo>
                <a:lnTo>
                  <a:pt x="64" y="10"/>
                </a:lnTo>
                <a:lnTo>
                  <a:pt x="64" y="10"/>
                </a:lnTo>
                <a:lnTo>
                  <a:pt x="64" y="10"/>
                </a:lnTo>
                <a:lnTo>
                  <a:pt x="66" y="11"/>
                </a:lnTo>
                <a:lnTo>
                  <a:pt x="66" y="11"/>
                </a:lnTo>
                <a:lnTo>
                  <a:pt x="66" y="11"/>
                </a:lnTo>
                <a:lnTo>
                  <a:pt x="66" y="11"/>
                </a:lnTo>
                <a:lnTo>
                  <a:pt x="66" y="11"/>
                </a:lnTo>
                <a:lnTo>
                  <a:pt x="66" y="11"/>
                </a:lnTo>
                <a:lnTo>
                  <a:pt x="66" y="11"/>
                </a:lnTo>
                <a:lnTo>
                  <a:pt x="67" y="12"/>
                </a:lnTo>
                <a:lnTo>
                  <a:pt x="67" y="12"/>
                </a:lnTo>
                <a:lnTo>
                  <a:pt x="67" y="12"/>
                </a:lnTo>
                <a:lnTo>
                  <a:pt x="67" y="12"/>
                </a:lnTo>
                <a:lnTo>
                  <a:pt x="67" y="12"/>
                </a:lnTo>
                <a:lnTo>
                  <a:pt x="67" y="12"/>
                </a:lnTo>
                <a:lnTo>
                  <a:pt x="67" y="13"/>
                </a:lnTo>
                <a:lnTo>
                  <a:pt x="67" y="13"/>
                </a:lnTo>
                <a:lnTo>
                  <a:pt x="68" y="13"/>
                </a:lnTo>
                <a:lnTo>
                  <a:pt x="68" y="13"/>
                </a:lnTo>
                <a:lnTo>
                  <a:pt x="68" y="13"/>
                </a:lnTo>
                <a:lnTo>
                  <a:pt x="68" y="13"/>
                </a:lnTo>
                <a:lnTo>
                  <a:pt x="68" y="13"/>
                </a:lnTo>
                <a:lnTo>
                  <a:pt x="68" y="14"/>
                </a:lnTo>
                <a:lnTo>
                  <a:pt x="68" y="14"/>
                </a:lnTo>
                <a:lnTo>
                  <a:pt x="68" y="14"/>
                </a:lnTo>
                <a:lnTo>
                  <a:pt x="69" y="14"/>
                </a:lnTo>
                <a:lnTo>
                  <a:pt x="69" y="14"/>
                </a:lnTo>
                <a:lnTo>
                  <a:pt x="69" y="14"/>
                </a:lnTo>
                <a:lnTo>
                  <a:pt x="69" y="16"/>
                </a:lnTo>
                <a:lnTo>
                  <a:pt x="69" y="16"/>
                </a:lnTo>
                <a:lnTo>
                  <a:pt x="69" y="16"/>
                </a:lnTo>
                <a:lnTo>
                  <a:pt x="69" y="16"/>
                </a:lnTo>
                <a:lnTo>
                  <a:pt x="69" y="16"/>
                </a:lnTo>
                <a:lnTo>
                  <a:pt x="70" y="16"/>
                </a:lnTo>
                <a:lnTo>
                  <a:pt x="70" y="17"/>
                </a:lnTo>
                <a:lnTo>
                  <a:pt x="70" y="17"/>
                </a:lnTo>
                <a:lnTo>
                  <a:pt x="70" y="17"/>
                </a:lnTo>
                <a:lnTo>
                  <a:pt x="70" y="17"/>
                </a:lnTo>
                <a:lnTo>
                  <a:pt x="70" y="17"/>
                </a:lnTo>
                <a:lnTo>
                  <a:pt x="70" y="17"/>
                </a:lnTo>
                <a:lnTo>
                  <a:pt x="70" y="18"/>
                </a:lnTo>
                <a:lnTo>
                  <a:pt x="70" y="18"/>
                </a:lnTo>
                <a:lnTo>
                  <a:pt x="71" y="18"/>
                </a:lnTo>
                <a:lnTo>
                  <a:pt x="71" y="18"/>
                </a:lnTo>
                <a:lnTo>
                  <a:pt x="71" y="18"/>
                </a:lnTo>
                <a:lnTo>
                  <a:pt x="71" y="18"/>
                </a:lnTo>
                <a:lnTo>
                  <a:pt x="71" y="19"/>
                </a:lnTo>
                <a:lnTo>
                  <a:pt x="71" y="19"/>
                </a:lnTo>
                <a:lnTo>
                  <a:pt x="71" y="19"/>
                </a:lnTo>
                <a:lnTo>
                  <a:pt x="71" y="19"/>
                </a:lnTo>
                <a:lnTo>
                  <a:pt x="71" y="19"/>
                </a:lnTo>
                <a:lnTo>
                  <a:pt x="71" y="20"/>
                </a:lnTo>
                <a:lnTo>
                  <a:pt x="72" y="20"/>
                </a:lnTo>
                <a:lnTo>
                  <a:pt x="72" y="20"/>
                </a:lnTo>
                <a:lnTo>
                  <a:pt x="72" y="20"/>
                </a:lnTo>
                <a:lnTo>
                  <a:pt x="72" y="20"/>
                </a:lnTo>
                <a:lnTo>
                  <a:pt x="72" y="20"/>
                </a:lnTo>
                <a:lnTo>
                  <a:pt x="72" y="21"/>
                </a:lnTo>
                <a:lnTo>
                  <a:pt x="72" y="21"/>
                </a:lnTo>
                <a:lnTo>
                  <a:pt x="72" y="21"/>
                </a:lnTo>
                <a:lnTo>
                  <a:pt x="72" y="21"/>
                </a:lnTo>
                <a:lnTo>
                  <a:pt x="72" y="21"/>
                </a:lnTo>
                <a:lnTo>
                  <a:pt x="72" y="22"/>
                </a:lnTo>
                <a:lnTo>
                  <a:pt x="72" y="22"/>
                </a:lnTo>
                <a:lnTo>
                  <a:pt x="73" y="22"/>
                </a:lnTo>
                <a:lnTo>
                  <a:pt x="73" y="22"/>
                </a:lnTo>
                <a:lnTo>
                  <a:pt x="73" y="22"/>
                </a:lnTo>
                <a:lnTo>
                  <a:pt x="73" y="22"/>
                </a:lnTo>
                <a:lnTo>
                  <a:pt x="73" y="23"/>
                </a:lnTo>
                <a:lnTo>
                  <a:pt x="73" y="23"/>
                </a:lnTo>
                <a:lnTo>
                  <a:pt x="73" y="23"/>
                </a:lnTo>
                <a:lnTo>
                  <a:pt x="73" y="23"/>
                </a:lnTo>
                <a:lnTo>
                  <a:pt x="73" y="23"/>
                </a:lnTo>
                <a:lnTo>
                  <a:pt x="73" y="25"/>
                </a:lnTo>
                <a:lnTo>
                  <a:pt x="73" y="25"/>
                </a:lnTo>
                <a:lnTo>
                  <a:pt x="73" y="25"/>
                </a:lnTo>
                <a:lnTo>
                  <a:pt x="73" y="25"/>
                </a:lnTo>
                <a:lnTo>
                  <a:pt x="75" y="25"/>
                </a:lnTo>
                <a:lnTo>
                  <a:pt x="75" y="26"/>
                </a:lnTo>
                <a:lnTo>
                  <a:pt x="75" y="26"/>
                </a:lnTo>
                <a:lnTo>
                  <a:pt x="75" y="26"/>
                </a:lnTo>
                <a:lnTo>
                  <a:pt x="75" y="26"/>
                </a:lnTo>
                <a:lnTo>
                  <a:pt x="75" y="26"/>
                </a:lnTo>
                <a:lnTo>
                  <a:pt x="75" y="27"/>
                </a:lnTo>
                <a:lnTo>
                  <a:pt x="75" y="27"/>
                </a:lnTo>
                <a:lnTo>
                  <a:pt x="75" y="27"/>
                </a:lnTo>
                <a:lnTo>
                  <a:pt x="75" y="27"/>
                </a:lnTo>
                <a:lnTo>
                  <a:pt x="75" y="27"/>
                </a:lnTo>
                <a:lnTo>
                  <a:pt x="75" y="28"/>
                </a:lnTo>
                <a:lnTo>
                  <a:pt x="75" y="28"/>
                </a:lnTo>
                <a:lnTo>
                  <a:pt x="75" y="28"/>
                </a:lnTo>
                <a:lnTo>
                  <a:pt x="75" y="28"/>
                </a:lnTo>
                <a:lnTo>
                  <a:pt x="75" y="28"/>
                </a:lnTo>
                <a:lnTo>
                  <a:pt x="75" y="29"/>
                </a:lnTo>
                <a:lnTo>
                  <a:pt x="75" y="29"/>
                </a:lnTo>
                <a:lnTo>
                  <a:pt x="75" y="29"/>
                </a:lnTo>
                <a:lnTo>
                  <a:pt x="76" y="29"/>
                </a:lnTo>
                <a:lnTo>
                  <a:pt x="76" y="29"/>
                </a:lnTo>
                <a:lnTo>
                  <a:pt x="76" y="30"/>
                </a:lnTo>
                <a:lnTo>
                  <a:pt x="76" y="30"/>
                </a:lnTo>
                <a:lnTo>
                  <a:pt x="76" y="30"/>
                </a:lnTo>
                <a:lnTo>
                  <a:pt x="76" y="30"/>
                </a:lnTo>
                <a:lnTo>
                  <a:pt x="76" y="30"/>
                </a:lnTo>
                <a:lnTo>
                  <a:pt x="76" y="31"/>
                </a:lnTo>
                <a:lnTo>
                  <a:pt x="76" y="31"/>
                </a:lnTo>
                <a:lnTo>
                  <a:pt x="76" y="31"/>
                </a:lnTo>
                <a:lnTo>
                  <a:pt x="76" y="31"/>
                </a:lnTo>
                <a:lnTo>
                  <a:pt x="76" y="31"/>
                </a:lnTo>
                <a:lnTo>
                  <a:pt x="76" y="32"/>
                </a:lnTo>
                <a:lnTo>
                  <a:pt x="76" y="32"/>
                </a:lnTo>
                <a:lnTo>
                  <a:pt x="76" y="32"/>
                </a:lnTo>
                <a:lnTo>
                  <a:pt x="76" y="32"/>
                </a:lnTo>
                <a:lnTo>
                  <a:pt x="76" y="32"/>
                </a:lnTo>
                <a:lnTo>
                  <a:pt x="76" y="34"/>
                </a:lnTo>
                <a:lnTo>
                  <a:pt x="76" y="34"/>
                </a:lnTo>
                <a:lnTo>
                  <a:pt x="76" y="34"/>
                </a:lnTo>
                <a:lnTo>
                  <a:pt x="76" y="34"/>
                </a:lnTo>
                <a:lnTo>
                  <a:pt x="76" y="34"/>
                </a:lnTo>
                <a:lnTo>
                  <a:pt x="76" y="35"/>
                </a:lnTo>
                <a:lnTo>
                  <a:pt x="76" y="35"/>
                </a:lnTo>
                <a:lnTo>
                  <a:pt x="76" y="35"/>
                </a:lnTo>
                <a:lnTo>
                  <a:pt x="76" y="35"/>
                </a:lnTo>
                <a:lnTo>
                  <a:pt x="76" y="36"/>
                </a:lnTo>
                <a:lnTo>
                  <a:pt x="76" y="36"/>
                </a:lnTo>
                <a:lnTo>
                  <a:pt x="76" y="36"/>
                </a:lnTo>
                <a:lnTo>
                  <a:pt x="76" y="36"/>
                </a:lnTo>
                <a:lnTo>
                  <a:pt x="76" y="36"/>
                </a:lnTo>
                <a:lnTo>
                  <a:pt x="76" y="37"/>
                </a:lnTo>
                <a:lnTo>
                  <a:pt x="76" y="37"/>
                </a:lnTo>
                <a:lnTo>
                  <a:pt x="76" y="37"/>
                </a:lnTo>
                <a:lnTo>
                  <a:pt x="76" y="37"/>
                </a:lnTo>
                <a:close/>
                <a:moveTo>
                  <a:pt x="78" y="41"/>
                </a:moveTo>
                <a:lnTo>
                  <a:pt x="78" y="34"/>
                </a:lnTo>
                <a:lnTo>
                  <a:pt x="94" y="34"/>
                </a:lnTo>
                <a:lnTo>
                  <a:pt x="94" y="41"/>
                </a:lnTo>
                <a:lnTo>
                  <a:pt x="78" y="41"/>
                </a:lnTo>
                <a:lnTo>
                  <a:pt x="78" y="41"/>
                </a:lnTo>
                <a:close/>
                <a:moveTo>
                  <a:pt x="125" y="41"/>
                </a:moveTo>
                <a:lnTo>
                  <a:pt x="125" y="34"/>
                </a:lnTo>
                <a:lnTo>
                  <a:pt x="141" y="34"/>
                </a:lnTo>
                <a:lnTo>
                  <a:pt x="141" y="41"/>
                </a:lnTo>
                <a:lnTo>
                  <a:pt x="125" y="41"/>
                </a:lnTo>
                <a:lnTo>
                  <a:pt x="125" y="41"/>
                </a:lnTo>
                <a:close/>
                <a:moveTo>
                  <a:pt x="173" y="41"/>
                </a:moveTo>
                <a:lnTo>
                  <a:pt x="173" y="34"/>
                </a:lnTo>
                <a:lnTo>
                  <a:pt x="188" y="34"/>
                </a:lnTo>
                <a:lnTo>
                  <a:pt x="188" y="41"/>
                </a:lnTo>
                <a:lnTo>
                  <a:pt x="173" y="41"/>
                </a:lnTo>
                <a:lnTo>
                  <a:pt x="173" y="41"/>
                </a:lnTo>
                <a:close/>
                <a:moveTo>
                  <a:pt x="220" y="41"/>
                </a:moveTo>
                <a:lnTo>
                  <a:pt x="220" y="34"/>
                </a:lnTo>
                <a:lnTo>
                  <a:pt x="236" y="34"/>
                </a:lnTo>
                <a:lnTo>
                  <a:pt x="236" y="41"/>
                </a:lnTo>
                <a:lnTo>
                  <a:pt x="220" y="41"/>
                </a:lnTo>
                <a:lnTo>
                  <a:pt x="220" y="41"/>
                </a:lnTo>
                <a:close/>
                <a:moveTo>
                  <a:pt x="267" y="41"/>
                </a:moveTo>
                <a:lnTo>
                  <a:pt x="267" y="34"/>
                </a:lnTo>
                <a:lnTo>
                  <a:pt x="283" y="34"/>
                </a:lnTo>
                <a:lnTo>
                  <a:pt x="283" y="41"/>
                </a:lnTo>
                <a:lnTo>
                  <a:pt x="267" y="41"/>
                </a:lnTo>
                <a:lnTo>
                  <a:pt x="267" y="41"/>
                </a:lnTo>
                <a:close/>
                <a:moveTo>
                  <a:pt x="314" y="41"/>
                </a:moveTo>
                <a:lnTo>
                  <a:pt x="314" y="34"/>
                </a:lnTo>
                <a:lnTo>
                  <a:pt x="330" y="34"/>
                </a:lnTo>
                <a:lnTo>
                  <a:pt x="330" y="41"/>
                </a:lnTo>
                <a:lnTo>
                  <a:pt x="314" y="41"/>
                </a:lnTo>
                <a:lnTo>
                  <a:pt x="314" y="41"/>
                </a:lnTo>
                <a:close/>
                <a:moveTo>
                  <a:pt x="362" y="41"/>
                </a:moveTo>
                <a:lnTo>
                  <a:pt x="362" y="34"/>
                </a:lnTo>
                <a:lnTo>
                  <a:pt x="376" y="34"/>
                </a:lnTo>
                <a:lnTo>
                  <a:pt x="376" y="41"/>
                </a:lnTo>
                <a:lnTo>
                  <a:pt x="362" y="41"/>
                </a:lnTo>
                <a:lnTo>
                  <a:pt x="362" y="41"/>
                </a:lnTo>
                <a:close/>
                <a:moveTo>
                  <a:pt x="408" y="41"/>
                </a:moveTo>
                <a:lnTo>
                  <a:pt x="408" y="34"/>
                </a:lnTo>
                <a:lnTo>
                  <a:pt x="424" y="34"/>
                </a:lnTo>
                <a:lnTo>
                  <a:pt x="424" y="41"/>
                </a:lnTo>
                <a:lnTo>
                  <a:pt x="408" y="41"/>
                </a:lnTo>
                <a:lnTo>
                  <a:pt x="408" y="41"/>
                </a:lnTo>
                <a:close/>
                <a:moveTo>
                  <a:pt x="455" y="41"/>
                </a:moveTo>
                <a:lnTo>
                  <a:pt x="455" y="34"/>
                </a:lnTo>
                <a:lnTo>
                  <a:pt x="471" y="34"/>
                </a:lnTo>
                <a:lnTo>
                  <a:pt x="471" y="41"/>
                </a:lnTo>
                <a:lnTo>
                  <a:pt x="455" y="41"/>
                </a:lnTo>
                <a:close/>
              </a:path>
            </a:pathLst>
          </a:custGeom>
          <a:solidFill>
            <a:srgbClr val="8497B0"/>
          </a:solidFill>
          <a:ln>
            <a:solidFill>
              <a:srgbClr val="006699"/>
            </a:solidFill>
          </a:ln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1013"/>
          </a:p>
        </p:txBody>
      </p:sp>
      <p:sp>
        <p:nvSpPr>
          <p:cNvPr id="180" name="Freeform 83">
            <a:extLst>
              <a:ext uri="{FF2B5EF4-FFF2-40B4-BE49-F238E27FC236}">
                <a16:creationId xmlns:a16="http://schemas.microsoft.com/office/drawing/2014/main" id="{097B7362-3786-467E-AECB-07AD125BAFE7}"/>
              </a:ext>
            </a:extLst>
          </p:cNvPr>
          <p:cNvSpPr>
            <a:spLocks noEditPoints="1"/>
          </p:cNvSpPr>
          <p:nvPr/>
        </p:nvSpPr>
        <p:spPr bwMode="auto">
          <a:xfrm rot="9114747">
            <a:off x="2607559" y="6312825"/>
            <a:ext cx="508519" cy="231658"/>
          </a:xfrm>
          <a:custGeom>
            <a:avLst/>
            <a:gdLst>
              <a:gd name="T0" fmla="*/ 43 w 518"/>
              <a:gd name="T1" fmla="*/ 66 h 74"/>
              <a:gd name="T2" fmla="*/ 49 w 518"/>
              <a:gd name="T3" fmla="*/ 65 h 74"/>
              <a:gd name="T4" fmla="*/ 54 w 518"/>
              <a:gd name="T5" fmla="*/ 62 h 74"/>
              <a:gd name="T6" fmla="*/ 59 w 518"/>
              <a:gd name="T7" fmla="*/ 58 h 74"/>
              <a:gd name="T8" fmla="*/ 63 w 518"/>
              <a:gd name="T9" fmla="*/ 54 h 74"/>
              <a:gd name="T10" fmla="*/ 66 w 518"/>
              <a:gd name="T11" fmla="*/ 48 h 74"/>
              <a:gd name="T12" fmla="*/ 68 w 518"/>
              <a:gd name="T13" fmla="*/ 43 h 74"/>
              <a:gd name="T14" fmla="*/ 68 w 518"/>
              <a:gd name="T15" fmla="*/ 37 h 74"/>
              <a:gd name="T16" fmla="*/ 68 w 518"/>
              <a:gd name="T17" fmla="*/ 30 h 74"/>
              <a:gd name="T18" fmla="*/ 66 w 518"/>
              <a:gd name="T19" fmla="*/ 25 h 74"/>
              <a:gd name="T20" fmla="*/ 62 w 518"/>
              <a:gd name="T21" fmla="*/ 20 h 74"/>
              <a:gd name="T22" fmla="*/ 59 w 518"/>
              <a:gd name="T23" fmla="*/ 16 h 74"/>
              <a:gd name="T24" fmla="*/ 54 w 518"/>
              <a:gd name="T25" fmla="*/ 12 h 74"/>
              <a:gd name="T26" fmla="*/ 49 w 518"/>
              <a:gd name="T27" fmla="*/ 9 h 74"/>
              <a:gd name="T28" fmla="*/ 43 w 518"/>
              <a:gd name="T29" fmla="*/ 8 h 74"/>
              <a:gd name="T30" fmla="*/ 36 w 518"/>
              <a:gd name="T31" fmla="*/ 8 h 74"/>
              <a:gd name="T32" fmla="*/ 31 w 518"/>
              <a:gd name="T33" fmla="*/ 9 h 74"/>
              <a:gd name="T34" fmla="*/ 25 w 518"/>
              <a:gd name="T35" fmla="*/ 11 h 74"/>
              <a:gd name="T36" fmla="*/ 21 w 518"/>
              <a:gd name="T37" fmla="*/ 13 h 74"/>
              <a:gd name="T38" fmla="*/ 16 w 518"/>
              <a:gd name="T39" fmla="*/ 18 h 74"/>
              <a:gd name="T40" fmla="*/ 13 w 518"/>
              <a:gd name="T41" fmla="*/ 22 h 74"/>
              <a:gd name="T42" fmla="*/ 10 w 518"/>
              <a:gd name="T43" fmla="*/ 28 h 74"/>
              <a:gd name="T44" fmla="*/ 9 w 518"/>
              <a:gd name="T45" fmla="*/ 34 h 74"/>
              <a:gd name="T46" fmla="*/ 9 w 518"/>
              <a:gd name="T47" fmla="*/ 40 h 74"/>
              <a:gd name="T48" fmla="*/ 10 w 518"/>
              <a:gd name="T49" fmla="*/ 46 h 74"/>
              <a:gd name="T50" fmla="*/ 13 w 518"/>
              <a:gd name="T51" fmla="*/ 52 h 74"/>
              <a:gd name="T52" fmla="*/ 16 w 518"/>
              <a:gd name="T53" fmla="*/ 56 h 74"/>
              <a:gd name="T54" fmla="*/ 21 w 518"/>
              <a:gd name="T55" fmla="*/ 61 h 74"/>
              <a:gd name="T56" fmla="*/ 25 w 518"/>
              <a:gd name="T57" fmla="*/ 64 h 74"/>
              <a:gd name="T58" fmla="*/ 31 w 518"/>
              <a:gd name="T59" fmla="*/ 66 h 74"/>
              <a:gd name="T60" fmla="*/ 37 w 518"/>
              <a:gd name="T61" fmla="*/ 66 h 74"/>
              <a:gd name="T62" fmla="*/ 76 w 518"/>
              <a:gd name="T63" fmla="*/ 43 h 74"/>
              <a:gd name="T64" fmla="*/ 73 w 518"/>
              <a:gd name="T65" fmla="*/ 50 h 74"/>
              <a:gd name="T66" fmla="*/ 70 w 518"/>
              <a:gd name="T67" fmla="*/ 57 h 74"/>
              <a:gd name="T68" fmla="*/ 66 w 518"/>
              <a:gd name="T69" fmla="*/ 63 h 74"/>
              <a:gd name="T70" fmla="*/ 60 w 518"/>
              <a:gd name="T71" fmla="*/ 67 h 74"/>
              <a:gd name="T72" fmla="*/ 54 w 518"/>
              <a:gd name="T73" fmla="*/ 72 h 74"/>
              <a:gd name="T74" fmla="*/ 46 w 518"/>
              <a:gd name="T75" fmla="*/ 74 h 74"/>
              <a:gd name="T76" fmla="*/ 39 w 518"/>
              <a:gd name="T77" fmla="*/ 74 h 74"/>
              <a:gd name="T78" fmla="*/ 31 w 518"/>
              <a:gd name="T79" fmla="*/ 74 h 74"/>
              <a:gd name="T80" fmla="*/ 24 w 518"/>
              <a:gd name="T81" fmla="*/ 72 h 74"/>
              <a:gd name="T82" fmla="*/ 17 w 518"/>
              <a:gd name="T83" fmla="*/ 68 h 74"/>
              <a:gd name="T84" fmla="*/ 12 w 518"/>
              <a:gd name="T85" fmla="*/ 63 h 74"/>
              <a:gd name="T86" fmla="*/ 7 w 518"/>
              <a:gd name="T87" fmla="*/ 57 h 74"/>
              <a:gd name="T88" fmla="*/ 4 w 518"/>
              <a:gd name="T89" fmla="*/ 50 h 74"/>
              <a:gd name="T90" fmla="*/ 1 w 518"/>
              <a:gd name="T91" fmla="*/ 44 h 74"/>
              <a:gd name="T92" fmla="*/ 0 w 518"/>
              <a:gd name="T93" fmla="*/ 36 h 74"/>
              <a:gd name="T94" fmla="*/ 1 w 518"/>
              <a:gd name="T95" fmla="*/ 28 h 74"/>
              <a:gd name="T96" fmla="*/ 5 w 518"/>
              <a:gd name="T97" fmla="*/ 21 h 74"/>
              <a:gd name="T98" fmla="*/ 8 w 518"/>
              <a:gd name="T99" fmla="*/ 14 h 74"/>
              <a:gd name="T100" fmla="*/ 14 w 518"/>
              <a:gd name="T101" fmla="*/ 9 h 74"/>
              <a:gd name="T102" fmla="*/ 19 w 518"/>
              <a:gd name="T103" fmla="*/ 4 h 74"/>
              <a:gd name="T104" fmla="*/ 26 w 518"/>
              <a:gd name="T105" fmla="*/ 1 h 74"/>
              <a:gd name="T106" fmla="*/ 34 w 518"/>
              <a:gd name="T107" fmla="*/ 0 h 74"/>
              <a:gd name="T108" fmla="*/ 42 w 518"/>
              <a:gd name="T109" fmla="*/ 0 h 74"/>
              <a:gd name="T110" fmla="*/ 50 w 518"/>
              <a:gd name="T111" fmla="*/ 1 h 74"/>
              <a:gd name="T112" fmla="*/ 57 w 518"/>
              <a:gd name="T113" fmla="*/ 4 h 74"/>
              <a:gd name="T114" fmla="*/ 62 w 518"/>
              <a:gd name="T115" fmla="*/ 8 h 74"/>
              <a:gd name="T116" fmla="*/ 68 w 518"/>
              <a:gd name="T117" fmla="*/ 13 h 74"/>
              <a:gd name="T118" fmla="*/ 72 w 518"/>
              <a:gd name="T119" fmla="*/ 20 h 74"/>
              <a:gd name="T120" fmla="*/ 75 w 518"/>
              <a:gd name="T121" fmla="*/ 27 h 74"/>
              <a:gd name="T122" fmla="*/ 76 w 518"/>
              <a:gd name="T123" fmla="*/ 35 h 74"/>
              <a:gd name="T124" fmla="*/ 236 w 518"/>
              <a:gd name="T125" fmla="*/ 34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8" h="74">
                <a:moveTo>
                  <a:pt x="502" y="41"/>
                </a:moveTo>
                <a:lnTo>
                  <a:pt x="502" y="34"/>
                </a:lnTo>
                <a:lnTo>
                  <a:pt x="518" y="34"/>
                </a:lnTo>
                <a:lnTo>
                  <a:pt x="518" y="41"/>
                </a:lnTo>
                <a:lnTo>
                  <a:pt x="502" y="41"/>
                </a:lnTo>
                <a:lnTo>
                  <a:pt x="502" y="41"/>
                </a:lnTo>
                <a:close/>
                <a:moveTo>
                  <a:pt x="39" y="66"/>
                </a:moveTo>
                <a:lnTo>
                  <a:pt x="39" y="66"/>
                </a:lnTo>
                <a:lnTo>
                  <a:pt x="39" y="66"/>
                </a:lnTo>
                <a:lnTo>
                  <a:pt x="39" y="66"/>
                </a:lnTo>
                <a:lnTo>
                  <a:pt x="40" y="66"/>
                </a:lnTo>
                <a:lnTo>
                  <a:pt x="40" y="66"/>
                </a:lnTo>
                <a:lnTo>
                  <a:pt x="40" y="66"/>
                </a:lnTo>
                <a:lnTo>
                  <a:pt x="40" y="66"/>
                </a:lnTo>
                <a:lnTo>
                  <a:pt x="40" y="66"/>
                </a:lnTo>
                <a:lnTo>
                  <a:pt x="40" y="66"/>
                </a:lnTo>
                <a:lnTo>
                  <a:pt x="41" y="66"/>
                </a:lnTo>
                <a:lnTo>
                  <a:pt x="41" y="66"/>
                </a:lnTo>
                <a:lnTo>
                  <a:pt x="41" y="66"/>
                </a:lnTo>
                <a:lnTo>
                  <a:pt x="41" y="66"/>
                </a:lnTo>
                <a:lnTo>
                  <a:pt x="41" y="66"/>
                </a:lnTo>
                <a:lnTo>
                  <a:pt x="41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3" y="66"/>
                </a:lnTo>
                <a:lnTo>
                  <a:pt x="43" y="66"/>
                </a:lnTo>
                <a:lnTo>
                  <a:pt x="43" y="66"/>
                </a:lnTo>
                <a:lnTo>
                  <a:pt x="43" y="66"/>
                </a:lnTo>
                <a:lnTo>
                  <a:pt x="43" y="66"/>
                </a:lnTo>
                <a:lnTo>
                  <a:pt x="43" y="66"/>
                </a:lnTo>
                <a:lnTo>
                  <a:pt x="44" y="66"/>
                </a:lnTo>
                <a:lnTo>
                  <a:pt x="44" y="66"/>
                </a:lnTo>
                <a:lnTo>
                  <a:pt x="44" y="66"/>
                </a:lnTo>
                <a:lnTo>
                  <a:pt x="44" y="66"/>
                </a:lnTo>
                <a:lnTo>
                  <a:pt x="44" y="66"/>
                </a:lnTo>
                <a:lnTo>
                  <a:pt x="44" y="66"/>
                </a:lnTo>
                <a:lnTo>
                  <a:pt x="45" y="66"/>
                </a:lnTo>
                <a:lnTo>
                  <a:pt x="45" y="66"/>
                </a:lnTo>
                <a:lnTo>
                  <a:pt x="45" y="66"/>
                </a:lnTo>
                <a:lnTo>
                  <a:pt x="45" y="66"/>
                </a:lnTo>
                <a:lnTo>
                  <a:pt x="45" y="66"/>
                </a:lnTo>
                <a:lnTo>
                  <a:pt x="45" y="66"/>
                </a:lnTo>
                <a:lnTo>
                  <a:pt x="45" y="66"/>
                </a:lnTo>
                <a:lnTo>
                  <a:pt x="46" y="66"/>
                </a:lnTo>
                <a:lnTo>
                  <a:pt x="46" y="66"/>
                </a:lnTo>
                <a:lnTo>
                  <a:pt x="46" y="65"/>
                </a:lnTo>
                <a:lnTo>
                  <a:pt x="46" y="65"/>
                </a:lnTo>
                <a:lnTo>
                  <a:pt x="46" y="65"/>
                </a:lnTo>
                <a:lnTo>
                  <a:pt x="46" y="65"/>
                </a:lnTo>
                <a:lnTo>
                  <a:pt x="48" y="65"/>
                </a:lnTo>
                <a:lnTo>
                  <a:pt x="48" y="65"/>
                </a:lnTo>
                <a:lnTo>
                  <a:pt x="48" y="65"/>
                </a:lnTo>
                <a:lnTo>
                  <a:pt x="48" y="65"/>
                </a:lnTo>
                <a:lnTo>
                  <a:pt x="48" y="65"/>
                </a:lnTo>
                <a:lnTo>
                  <a:pt x="48" y="65"/>
                </a:lnTo>
                <a:lnTo>
                  <a:pt x="48" y="65"/>
                </a:lnTo>
                <a:lnTo>
                  <a:pt x="49" y="65"/>
                </a:lnTo>
                <a:lnTo>
                  <a:pt x="49" y="65"/>
                </a:lnTo>
                <a:lnTo>
                  <a:pt x="49" y="65"/>
                </a:lnTo>
                <a:lnTo>
                  <a:pt x="49" y="65"/>
                </a:lnTo>
                <a:lnTo>
                  <a:pt x="49" y="65"/>
                </a:lnTo>
                <a:lnTo>
                  <a:pt x="49" y="65"/>
                </a:lnTo>
                <a:lnTo>
                  <a:pt x="50" y="65"/>
                </a:lnTo>
                <a:lnTo>
                  <a:pt x="50" y="65"/>
                </a:lnTo>
                <a:lnTo>
                  <a:pt x="50" y="64"/>
                </a:lnTo>
                <a:lnTo>
                  <a:pt x="50" y="64"/>
                </a:lnTo>
                <a:lnTo>
                  <a:pt x="50" y="64"/>
                </a:lnTo>
                <a:lnTo>
                  <a:pt x="50" y="64"/>
                </a:lnTo>
                <a:lnTo>
                  <a:pt x="50" y="64"/>
                </a:lnTo>
                <a:lnTo>
                  <a:pt x="51" y="64"/>
                </a:lnTo>
                <a:lnTo>
                  <a:pt x="51" y="64"/>
                </a:lnTo>
                <a:lnTo>
                  <a:pt x="51" y="64"/>
                </a:lnTo>
                <a:lnTo>
                  <a:pt x="51" y="64"/>
                </a:lnTo>
                <a:lnTo>
                  <a:pt x="51" y="64"/>
                </a:lnTo>
                <a:lnTo>
                  <a:pt x="51" y="64"/>
                </a:lnTo>
                <a:lnTo>
                  <a:pt x="51" y="64"/>
                </a:lnTo>
                <a:lnTo>
                  <a:pt x="52" y="64"/>
                </a:lnTo>
                <a:lnTo>
                  <a:pt x="52" y="64"/>
                </a:lnTo>
                <a:lnTo>
                  <a:pt x="52" y="64"/>
                </a:lnTo>
                <a:lnTo>
                  <a:pt x="52" y="63"/>
                </a:lnTo>
                <a:lnTo>
                  <a:pt x="52" y="63"/>
                </a:lnTo>
                <a:lnTo>
                  <a:pt x="52" y="63"/>
                </a:lnTo>
                <a:lnTo>
                  <a:pt x="52" y="63"/>
                </a:lnTo>
                <a:lnTo>
                  <a:pt x="53" y="63"/>
                </a:lnTo>
                <a:lnTo>
                  <a:pt x="53" y="63"/>
                </a:lnTo>
                <a:lnTo>
                  <a:pt x="53" y="63"/>
                </a:lnTo>
                <a:lnTo>
                  <a:pt x="53" y="63"/>
                </a:lnTo>
                <a:lnTo>
                  <a:pt x="53" y="63"/>
                </a:lnTo>
                <a:lnTo>
                  <a:pt x="53" y="63"/>
                </a:lnTo>
                <a:lnTo>
                  <a:pt x="53" y="63"/>
                </a:lnTo>
                <a:lnTo>
                  <a:pt x="54" y="63"/>
                </a:lnTo>
                <a:lnTo>
                  <a:pt x="54" y="63"/>
                </a:lnTo>
                <a:lnTo>
                  <a:pt x="54" y="62"/>
                </a:lnTo>
                <a:lnTo>
                  <a:pt x="54" y="62"/>
                </a:lnTo>
                <a:lnTo>
                  <a:pt x="54" y="62"/>
                </a:lnTo>
                <a:lnTo>
                  <a:pt x="54" y="62"/>
                </a:lnTo>
                <a:lnTo>
                  <a:pt x="54" y="62"/>
                </a:lnTo>
                <a:lnTo>
                  <a:pt x="54" y="62"/>
                </a:lnTo>
                <a:lnTo>
                  <a:pt x="55" y="62"/>
                </a:lnTo>
                <a:lnTo>
                  <a:pt x="55" y="62"/>
                </a:lnTo>
                <a:lnTo>
                  <a:pt x="55" y="62"/>
                </a:lnTo>
                <a:lnTo>
                  <a:pt x="55" y="62"/>
                </a:lnTo>
                <a:lnTo>
                  <a:pt x="55" y="62"/>
                </a:lnTo>
                <a:lnTo>
                  <a:pt x="55" y="61"/>
                </a:lnTo>
                <a:lnTo>
                  <a:pt x="55" y="61"/>
                </a:lnTo>
                <a:lnTo>
                  <a:pt x="55" y="61"/>
                </a:lnTo>
                <a:lnTo>
                  <a:pt x="57" y="61"/>
                </a:lnTo>
                <a:lnTo>
                  <a:pt x="57" y="61"/>
                </a:lnTo>
                <a:lnTo>
                  <a:pt x="57" y="61"/>
                </a:lnTo>
                <a:lnTo>
                  <a:pt x="57" y="61"/>
                </a:lnTo>
                <a:lnTo>
                  <a:pt x="57" y="61"/>
                </a:lnTo>
                <a:lnTo>
                  <a:pt x="57" y="61"/>
                </a:lnTo>
                <a:lnTo>
                  <a:pt x="57" y="61"/>
                </a:lnTo>
                <a:lnTo>
                  <a:pt x="57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9" y="59"/>
                </a:lnTo>
                <a:lnTo>
                  <a:pt x="59" y="58"/>
                </a:lnTo>
                <a:lnTo>
                  <a:pt x="59" y="58"/>
                </a:lnTo>
                <a:lnTo>
                  <a:pt x="59" y="58"/>
                </a:lnTo>
                <a:lnTo>
                  <a:pt x="59" y="58"/>
                </a:lnTo>
                <a:lnTo>
                  <a:pt x="59" y="58"/>
                </a:lnTo>
                <a:lnTo>
                  <a:pt x="59" y="58"/>
                </a:lnTo>
                <a:lnTo>
                  <a:pt x="59" y="58"/>
                </a:lnTo>
                <a:lnTo>
                  <a:pt x="60" y="58"/>
                </a:lnTo>
                <a:lnTo>
                  <a:pt x="60" y="58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1" y="57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4"/>
                </a:lnTo>
                <a:lnTo>
                  <a:pt x="62" y="54"/>
                </a:lnTo>
                <a:lnTo>
                  <a:pt x="62" y="54"/>
                </a:lnTo>
                <a:lnTo>
                  <a:pt x="63" y="54"/>
                </a:lnTo>
                <a:lnTo>
                  <a:pt x="63" y="54"/>
                </a:lnTo>
                <a:lnTo>
                  <a:pt x="63" y="54"/>
                </a:lnTo>
                <a:lnTo>
                  <a:pt x="63" y="54"/>
                </a:lnTo>
                <a:lnTo>
                  <a:pt x="63" y="54"/>
                </a:lnTo>
                <a:lnTo>
                  <a:pt x="63" y="53"/>
                </a:lnTo>
                <a:lnTo>
                  <a:pt x="63" y="53"/>
                </a:lnTo>
                <a:lnTo>
                  <a:pt x="63" y="53"/>
                </a:lnTo>
                <a:lnTo>
                  <a:pt x="63" y="53"/>
                </a:lnTo>
                <a:lnTo>
                  <a:pt x="63" y="53"/>
                </a:lnTo>
                <a:lnTo>
                  <a:pt x="63" y="53"/>
                </a:lnTo>
                <a:lnTo>
                  <a:pt x="63" y="53"/>
                </a:lnTo>
                <a:lnTo>
                  <a:pt x="64" y="52"/>
                </a:lnTo>
                <a:lnTo>
                  <a:pt x="64" y="52"/>
                </a:lnTo>
                <a:lnTo>
                  <a:pt x="64" y="52"/>
                </a:lnTo>
                <a:lnTo>
                  <a:pt x="64" y="52"/>
                </a:lnTo>
                <a:lnTo>
                  <a:pt x="64" y="52"/>
                </a:lnTo>
                <a:lnTo>
                  <a:pt x="64" y="52"/>
                </a:lnTo>
                <a:lnTo>
                  <a:pt x="64" y="52"/>
                </a:lnTo>
                <a:lnTo>
                  <a:pt x="64" y="50"/>
                </a:lnTo>
                <a:lnTo>
                  <a:pt x="64" y="50"/>
                </a:lnTo>
                <a:lnTo>
                  <a:pt x="64" y="50"/>
                </a:lnTo>
                <a:lnTo>
                  <a:pt x="64" y="50"/>
                </a:lnTo>
                <a:lnTo>
                  <a:pt x="64" y="50"/>
                </a:lnTo>
                <a:lnTo>
                  <a:pt x="64" y="50"/>
                </a:lnTo>
                <a:lnTo>
                  <a:pt x="66" y="50"/>
                </a:lnTo>
                <a:lnTo>
                  <a:pt x="66" y="49"/>
                </a:lnTo>
                <a:lnTo>
                  <a:pt x="66" y="49"/>
                </a:lnTo>
                <a:lnTo>
                  <a:pt x="66" y="49"/>
                </a:lnTo>
                <a:lnTo>
                  <a:pt x="66" y="49"/>
                </a:lnTo>
                <a:lnTo>
                  <a:pt x="66" y="49"/>
                </a:lnTo>
                <a:lnTo>
                  <a:pt x="66" y="49"/>
                </a:lnTo>
                <a:lnTo>
                  <a:pt x="66" y="49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7" y="47"/>
                </a:lnTo>
                <a:lnTo>
                  <a:pt x="67" y="47"/>
                </a:lnTo>
                <a:lnTo>
                  <a:pt x="67" y="47"/>
                </a:lnTo>
                <a:lnTo>
                  <a:pt x="67" y="47"/>
                </a:lnTo>
                <a:lnTo>
                  <a:pt x="67" y="47"/>
                </a:lnTo>
                <a:lnTo>
                  <a:pt x="67" y="47"/>
                </a:lnTo>
                <a:lnTo>
                  <a:pt x="67" y="47"/>
                </a:lnTo>
                <a:lnTo>
                  <a:pt x="67" y="46"/>
                </a:lnTo>
                <a:lnTo>
                  <a:pt x="67" y="46"/>
                </a:lnTo>
                <a:lnTo>
                  <a:pt x="67" y="46"/>
                </a:lnTo>
                <a:lnTo>
                  <a:pt x="67" y="46"/>
                </a:lnTo>
                <a:lnTo>
                  <a:pt x="67" y="46"/>
                </a:lnTo>
                <a:lnTo>
                  <a:pt x="67" y="46"/>
                </a:lnTo>
                <a:lnTo>
                  <a:pt x="67" y="45"/>
                </a:lnTo>
                <a:lnTo>
                  <a:pt x="67" y="45"/>
                </a:lnTo>
                <a:lnTo>
                  <a:pt x="67" y="45"/>
                </a:lnTo>
                <a:lnTo>
                  <a:pt x="67" y="45"/>
                </a:lnTo>
                <a:lnTo>
                  <a:pt x="67" y="45"/>
                </a:lnTo>
                <a:lnTo>
                  <a:pt x="67" y="45"/>
                </a:lnTo>
                <a:lnTo>
                  <a:pt x="67" y="44"/>
                </a:lnTo>
                <a:lnTo>
                  <a:pt x="67" y="44"/>
                </a:lnTo>
                <a:lnTo>
                  <a:pt x="68" y="44"/>
                </a:lnTo>
                <a:lnTo>
                  <a:pt x="68" y="44"/>
                </a:lnTo>
                <a:lnTo>
                  <a:pt x="68" y="44"/>
                </a:lnTo>
                <a:lnTo>
                  <a:pt x="68" y="44"/>
                </a:lnTo>
                <a:lnTo>
                  <a:pt x="68" y="44"/>
                </a:lnTo>
                <a:lnTo>
                  <a:pt x="68" y="43"/>
                </a:lnTo>
                <a:lnTo>
                  <a:pt x="68" y="43"/>
                </a:lnTo>
                <a:lnTo>
                  <a:pt x="68" y="43"/>
                </a:lnTo>
                <a:lnTo>
                  <a:pt x="68" y="43"/>
                </a:lnTo>
                <a:lnTo>
                  <a:pt x="68" y="43"/>
                </a:lnTo>
                <a:lnTo>
                  <a:pt x="68" y="43"/>
                </a:lnTo>
                <a:lnTo>
                  <a:pt x="68" y="41"/>
                </a:lnTo>
                <a:lnTo>
                  <a:pt x="68" y="41"/>
                </a:lnTo>
                <a:lnTo>
                  <a:pt x="68" y="41"/>
                </a:lnTo>
                <a:lnTo>
                  <a:pt x="68" y="41"/>
                </a:lnTo>
                <a:lnTo>
                  <a:pt x="68" y="41"/>
                </a:lnTo>
                <a:lnTo>
                  <a:pt x="68" y="41"/>
                </a:lnTo>
                <a:lnTo>
                  <a:pt x="68" y="40"/>
                </a:lnTo>
                <a:lnTo>
                  <a:pt x="68" y="40"/>
                </a:lnTo>
                <a:lnTo>
                  <a:pt x="68" y="40"/>
                </a:lnTo>
                <a:lnTo>
                  <a:pt x="68" y="40"/>
                </a:lnTo>
                <a:lnTo>
                  <a:pt x="68" y="40"/>
                </a:lnTo>
                <a:lnTo>
                  <a:pt x="68" y="40"/>
                </a:lnTo>
                <a:lnTo>
                  <a:pt x="68" y="39"/>
                </a:lnTo>
                <a:lnTo>
                  <a:pt x="68" y="39"/>
                </a:lnTo>
                <a:lnTo>
                  <a:pt x="68" y="39"/>
                </a:lnTo>
                <a:lnTo>
                  <a:pt x="68" y="39"/>
                </a:lnTo>
                <a:lnTo>
                  <a:pt x="68" y="39"/>
                </a:lnTo>
                <a:lnTo>
                  <a:pt x="68" y="39"/>
                </a:lnTo>
                <a:lnTo>
                  <a:pt x="68" y="38"/>
                </a:lnTo>
                <a:lnTo>
                  <a:pt x="68" y="38"/>
                </a:lnTo>
                <a:lnTo>
                  <a:pt x="68" y="38"/>
                </a:lnTo>
                <a:lnTo>
                  <a:pt x="68" y="38"/>
                </a:lnTo>
                <a:lnTo>
                  <a:pt x="68" y="38"/>
                </a:lnTo>
                <a:lnTo>
                  <a:pt x="68" y="38"/>
                </a:lnTo>
                <a:lnTo>
                  <a:pt x="68" y="37"/>
                </a:lnTo>
                <a:lnTo>
                  <a:pt x="68" y="37"/>
                </a:lnTo>
                <a:lnTo>
                  <a:pt x="68" y="37"/>
                </a:lnTo>
                <a:lnTo>
                  <a:pt x="68" y="37"/>
                </a:lnTo>
                <a:lnTo>
                  <a:pt x="68" y="37"/>
                </a:lnTo>
                <a:lnTo>
                  <a:pt x="68" y="37"/>
                </a:lnTo>
                <a:lnTo>
                  <a:pt x="68" y="36"/>
                </a:lnTo>
                <a:lnTo>
                  <a:pt x="68" y="36"/>
                </a:lnTo>
                <a:lnTo>
                  <a:pt x="68" y="36"/>
                </a:lnTo>
                <a:lnTo>
                  <a:pt x="68" y="36"/>
                </a:lnTo>
                <a:lnTo>
                  <a:pt x="68" y="36"/>
                </a:lnTo>
                <a:lnTo>
                  <a:pt x="68" y="36"/>
                </a:lnTo>
                <a:lnTo>
                  <a:pt x="68" y="35"/>
                </a:lnTo>
                <a:lnTo>
                  <a:pt x="68" y="35"/>
                </a:lnTo>
                <a:lnTo>
                  <a:pt x="68" y="35"/>
                </a:lnTo>
                <a:lnTo>
                  <a:pt x="68" y="35"/>
                </a:lnTo>
                <a:lnTo>
                  <a:pt x="68" y="35"/>
                </a:lnTo>
                <a:lnTo>
                  <a:pt x="68" y="35"/>
                </a:lnTo>
                <a:lnTo>
                  <a:pt x="68" y="34"/>
                </a:lnTo>
                <a:lnTo>
                  <a:pt x="68" y="34"/>
                </a:lnTo>
                <a:lnTo>
                  <a:pt x="68" y="34"/>
                </a:lnTo>
                <a:lnTo>
                  <a:pt x="68" y="34"/>
                </a:lnTo>
                <a:lnTo>
                  <a:pt x="68" y="34"/>
                </a:lnTo>
                <a:lnTo>
                  <a:pt x="68" y="34"/>
                </a:lnTo>
                <a:lnTo>
                  <a:pt x="68" y="32"/>
                </a:lnTo>
                <a:lnTo>
                  <a:pt x="68" y="32"/>
                </a:lnTo>
                <a:lnTo>
                  <a:pt x="68" y="32"/>
                </a:lnTo>
                <a:lnTo>
                  <a:pt x="68" y="32"/>
                </a:lnTo>
                <a:lnTo>
                  <a:pt x="68" y="32"/>
                </a:lnTo>
                <a:lnTo>
                  <a:pt x="68" y="32"/>
                </a:lnTo>
                <a:lnTo>
                  <a:pt x="68" y="31"/>
                </a:lnTo>
                <a:lnTo>
                  <a:pt x="68" y="31"/>
                </a:lnTo>
                <a:lnTo>
                  <a:pt x="68" y="31"/>
                </a:lnTo>
                <a:lnTo>
                  <a:pt x="68" y="31"/>
                </a:lnTo>
                <a:lnTo>
                  <a:pt x="68" y="31"/>
                </a:lnTo>
                <a:lnTo>
                  <a:pt x="68" y="31"/>
                </a:lnTo>
                <a:lnTo>
                  <a:pt x="68" y="30"/>
                </a:lnTo>
                <a:lnTo>
                  <a:pt x="68" y="30"/>
                </a:lnTo>
                <a:lnTo>
                  <a:pt x="68" y="30"/>
                </a:lnTo>
                <a:lnTo>
                  <a:pt x="68" y="30"/>
                </a:lnTo>
                <a:lnTo>
                  <a:pt x="67" y="30"/>
                </a:lnTo>
                <a:lnTo>
                  <a:pt x="67" y="30"/>
                </a:lnTo>
                <a:lnTo>
                  <a:pt x="67" y="29"/>
                </a:lnTo>
                <a:lnTo>
                  <a:pt x="67" y="29"/>
                </a:lnTo>
                <a:lnTo>
                  <a:pt x="67" y="29"/>
                </a:lnTo>
                <a:lnTo>
                  <a:pt x="67" y="29"/>
                </a:lnTo>
                <a:lnTo>
                  <a:pt x="67" y="29"/>
                </a:lnTo>
                <a:lnTo>
                  <a:pt x="67" y="29"/>
                </a:lnTo>
                <a:lnTo>
                  <a:pt x="67" y="29"/>
                </a:lnTo>
                <a:lnTo>
                  <a:pt x="67" y="28"/>
                </a:lnTo>
                <a:lnTo>
                  <a:pt x="67" y="28"/>
                </a:lnTo>
                <a:lnTo>
                  <a:pt x="67" y="28"/>
                </a:lnTo>
                <a:lnTo>
                  <a:pt x="67" y="28"/>
                </a:lnTo>
                <a:lnTo>
                  <a:pt x="67" y="28"/>
                </a:lnTo>
                <a:lnTo>
                  <a:pt x="67" y="28"/>
                </a:lnTo>
                <a:lnTo>
                  <a:pt x="67" y="27"/>
                </a:lnTo>
                <a:lnTo>
                  <a:pt x="67" y="27"/>
                </a:lnTo>
                <a:lnTo>
                  <a:pt x="67" y="27"/>
                </a:lnTo>
                <a:lnTo>
                  <a:pt x="67" y="27"/>
                </a:lnTo>
                <a:lnTo>
                  <a:pt x="67" y="27"/>
                </a:lnTo>
                <a:lnTo>
                  <a:pt x="67" y="27"/>
                </a:lnTo>
                <a:lnTo>
                  <a:pt x="66" y="27"/>
                </a:lnTo>
                <a:lnTo>
                  <a:pt x="66" y="26"/>
                </a:lnTo>
                <a:lnTo>
                  <a:pt x="66" y="26"/>
                </a:lnTo>
                <a:lnTo>
                  <a:pt x="66" y="26"/>
                </a:lnTo>
                <a:lnTo>
                  <a:pt x="66" y="26"/>
                </a:lnTo>
                <a:lnTo>
                  <a:pt x="66" y="26"/>
                </a:lnTo>
                <a:lnTo>
                  <a:pt x="66" y="26"/>
                </a:lnTo>
                <a:lnTo>
                  <a:pt x="66" y="26"/>
                </a:lnTo>
                <a:lnTo>
                  <a:pt x="66" y="25"/>
                </a:lnTo>
                <a:lnTo>
                  <a:pt x="66" y="25"/>
                </a:lnTo>
                <a:lnTo>
                  <a:pt x="66" y="25"/>
                </a:lnTo>
                <a:lnTo>
                  <a:pt x="66" y="25"/>
                </a:lnTo>
                <a:lnTo>
                  <a:pt x="66" y="25"/>
                </a:lnTo>
                <a:lnTo>
                  <a:pt x="66" y="25"/>
                </a:lnTo>
                <a:lnTo>
                  <a:pt x="66" y="25"/>
                </a:lnTo>
                <a:lnTo>
                  <a:pt x="64" y="23"/>
                </a:lnTo>
                <a:lnTo>
                  <a:pt x="64" y="23"/>
                </a:lnTo>
                <a:lnTo>
                  <a:pt x="64" y="23"/>
                </a:lnTo>
                <a:lnTo>
                  <a:pt x="64" y="23"/>
                </a:lnTo>
                <a:lnTo>
                  <a:pt x="64" y="23"/>
                </a:lnTo>
                <a:lnTo>
                  <a:pt x="64" y="23"/>
                </a:lnTo>
                <a:lnTo>
                  <a:pt x="64" y="23"/>
                </a:lnTo>
                <a:lnTo>
                  <a:pt x="64" y="22"/>
                </a:lnTo>
                <a:lnTo>
                  <a:pt x="64" y="22"/>
                </a:lnTo>
                <a:lnTo>
                  <a:pt x="64" y="22"/>
                </a:lnTo>
                <a:lnTo>
                  <a:pt x="64" y="22"/>
                </a:lnTo>
                <a:lnTo>
                  <a:pt x="64" y="22"/>
                </a:lnTo>
                <a:lnTo>
                  <a:pt x="64" y="22"/>
                </a:lnTo>
                <a:lnTo>
                  <a:pt x="63" y="22"/>
                </a:lnTo>
                <a:lnTo>
                  <a:pt x="63" y="21"/>
                </a:lnTo>
                <a:lnTo>
                  <a:pt x="63" y="21"/>
                </a:lnTo>
                <a:lnTo>
                  <a:pt x="63" y="21"/>
                </a:lnTo>
                <a:lnTo>
                  <a:pt x="63" y="21"/>
                </a:lnTo>
                <a:lnTo>
                  <a:pt x="63" y="21"/>
                </a:lnTo>
                <a:lnTo>
                  <a:pt x="63" y="21"/>
                </a:lnTo>
                <a:lnTo>
                  <a:pt x="63" y="21"/>
                </a:lnTo>
                <a:lnTo>
                  <a:pt x="63" y="20"/>
                </a:lnTo>
                <a:lnTo>
                  <a:pt x="63" y="20"/>
                </a:lnTo>
                <a:lnTo>
                  <a:pt x="63" y="20"/>
                </a:lnTo>
                <a:lnTo>
                  <a:pt x="63" y="20"/>
                </a:lnTo>
                <a:lnTo>
                  <a:pt x="62" y="20"/>
                </a:lnTo>
                <a:lnTo>
                  <a:pt x="62" y="20"/>
                </a:lnTo>
                <a:lnTo>
                  <a:pt x="62" y="20"/>
                </a:lnTo>
                <a:lnTo>
                  <a:pt x="62" y="20"/>
                </a:lnTo>
                <a:lnTo>
                  <a:pt x="62" y="19"/>
                </a:lnTo>
                <a:lnTo>
                  <a:pt x="62" y="19"/>
                </a:lnTo>
                <a:lnTo>
                  <a:pt x="62" y="19"/>
                </a:lnTo>
                <a:lnTo>
                  <a:pt x="62" y="19"/>
                </a:lnTo>
                <a:lnTo>
                  <a:pt x="62" y="19"/>
                </a:lnTo>
                <a:lnTo>
                  <a:pt x="62" y="19"/>
                </a:lnTo>
                <a:lnTo>
                  <a:pt x="62" y="19"/>
                </a:lnTo>
                <a:lnTo>
                  <a:pt x="61" y="19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7" y="14"/>
                </a:lnTo>
                <a:lnTo>
                  <a:pt x="57" y="14"/>
                </a:lnTo>
                <a:lnTo>
                  <a:pt x="57" y="13"/>
                </a:lnTo>
                <a:lnTo>
                  <a:pt x="57" y="13"/>
                </a:lnTo>
                <a:lnTo>
                  <a:pt x="57" y="13"/>
                </a:lnTo>
                <a:lnTo>
                  <a:pt x="57" y="13"/>
                </a:lnTo>
                <a:lnTo>
                  <a:pt x="57" y="13"/>
                </a:lnTo>
                <a:lnTo>
                  <a:pt x="57" y="13"/>
                </a:lnTo>
                <a:lnTo>
                  <a:pt x="55" y="13"/>
                </a:lnTo>
                <a:lnTo>
                  <a:pt x="55" y="13"/>
                </a:lnTo>
                <a:lnTo>
                  <a:pt x="55" y="13"/>
                </a:lnTo>
                <a:lnTo>
                  <a:pt x="55" y="13"/>
                </a:lnTo>
                <a:lnTo>
                  <a:pt x="55" y="12"/>
                </a:lnTo>
                <a:lnTo>
                  <a:pt x="55" y="12"/>
                </a:lnTo>
                <a:lnTo>
                  <a:pt x="55" y="12"/>
                </a:lnTo>
                <a:lnTo>
                  <a:pt x="55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3" y="11"/>
                </a:lnTo>
                <a:lnTo>
                  <a:pt x="53" y="11"/>
                </a:lnTo>
                <a:lnTo>
                  <a:pt x="53" y="11"/>
                </a:lnTo>
                <a:lnTo>
                  <a:pt x="53" y="11"/>
                </a:lnTo>
                <a:lnTo>
                  <a:pt x="53" y="11"/>
                </a:lnTo>
                <a:lnTo>
                  <a:pt x="53" y="11"/>
                </a:lnTo>
                <a:lnTo>
                  <a:pt x="53" y="11"/>
                </a:lnTo>
                <a:lnTo>
                  <a:pt x="52" y="11"/>
                </a:lnTo>
                <a:lnTo>
                  <a:pt x="52" y="11"/>
                </a:lnTo>
                <a:lnTo>
                  <a:pt x="52" y="11"/>
                </a:lnTo>
                <a:lnTo>
                  <a:pt x="52" y="11"/>
                </a:lnTo>
                <a:lnTo>
                  <a:pt x="52" y="11"/>
                </a:lnTo>
                <a:lnTo>
                  <a:pt x="52" y="11"/>
                </a:lnTo>
                <a:lnTo>
                  <a:pt x="52" y="10"/>
                </a:lnTo>
                <a:lnTo>
                  <a:pt x="51" y="10"/>
                </a:lnTo>
                <a:lnTo>
                  <a:pt x="51" y="10"/>
                </a:lnTo>
                <a:lnTo>
                  <a:pt x="51" y="10"/>
                </a:lnTo>
                <a:lnTo>
                  <a:pt x="51" y="10"/>
                </a:lnTo>
                <a:lnTo>
                  <a:pt x="51" y="10"/>
                </a:lnTo>
                <a:lnTo>
                  <a:pt x="51" y="10"/>
                </a:lnTo>
                <a:lnTo>
                  <a:pt x="51" y="10"/>
                </a:lnTo>
                <a:lnTo>
                  <a:pt x="50" y="10"/>
                </a:lnTo>
                <a:lnTo>
                  <a:pt x="50" y="10"/>
                </a:lnTo>
                <a:lnTo>
                  <a:pt x="50" y="10"/>
                </a:lnTo>
                <a:lnTo>
                  <a:pt x="50" y="10"/>
                </a:lnTo>
                <a:lnTo>
                  <a:pt x="50" y="10"/>
                </a:lnTo>
                <a:lnTo>
                  <a:pt x="50" y="10"/>
                </a:lnTo>
                <a:lnTo>
                  <a:pt x="50" y="10"/>
                </a:lnTo>
                <a:lnTo>
                  <a:pt x="49" y="9"/>
                </a:lnTo>
                <a:lnTo>
                  <a:pt x="49" y="9"/>
                </a:lnTo>
                <a:lnTo>
                  <a:pt x="49" y="9"/>
                </a:lnTo>
                <a:lnTo>
                  <a:pt x="49" y="9"/>
                </a:lnTo>
                <a:lnTo>
                  <a:pt x="49" y="9"/>
                </a:lnTo>
                <a:lnTo>
                  <a:pt x="49" y="9"/>
                </a:lnTo>
                <a:lnTo>
                  <a:pt x="48" y="9"/>
                </a:lnTo>
                <a:lnTo>
                  <a:pt x="48" y="9"/>
                </a:lnTo>
                <a:lnTo>
                  <a:pt x="48" y="9"/>
                </a:lnTo>
                <a:lnTo>
                  <a:pt x="48" y="9"/>
                </a:lnTo>
                <a:lnTo>
                  <a:pt x="48" y="9"/>
                </a:lnTo>
                <a:lnTo>
                  <a:pt x="48" y="9"/>
                </a:lnTo>
                <a:lnTo>
                  <a:pt x="48" y="9"/>
                </a:lnTo>
                <a:lnTo>
                  <a:pt x="46" y="9"/>
                </a:lnTo>
                <a:lnTo>
                  <a:pt x="46" y="9"/>
                </a:lnTo>
                <a:lnTo>
                  <a:pt x="46" y="9"/>
                </a:lnTo>
                <a:lnTo>
                  <a:pt x="46" y="9"/>
                </a:lnTo>
                <a:lnTo>
                  <a:pt x="46" y="9"/>
                </a:lnTo>
                <a:lnTo>
                  <a:pt x="46" y="9"/>
                </a:lnTo>
                <a:lnTo>
                  <a:pt x="45" y="9"/>
                </a:lnTo>
                <a:lnTo>
                  <a:pt x="45" y="8"/>
                </a:lnTo>
                <a:lnTo>
                  <a:pt x="45" y="8"/>
                </a:lnTo>
                <a:lnTo>
                  <a:pt x="45" y="8"/>
                </a:lnTo>
                <a:lnTo>
                  <a:pt x="45" y="8"/>
                </a:lnTo>
                <a:lnTo>
                  <a:pt x="45" y="8"/>
                </a:lnTo>
                <a:lnTo>
                  <a:pt x="44" y="8"/>
                </a:lnTo>
                <a:lnTo>
                  <a:pt x="44" y="8"/>
                </a:lnTo>
                <a:lnTo>
                  <a:pt x="44" y="8"/>
                </a:lnTo>
                <a:lnTo>
                  <a:pt x="44" y="8"/>
                </a:lnTo>
                <a:lnTo>
                  <a:pt x="44" y="8"/>
                </a:lnTo>
                <a:lnTo>
                  <a:pt x="44" y="8"/>
                </a:lnTo>
                <a:lnTo>
                  <a:pt x="44" y="8"/>
                </a:lnTo>
                <a:lnTo>
                  <a:pt x="43" y="8"/>
                </a:lnTo>
                <a:lnTo>
                  <a:pt x="43" y="8"/>
                </a:lnTo>
                <a:lnTo>
                  <a:pt x="43" y="8"/>
                </a:lnTo>
                <a:lnTo>
                  <a:pt x="43" y="8"/>
                </a:lnTo>
                <a:lnTo>
                  <a:pt x="43" y="8"/>
                </a:lnTo>
                <a:lnTo>
                  <a:pt x="43" y="8"/>
                </a:lnTo>
                <a:lnTo>
                  <a:pt x="42" y="8"/>
                </a:lnTo>
                <a:lnTo>
                  <a:pt x="42" y="8"/>
                </a:lnTo>
                <a:lnTo>
                  <a:pt x="42" y="8"/>
                </a:lnTo>
                <a:lnTo>
                  <a:pt x="42" y="8"/>
                </a:lnTo>
                <a:lnTo>
                  <a:pt x="42" y="8"/>
                </a:lnTo>
                <a:lnTo>
                  <a:pt x="42" y="8"/>
                </a:lnTo>
                <a:lnTo>
                  <a:pt x="41" y="8"/>
                </a:lnTo>
                <a:lnTo>
                  <a:pt x="41" y="8"/>
                </a:lnTo>
                <a:lnTo>
                  <a:pt x="41" y="8"/>
                </a:lnTo>
                <a:lnTo>
                  <a:pt x="41" y="8"/>
                </a:lnTo>
                <a:lnTo>
                  <a:pt x="41" y="8"/>
                </a:lnTo>
                <a:lnTo>
                  <a:pt x="41" y="8"/>
                </a:lnTo>
                <a:lnTo>
                  <a:pt x="40" y="8"/>
                </a:lnTo>
                <a:lnTo>
                  <a:pt x="40" y="8"/>
                </a:lnTo>
                <a:lnTo>
                  <a:pt x="40" y="8"/>
                </a:lnTo>
                <a:lnTo>
                  <a:pt x="40" y="8"/>
                </a:lnTo>
                <a:lnTo>
                  <a:pt x="40" y="8"/>
                </a:lnTo>
                <a:lnTo>
                  <a:pt x="40" y="8"/>
                </a:lnTo>
                <a:lnTo>
                  <a:pt x="39" y="8"/>
                </a:lnTo>
                <a:lnTo>
                  <a:pt x="39" y="8"/>
                </a:lnTo>
                <a:lnTo>
                  <a:pt x="39" y="8"/>
                </a:lnTo>
                <a:lnTo>
                  <a:pt x="39" y="8"/>
                </a:lnTo>
                <a:lnTo>
                  <a:pt x="39" y="8"/>
                </a:lnTo>
                <a:lnTo>
                  <a:pt x="39" y="8"/>
                </a:lnTo>
                <a:lnTo>
                  <a:pt x="37" y="8"/>
                </a:lnTo>
                <a:lnTo>
                  <a:pt x="37" y="8"/>
                </a:lnTo>
                <a:lnTo>
                  <a:pt x="37" y="8"/>
                </a:lnTo>
                <a:lnTo>
                  <a:pt x="37" y="8"/>
                </a:lnTo>
                <a:lnTo>
                  <a:pt x="37" y="8"/>
                </a:lnTo>
                <a:lnTo>
                  <a:pt x="37" y="8"/>
                </a:lnTo>
                <a:lnTo>
                  <a:pt x="36" y="8"/>
                </a:lnTo>
                <a:lnTo>
                  <a:pt x="36" y="8"/>
                </a:lnTo>
                <a:lnTo>
                  <a:pt x="36" y="8"/>
                </a:lnTo>
                <a:lnTo>
                  <a:pt x="36" y="8"/>
                </a:lnTo>
                <a:lnTo>
                  <a:pt x="36" y="8"/>
                </a:lnTo>
                <a:lnTo>
                  <a:pt x="36" y="8"/>
                </a:lnTo>
                <a:lnTo>
                  <a:pt x="35" y="8"/>
                </a:lnTo>
                <a:lnTo>
                  <a:pt x="35" y="8"/>
                </a:lnTo>
                <a:lnTo>
                  <a:pt x="35" y="8"/>
                </a:lnTo>
                <a:lnTo>
                  <a:pt x="35" y="8"/>
                </a:lnTo>
                <a:lnTo>
                  <a:pt x="35" y="8"/>
                </a:lnTo>
                <a:lnTo>
                  <a:pt x="35" y="8"/>
                </a:lnTo>
                <a:lnTo>
                  <a:pt x="34" y="8"/>
                </a:lnTo>
                <a:lnTo>
                  <a:pt x="34" y="8"/>
                </a:lnTo>
                <a:lnTo>
                  <a:pt x="34" y="8"/>
                </a:lnTo>
                <a:lnTo>
                  <a:pt x="34" y="8"/>
                </a:lnTo>
                <a:lnTo>
                  <a:pt x="34" y="8"/>
                </a:lnTo>
                <a:lnTo>
                  <a:pt x="34" y="8"/>
                </a:lnTo>
                <a:lnTo>
                  <a:pt x="33" y="8"/>
                </a:lnTo>
                <a:lnTo>
                  <a:pt x="33" y="8"/>
                </a:lnTo>
                <a:lnTo>
                  <a:pt x="33" y="8"/>
                </a:lnTo>
                <a:lnTo>
                  <a:pt x="33" y="8"/>
                </a:lnTo>
                <a:lnTo>
                  <a:pt x="33" y="8"/>
                </a:lnTo>
                <a:lnTo>
                  <a:pt x="33" y="8"/>
                </a:lnTo>
                <a:lnTo>
                  <a:pt x="32" y="8"/>
                </a:lnTo>
                <a:lnTo>
                  <a:pt x="32" y="8"/>
                </a:lnTo>
                <a:lnTo>
                  <a:pt x="32" y="8"/>
                </a:lnTo>
                <a:lnTo>
                  <a:pt x="32" y="8"/>
                </a:lnTo>
                <a:lnTo>
                  <a:pt x="32" y="8"/>
                </a:lnTo>
                <a:lnTo>
                  <a:pt x="32" y="8"/>
                </a:lnTo>
                <a:lnTo>
                  <a:pt x="31" y="8"/>
                </a:lnTo>
                <a:lnTo>
                  <a:pt x="31" y="9"/>
                </a:lnTo>
                <a:lnTo>
                  <a:pt x="31" y="9"/>
                </a:lnTo>
                <a:lnTo>
                  <a:pt x="31" y="9"/>
                </a:lnTo>
                <a:lnTo>
                  <a:pt x="31" y="9"/>
                </a:lnTo>
                <a:lnTo>
                  <a:pt x="31" y="9"/>
                </a:lnTo>
                <a:lnTo>
                  <a:pt x="31" y="9"/>
                </a:lnTo>
                <a:lnTo>
                  <a:pt x="30" y="9"/>
                </a:lnTo>
                <a:lnTo>
                  <a:pt x="30" y="9"/>
                </a:lnTo>
                <a:lnTo>
                  <a:pt x="30" y="9"/>
                </a:lnTo>
                <a:lnTo>
                  <a:pt x="30" y="9"/>
                </a:lnTo>
                <a:lnTo>
                  <a:pt x="30" y="9"/>
                </a:lnTo>
                <a:lnTo>
                  <a:pt x="30" y="9"/>
                </a:lnTo>
                <a:lnTo>
                  <a:pt x="28" y="9"/>
                </a:lnTo>
                <a:lnTo>
                  <a:pt x="28" y="9"/>
                </a:lnTo>
                <a:lnTo>
                  <a:pt x="28" y="9"/>
                </a:lnTo>
                <a:lnTo>
                  <a:pt x="28" y="9"/>
                </a:lnTo>
                <a:lnTo>
                  <a:pt x="28" y="9"/>
                </a:lnTo>
                <a:lnTo>
                  <a:pt x="28" y="9"/>
                </a:lnTo>
                <a:lnTo>
                  <a:pt x="28" y="9"/>
                </a:lnTo>
                <a:lnTo>
                  <a:pt x="27" y="9"/>
                </a:lnTo>
                <a:lnTo>
                  <a:pt x="27" y="10"/>
                </a:lnTo>
                <a:lnTo>
                  <a:pt x="27" y="10"/>
                </a:lnTo>
                <a:lnTo>
                  <a:pt x="27" y="10"/>
                </a:lnTo>
                <a:lnTo>
                  <a:pt x="27" y="10"/>
                </a:lnTo>
                <a:lnTo>
                  <a:pt x="27" y="10"/>
                </a:lnTo>
                <a:lnTo>
                  <a:pt x="26" y="10"/>
                </a:lnTo>
                <a:lnTo>
                  <a:pt x="26" y="10"/>
                </a:lnTo>
                <a:lnTo>
                  <a:pt x="26" y="10"/>
                </a:lnTo>
                <a:lnTo>
                  <a:pt x="26" y="10"/>
                </a:lnTo>
                <a:lnTo>
                  <a:pt x="26" y="10"/>
                </a:lnTo>
                <a:lnTo>
                  <a:pt x="26" y="10"/>
                </a:lnTo>
                <a:lnTo>
                  <a:pt x="26" y="10"/>
                </a:lnTo>
                <a:lnTo>
                  <a:pt x="25" y="10"/>
                </a:lnTo>
                <a:lnTo>
                  <a:pt x="25" y="10"/>
                </a:lnTo>
                <a:lnTo>
                  <a:pt x="25" y="10"/>
                </a:lnTo>
                <a:lnTo>
                  <a:pt x="25" y="11"/>
                </a:lnTo>
                <a:lnTo>
                  <a:pt x="25" y="11"/>
                </a:lnTo>
                <a:lnTo>
                  <a:pt x="25" y="11"/>
                </a:lnTo>
                <a:lnTo>
                  <a:pt x="25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3" y="11"/>
                </a:lnTo>
                <a:lnTo>
                  <a:pt x="23" y="12"/>
                </a:lnTo>
                <a:lnTo>
                  <a:pt x="23" y="12"/>
                </a:lnTo>
                <a:lnTo>
                  <a:pt x="23" y="12"/>
                </a:lnTo>
                <a:lnTo>
                  <a:pt x="23" y="12"/>
                </a:lnTo>
                <a:lnTo>
                  <a:pt x="23" y="12"/>
                </a:lnTo>
                <a:lnTo>
                  <a:pt x="23" y="12"/>
                </a:lnTo>
                <a:lnTo>
                  <a:pt x="22" y="12"/>
                </a:lnTo>
                <a:lnTo>
                  <a:pt x="22" y="12"/>
                </a:lnTo>
                <a:lnTo>
                  <a:pt x="22" y="12"/>
                </a:lnTo>
                <a:lnTo>
                  <a:pt x="22" y="12"/>
                </a:lnTo>
                <a:lnTo>
                  <a:pt x="22" y="12"/>
                </a:lnTo>
                <a:lnTo>
                  <a:pt x="22" y="12"/>
                </a:lnTo>
                <a:lnTo>
                  <a:pt x="22" y="13"/>
                </a:lnTo>
                <a:lnTo>
                  <a:pt x="22" y="13"/>
                </a:lnTo>
                <a:lnTo>
                  <a:pt x="21" y="13"/>
                </a:lnTo>
                <a:lnTo>
                  <a:pt x="21" y="13"/>
                </a:lnTo>
                <a:lnTo>
                  <a:pt x="21" y="13"/>
                </a:lnTo>
                <a:lnTo>
                  <a:pt x="21" y="13"/>
                </a:lnTo>
                <a:lnTo>
                  <a:pt x="21" y="13"/>
                </a:lnTo>
                <a:lnTo>
                  <a:pt x="21" y="13"/>
                </a:lnTo>
                <a:lnTo>
                  <a:pt x="21" y="13"/>
                </a:lnTo>
                <a:lnTo>
                  <a:pt x="19" y="13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8" y="14"/>
                </a:lnTo>
                <a:lnTo>
                  <a:pt x="18" y="14"/>
                </a:lnTo>
                <a:lnTo>
                  <a:pt x="18" y="16"/>
                </a:lnTo>
                <a:lnTo>
                  <a:pt x="18" y="16"/>
                </a:lnTo>
                <a:lnTo>
                  <a:pt x="18" y="16"/>
                </a:lnTo>
                <a:lnTo>
                  <a:pt x="18" y="16"/>
                </a:lnTo>
                <a:lnTo>
                  <a:pt x="18" y="16"/>
                </a:lnTo>
                <a:lnTo>
                  <a:pt x="18" y="16"/>
                </a:lnTo>
                <a:lnTo>
                  <a:pt x="17" y="16"/>
                </a:lnTo>
                <a:lnTo>
                  <a:pt x="17" y="16"/>
                </a:lnTo>
                <a:lnTo>
                  <a:pt x="17" y="16"/>
                </a:lnTo>
                <a:lnTo>
                  <a:pt x="17" y="17"/>
                </a:lnTo>
                <a:lnTo>
                  <a:pt x="17" y="17"/>
                </a:lnTo>
                <a:lnTo>
                  <a:pt x="17" y="17"/>
                </a:lnTo>
                <a:lnTo>
                  <a:pt x="17" y="17"/>
                </a:lnTo>
                <a:lnTo>
                  <a:pt x="17" y="17"/>
                </a:lnTo>
                <a:lnTo>
                  <a:pt x="17" y="17"/>
                </a:lnTo>
                <a:lnTo>
                  <a:pt x="16" y="17"/>
                </a:lnTo>
                <a:lnTo>
                  <a:pt x="16" y="17"/>
                </a:lnTo>
                <a:lnTo>
                  <a:pt x="16" y="17"/>
                </a:lnTo>
                <a:lnTo>
                  <a:pt x="16" y="18"/>
                </a:lnTo>
                <a:lnTo>
                  <a:pt x="16" y="18"/>
                </a:lnTo>
                <a:lnTo>
                  <a:pt x="16" y="18"/>
                </a:lnTo>
                <a:lnTo>
                  <a:pt x="16" y="18"/>
                </a:lnTo>
                <a:lnTo>
                  <a:pt x="16" y="18"/>
                </a:lnTo>
                <a:lnTo>
                  <a:pt x="16" y="18"/>
                </a:lnTo>
                <a:lnTo>
                  <a:pt x="16" y="18"/>
                </a:lnTo>
                <a:lnTo>
                  <a:pt x="15" y="18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20"/>
                </a:lnTo>
                <a:lnTo>
                  <a:pt x="14" y="20"/>
                </a:lnTo>
                <a:lnTo>
                  <a:pt x="14" y="20"/>
                </a:lnTo>
                <a:lnTo>
                  <a:pt x="14" y="20"/>
                </a:lnTo>
                <a:lnTo>
                  <a:pt x="14" y="20"/>
                </a:lnTo>
                <a:lnTo>
                  <a:pt x="14" y="20"/>
                </a:lnTo>
                <a:lnTo>
                  <a:pt x="14" y="20"/>
                </a:lnTo>
                <a:lnTo>
                  <a:pt x="14" y="20"/>
                </a:lnTo>
                <a:lnTo>
                  <a:pt x="14" y="21"/>
                </a:lnTo>
                <a:lnTo>
                  <a:pt x="14" y="21"/>
                </a:lnTo>
                <a:lnTo>
                  <a:pt x="14" y="21"/>
                </a:lnTo>
                <a:lnTo>
                  <a:pt x="14" y="21"/>
                </a:lnTo>
                <a:lnTo>
                  <a:pt x="13" y="21"/>
                </a:lnTo>
                <a:lnTo>
                  <a:pt x="13" y="21"/>
                </a:lnTo>
                <a:lnTo>
                  <a:pt x="13" y="21"/>
                </a:lnTo>
                <a:lnTo>
                  <a:pt x="13" y="22"/>
                </a:lnTo>
                <a:lnTo>
                  <a:pt x="13" y="22"/>
                </a:lnTo>
                <a:lnTo>
                  <a:pt x="13" y="22"/>
                </a:lnTo>
                <a:lnTo>
                  <a:pt x="13" y="22"/>
                </a:lnTo>
                <a:lnTo>
                  <a:pt x="13" y="22"/>
                </a:lnTo>
                <a:lnTo>
                  <a:pt x="13" y="22"/>
                </a:lnTo>
                <a:lnTo>
                  <a:pt x="13" y="22"/>
                </a:lnTo>
                <a:lnTo>
                  <a:pt x="13" y="23"/>
                </a:lnTo>
                <a:lnTo>
                  <a:pt x="13" y="23"/>
                </a:lnTo>
                <a:lnTo>
                  <a:pt x="13" y="23"/>
                </a:lnTo>
                <a:lnTo>
                  <a:pt x="12" y="23"/>
                </a:lnTo>
                <a:lnTo>
                  <a:pt x="12" y="23"/>
                </a:lnTo>
                <a:lnTo>
                  <a:pt x="12" y="23"/>
                </a:lnTo>
                <a:lnTo>
                  <a:pt x="12" y="23"/>
                </a:lnTo>
                <a:lnTo>
                  <a:pt x="12" y="25"/>
                </a:lnTo>
                <a:lnTo>
                  <a:pt x="12" y="25"/>
                </a:lnTo>
                <a:lnTo>
                  <a:pt x="12" y="25"/>
                </a:lnTo>
                <a:lnTo>
                  <a:pt x="12" y="25"/>
                </a:lnTo>
                <a:lnTo>
                  <a:pt x="12" y="25"/>
                </a:lnTo>
                <a:lnTo>
                  <a:pt x="12" y="25"/>
                </a:lnTo>
                <a:lnTo>
                  <a:pt x="12" y="25"/>
                </a:lnTo>
                <a:lnTo>
                  <a:pt x="12" y="26"/>
                </a:lnTo>
                <a:lnTo>
                  <a:pt x="12" y="26"/>
                </a:lnTo>
                <a:lnTo>
                  <a:pt x="12" y="26"/>
                </a:lnTo>
                <a:lnTo>
                  <a:pt x="12" y="26"/>
                </a:lnTo>
                <a:lnTo>
                  <a:pt x="10" y="26"/>
                </a:lnTo>
                <a:lnTo>
                  <a:pt x="10" y="26"/>
                </a:lnTo>
                <a:lnTo>
                  <a:pt x="10" y="26"/>
                </a:lnTo>
                <a:lnTo>
                  <a:pt x="10" y="27"/>
                </a:lnTo>
                <a:lnTo>
                  <a:pt x="10" y="27"/>
                </a:lnTo>
                <a:lnTo>
                  <a:pt x="10" y="27"/>
                </a:lnTo>
                <a:lnTo>
                  <a:pt x="10" y="27"/>
                </a:lnTo>
                <a:lnTo>
                  <a:pt x="10" y="27"/>
                </a:lnTo>
                <a:lnTo>
                  <a:pt x="10" y="27"/>
                </a:lnTo>
                <a:lnTo>
                  <a:pt x="10" y="27"/>
                </a:lnTo>
                <a:lnTo>
                  <a:pt x="10" y="28"/>
                </a:lnTo>
                <a:lnTo>
                  <a:pt x="10" y="28"/>
                </a:lnTo>
                <a:lnTo>
                  <a:pt x="10" y="28"/>
                </a:lnTo>
                <a:lnTo>
                  <a:pt x="10" y="28"/>
                </a:lnTo>
                <a:lnTo>
                  <a:pt x="10" y="28"/>
                </a:lnTo>
                <a:lnTo>
                  <a:pt x="10" y="28"/>
                </a:lnTo>
                <a:lnTo>
                  <a:pt x="10" y="29"/>
                </a:lnTo>
                <a:lnTo>
                  <a:pt x="10" y="29"/>
                </a:lnTo>
                <a:lnTo>
                  <a:pt x="10" y="29"/>
                </a:lnTo>
                <a:lnTo>
                  <a:pt x="9" y="29"/>
                </a:lnTo>
                <a:lnTo>
                  <a:pt x="9" y="29"/>
                </a:lnTo>
                <a:lnTo>
                  <a:pt x="9" y="29"/>
                </a:lnTo>
                <a:lnTo>
                  <a:pt x="9" y="29"/>
                </a:lnTo>
                <a:lnTo>
                  <a:pt x="9" y="30"/>
                </a:lnTo>
                <a:lnTo>
                  <a:pt x="9" y="30"/>
                </a:lnTo>
                <a:lnTo>
                  <a:pt x="9" y="30"/>
                </a:lnTo>
                <a:lnTo>
                  <a:pt x="9" y="30"/>
                </a:lnTo>
                <a:lnTo>
                  <a:pt x="9" y="30"/>
                </a:lnTo>
                <a:lnTo>
                  <a:pt x="9" y="30"/>
                </a:lnTo>
                <a:lnTo>
                  <a:pt x="9" y="31"/>
                </a:lnTo>
                <a:lnTo>
                  <a:pt x="9" y="31"/>
                </a:lnTo>
                <a:lnTo>
                  <a:pt x="9" y="31"/>
                </a:lnTo>
                <a:lnTo>
                  <a:pt x="9" y="31"/>
                </a:lnTo>
                <a:lnTo>
                  <a:pt x="9" y="31"/>
                </a:lnTo>
                <a:lnTo>
                  <a:pt x="9" y="31"/>
                </a:lnTo>
                <a:lnTo>
                  <a:pt x="9" y="32"/>
                </a:lnTo>
                <a:lnTo>
                  <a:pt x="9" y="32"/>
                </a:lnTo>
                <a:lnTo>
                  <a:pt x="9" y="32"/>
                </a:lnTo>
                <a:lnTo>
                  <a:pt x="9" y="32"/>
                </a:lnTo>
                <a:lnTo>
                  <a:pt x="9" y="32"/>
                </a:lnTo>
                <a:lnTo>
                  <a:pt x="9" y="32"/>
                </a:lnTo>
                <a:lnTo>
                  <a:pt x="9" y="34"/>
                </a:lnTo>
                <a:lnTo>
                  <a:pt x="9" y="34"/>
                </a:lnTo>
                <a:lnTo>
                  <a:pt x="9" y="34"/>
                </a:lnTo>
                <a:lnTo>
                  <a:pt x="9" y="34"/>
                </a:lnTo>
                <a:lnTo>
                  <a:pt x="9" y="34"/>
                </a:lnTo>
                <a:lnTo>
                  <a:pt x="9" y="34"/>
                </a:lnTo>
                <a:lnTo>
                  <a:pt x="9" y="35"/>
                </a:lnTo>
                <a:lnTo>
                  <a:pt x="9" y="35"/>
                </a:lnTo>
                <a:lnTo>
                  <a:pt x="9" y="35"/>
                </a:lnTo>
                <a:lnTo>
                  <a:pt x="9" y="35"/>
                </a:lnTo>
                <a:lnTo>
                  <a:pt x="9" y="35"/>
                </a:lnTo>
                <a:lnTo>
                  <a:pt x="9" y="35"/>
                </a:lnTo>
                <a:lnTo>
                  <a:pt x="9" y="36"/>
                </a:lnTo>
                <a:lnTo>
                  <a:pt x="9" y="36"/>
                </a:lnTo>
                <a:lnTo>
                  <a:pt x="9" y="36"/>
                </a:lnTo>
                <a:lnTo>
                  <a:pt x="9" y="36"/>
                </a:lnTo>
                <a:lnTo>
                  <a:pt x="9" y="36"/>
                </a:lnTo>
                <a:lnTo>
                  <a:pt x="9" y="36"/>
                </a:lnTo>
                <a:lnTo>
                  <a:pt x="9" y="37"/>
                </a:lnTo>
                <a:lnTo>
                  <a:pt x="9" y="37"/>
                </a:lnTo>
                <a:lnTo>
                  <a:pt x="9" y="37"/>
                </a:lnTo>
                <a:lnTo>
                  <a:pt x="9" y="37"/>
                </a:lnTo>
                <a:lnTo>
                  <a:pt x="9" y="37"/>
                </a:lnTo>
                <a:lnTo>
                  <a:pt x="9" y="37"/>
                </a:lnTo>
                <a:lnTo>
                  <a:pt x="9" y="38"/>
                </a:lnTo>
                <a:lnTo>
                  <a:pt x="9" y="38"/>
                </a:lnTo>
                <a:lnTo>
                  <a:pt x="9" y="38"/>
                </a:lnTo>
                <a:lnTo>
                  <a:pt x="9" y="38"/>
                </a:lnTo>
                <a:lnTo>
                  <a:pt x="9" y="38"/>
                </a:lnTo>
                <a:lnTo>
                  <a:pt x="9" y="38"/>
                </a:lnTo>
                <a:lnTo>
                  <a:pt x="9" y="39"/>
                </a:lnTo>
                <a:lnTo>
                  <a:pt x="9" y="39"/>
                </a:lnTo>
                <a:lnTo>
                  <a:pt x="9" y="39"/>
                </a:lnTo>
                <a:lnTo>
                  <a:pt x="9" y="39"/>
                </a:lnTo>
                <a:lnTo>
                  <a:pt x="9" y="39"/>
                </a:lnTo>
                <a:lnTo>
                  <a:pt x="9" y="39"/>
                </a:lnTo>
                <a:lnTo>
                  <a:pt x="9" y="40"/>
                </a:lnTo>
                <a:lnTo>
                  <a:pt x="9" y="40"/>
                </a:lnTo>
                <a:lnTo>
                  <a:pt x="9" y="40"/>
                </a:lnTo>
                <a:lnTo>
                  <a:pt x="9" y="40"/>
                </a:lnTo>
                <a:lnTo>
                  <a:pt x="9" y="40"/>
                </a:lnTo>
                <a:lnTo>
                  <a:pt x="9" y="40"/>
                </a:lnTo>
                <a:lnTo>
                  <a:pt x="9" y="41"/>
                </a:lnTo>
                <a:lnTo>
                  <a:pt x="9" y="41"/>
                </a:lnTo>
                <a:lnTo>
                  <a:pt x="9" y="41"/>
                </a:lnTo>
                <a:lnTo>
                  <a:pt x="9" y="41"/>
                </a:lnTo>
                <a:lnTo>
                  <a:pt x="9" y="41"/>
                </a:lnTo>
                <a:lnTo>
                  <a:pt x="9" y="41"/>
                </a:lnTo>
                <a:lnTo>
                  <a:pt x="9" y="43"/>
                </a:lnTo>
                <a:lnTo>
                  <a:pt x="9" y="43"/>
                </a:lnTo>
                <a:lnTo>
                  <a:pt x="9" y="43"/>
                </a:lnTo>
                <a:lnTo>
                  <a:pt x="9" y="43"/>
                </a:lnTo>
                <a:lnTo>
                  <a:pt x="9" y="43"/>
                </a:lnTo>
                <a:lnTo>
                  <a:pt x="9" y="43"/>
                </a:lnTo>
                <a:lnTo>
                  <a:pt x="9" y="44"/>
                </a:lnTo>
                <a:lnTo>
                  <a:pt x="9" y="44"/>
                </a:lnTo>
                <a:lnTo>
                  <a:pt x="9" y="44"/>
                </a:lnTo>
                <a:lnTo>
                  <a:pt x="9" y="44"/>
                </a:lnTo>
                <a:lnTo>
                  <a:pt x="9" y="44"/>
                </a:lnTo>
                <a:lnTo>
                  <a:pt x="9" y="44"/>
                </a:lnTo>
                <a:lnTo>
                  <a:pt x="9" y="44"/>
                </a:lnTo>
                <a:lnTo>
                  <a:pt x="9" y="45"/>
                </a:lnTo>
                <a:lnTo>
                  <a:pt x="9" y="45"/>
                </a:lnTo>
                <a:lnTo>
                  <a:pt x="9" y="45"/>
                </a:lnTo>
                <a:lnTo>
                  <a:pt x="9" y="45"/>
                </a:lnTo>
                <a:lnTo>
                  <a:pt x="10" y="45"/>
                </a:lnTo>
                <a:lnTo>
                  <a:pt x="10" y="45"/>
                </a:lnTo>
                <a:lnTo>
                  <a:pt x="10" y="46"/>
                </a:lnTo>
                <a:lnTo>
                  <a:pt x="10" y="46"/>
                </a:lnTo>
                <a:lnTo>
                  <a:pt x="10" y="46"/>
                </a:lnTo>
                <a:lnTo>
                  <a:pt x="10" y="46"/>
                </a:lnTo>
                <a:lnTo>
                  <a:pt x="10" y="46"/>
                </a:lnTo>
                <a:lnTo>
                  <a:pt x="10" y="46"/>
                </a:lnTo>
                <a:lnTo>
                  <a:pt x="10" y="47"/>
                </a:lnTo>
                <a:lnTo>
                  <a:pt x="10" y="47"/>
                </a:lnTo>
                <a:lnTo>
                  <a:pt x="10" y="47"/>
                </a:lnTo>
                <a:lnTo>
                  <a:pt x="10" y="47"/>
                </a:lnTo>
                <a:lnTo>
                  <a:pt x="10" y="47"/>
                </a:lnTo>
                <a:lnTo>
                  <a:pt x="10" y="47"/>
                </a:lnTo>
                <a:lnTo>
                  <a:pt x="10" y="47"/>
                </a:lnTo>
                <a:lnTo>
                  <a:pt x="10" y="48"/>
                </a:lnTo>
                <a:lnTo>
                  <a:pt x="10" y="48"/>
                </a:lnTo>
                <a:lnTo>
                  <a:pt x="10" y="48"/>
                </a:lnTo>
                <a:lnTo>
                  <a:pt x="10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9"/>
                </a:lnTo>
                <a:lnTo>
                  <a:pt x="12" y="49"/>
                </a:lnTo>
                <a:lnTo>
                  <a:pt x="12" y="49"/>
                </a:lnTo>
                <a:lnTo>
                  <a:pt x="12" y="49"/>
                </a:lnTo>
                <a:lnTo>
                  <a:pt x="12" y="49"/>
                </a:lnTo>
                <a:lnTo>
                  <a:pt x="12" y="49"/>
                </a:lnTo>
                <a:lnTo>
                  <a:pt x="12" y="49"/>
                </a:lnTo>
                <a:lnTo>
                  <a:pt x="12" y="50"/>
                </a:lnTo>
                <a:lnTo>
                  <a:pt x="12" y="50"/>
                </a:lnTo>
                <a:lnTo>
                  <a:pt x="12" y="50"/>
                </a:lnTo>
                <a:lnTo>
                  <a:pt x="12" y="50"/>
                </a:lnTo>
                <a:lnTo>
                  <a:pt x="12" y="50"/>
                </a:lnTo>
                <a:lnTo>
                  <a:pt x="13" y="50"/>
                </a:lnTo>
                <a:lnTo>
                  <a:pt x="13" y="50"/>
                </a:lnTo>
                <a:lnTo>
                  <a:pt x="13" y="52"/>
                </a:lnTo>
                <a:lnTo>
                  <a:pt x="13" y="52"/>
                </a:lnTo>
                <a:lnTo>
                  <a:pt x="13" y="52"/>
                </a:lnTo>
                <a:lnTo>
                  <a:pt x="13" y="52"/>
                </a:lnTo>
                <a:lnTo>
                  <a:pt x="13" y="52"/>
                </a:lnTo>
                <a:lnTo>
                  <a:pt x="13" y="52"/>
                </a:lnTo>
                <a:lnTo>
                  <a:pt x="13" y="52"/>
                </a:lnTo>
                <a:lnTo>
                  <a:pt x="13" y="53"/>
                </a:lnTo>
                <a:lnTo>
                  <a:pt x="13" y="53"/>
                </a:lnTo>
                <a:lnTo>
                  <a:pt x="13" y="53"/>
                </a:lnTo>
                <a:lnTo>
                  <a:pt x="13" y="53"/>
                </a:lnTo>
                <a:lnTo>
                  <a:pt x="14" y="53"/>
                </a:lnTo>
                <a:lnTo>
                  <a:pt x="14" y="53"/>
                </a:lnTo>
                <a:lnTo>
                  <a:pt x="14" y="53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6"/>
                </a:lnTo>
                <a:lnTo>
                  <a:pt x="15" y="56"/>
                </a:lnTo>
                <a:lnTo>
                  <a:pt x="16" y="56"/>
                </a:lnTo>
                <a:lnTo>
                  <a:pt x="16" y="56"/>
                </a:lnTo>
                <a:lnTo>
                  <a:pt x="16" y="56"/>
                </a:lnTo>
                <a:lnTo>
                  <a:pt x="16" y="56"/>
                </a:lnTo>
                <a:lnTo>
                  <a:pt x="16" y="56"/>
                </a:lnTo>
                <a:lnTo>
                  <a:pt x="16" y="56"/>
                </a:lnTo>
                <a:lnTo>
                  <a:pt x="16" y="57"/>
                </a:lnTo>
                <a:lnTo>
                  <a:pt x="16" y="57"/>
                </a:lnTo>
                <a:lnTo>
                  <a:pt x="16" y="57"/>
                </a:lnTo>
                <a:lnTo>
                  <a:pt x="16" y="57"/>
                </a:lnTo>
                <a:lnTo>
                  <a:pt x="17" y="57"/>
                </a:lnTo>
                <a:lnTo>
                  <a:pt x="17" y="57"/>
                </a:lnTo>
                <a:lnTo>
                  <a:pt x="17" y="57"/>
                </a:lnTo>
                <a:lnTo>
                  <a:pt x="17" y="57"/>
                </a:lnTo>
                <a:lnTo>
                  <a:pt x="17" y="57"/>
                </a:lnTo>
                <a:lnTo>
                  <a:pt x="17" y="58"/>
                </a:lnTo>
                <a:lnTo>
                  <a:pt x="17" y="58"/>
                </a:lnTo>
                <a:lnTo>
                  <a:pt x="17" y="58"/>
                </a:lnTo>
                <a:lnTo>
                  <a:pt x="17" y="58"/>
                </a:lnTo>
                <a:lnTo>
                  <a:pt x="18" y="58"/>
                </a:lnTo>
                <a:lnTo>
                  <a:pt x="18" y="58"/>
                </a:lnTo>
                <a:lnTo>
                  <a:pt x="18" y="58"/>
                </a:lnTo>
                <a:lnTo>
                  <a:pt x="18" y="58"/>
                </a:lnTo>
                <a:lnTo>
                  <a:pt x="18" y="58"/>
                </a:lnTo>
                <a:lnTo>
                  <a:pt x="18" y="59"/>
                </a:lnTo>
                <a:lnTo>
                  <a:pt x="18" y="59"/>
                </a:lnTo>
                <a:lnTo>
                  <a:pt x="18" y="59"/>
                </a:lnTo>
                <a:lnTo>
                  <a:pt x="19" y="59"/>
                </a:lnTo>
                <a:lnTo>
                  <a:pt x="19" y="59"/>
                </a:lnTo>
                <a:lnTo>
                  <a:pt x="19" y="59"/>
                </a:lnTo>
                <a:lnTo>
                  <a:pt x="19" y="59"/>
                </a:lnTo>
                <a:lnTo>
                  <a:pt x="19" y="59"/>
                </a:lnTo>
                <a:lnTo>
                  <a:pt x="19" y="59"/>
                </a:lnTo>
                <a:lnTo>
                  <a:pt x="19" y="59"/>
                </a:lnTo>
                <a:lnTo>
                  <a:pt x="19" y="61"/>
                </a:lnTo>
                <a:lnTo>
                  <a:pt x="19" y="61"/>
                </a:lnTo>
                <a:lnTo>
                  <a:pt x="21" y="61"/>
                </a:lnTo>
                <a:lnTo>
                  <a:pt x="21" y="61"/>
                </a:lnTo>
                <a:lnTo>
                  <a:pt x="21" y="61"/>
                </a:lnTo>
                <a:lnTo>
                  <a:pt x="21" y="61"/>
                </a:lnTo>
                <a:lnTo>
                  <a:pt x="21" y="61"/>
                </a:lnTo>
                <a:lnTo>
                  <a:pt x="21" y="61"/>
                </a:lnTo>
                <a:lnTo>
                  <a:pt x="21" y="61"/>
                </a:lnTo>
                <a:lnTo>
                  <a:pt x="22" y="61"/>
                </a:lnTo>
                <a:lnTo>
                  <a:pt x="22" y="62"/>
                </a:lnTo>
                <a:lnTo>
                  <a:pt x="22" y="62"/>
                </a:lnTo>
                <a:lnTo>
                  <a:pt x="22" y="62"/>
                </a:lnTo>
                <a:lnTo>
                  <a:pt x="22" y="62"/>
                </a:lnTo>
                <a:lnTo>
                  <a:pt x="22" y="62"/>
                </a:lnTo>
                <a:lnTo>
                  <a:pt x="22" y="62"/>
                </a:lnTo>
                <a:lnTo>
                  <a:pt x="22" y="62"/>
                </a:lnTo>
                <a:lnTo>
                  <a:pt x="23" y="62"/>
                </a:lnTo>
                <a:lnTo>
                  <a:pt x="23" y="62"/>
                </a:lnTo>
                <a:lnTo>
                  <a:pt x="23" y="62"/>
                </a:lnTo>
                <a:lnTo>
                  <a:pt x="23" y="62"/>
                </a:lnTo>
                <a:lnTo>
                  <a:pt x="23" y="63"/>
                </a:lnTo>
                <a:lnTo>
                  <a:pt x="23" y="63"/>
                </a:lnTo>
                <a:lnTo>
                  <a:pt x="23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5" y="63"/>
                </a:lnTo>
                <a:lnTo>
                  <a:pt x="25" y="63"/>
                </a:lnTo>
                <a:lnTo>
                  <a:pt x="25" y="64"/>
                </a:lnTo>
                <a:lnTo>
                  <a:pt x="25" y="64"/>
                </a:lnTo>
                <a:lnTo>
                  <a:pt x="25" y="64"/>
                </a:lnTo>
                <a:lnTo>
                  <a:pt x="25" y="64"/>
                </a:lnTo>
                <a:lnTo>
                  <a:pt x="25" y="64"/>
                </a:lnTo>
                <a:lnTo>
                  <a:pt x="26" y="64"/>
                </a:lnTo>
                <a:lnTo>
                  <a:pt x="26" y="64"/>
                </a:lnTo>
                <a:lnTo>
                  <a:pt x="26" y="64"/>
                </a:lnTo>
                <a:lnTo>
                  <a:pt x="26" y="64"/>
                </a:lnTo>
                <a:lnTo>
                  <a:pt x="26" y="64"/>
                </a:lnTo>
                <a:lnTo>
                  <a:pt x="26" y="64"/>
                </a:lnTo>
                <a:lnTo>
                  <a:pt x="26" y="64"/>
                </a:lnTo>
                <a:lnTo>
                  <a:pt x="27" y="64"/>
                </a:lnTo>
                <a:lnTo>
                  <a:pt x="27" y="64"/>
                </a:lnTo>
                <a:lnTo>
                  <a:pt x="27" y="64"/>
                </a:lnTo>
                <a:lnTo>
                  <a:pt x="27" y="65"/>
                </a:lnTo>
                <a:lnTo>
                  <a:pt x="27" y="65"/>
                </a:lnTo>
                <a:lnTo>
                  <a:pt x="27" y="65"/>
                </a:lnTo>
                <a:lnTo>
                  <a:pt x="28" y="65"/>
                </a:lnTo>
                <a:lnTo>
                  <a:pt x="28" y="65"/>
                </a:lnTo>
                <a:lnTo>
                  <a:pt x="28" y="65"/>
                </a:lnTo>
                <a:lnTo>
                  <a:pt x="28" y="65"/>
                </a:lnTo>
                <a:lnTo>
                  <a:pt x="28" y="65"/>
                </a:lnTo>
                <a:lnTo>
                  <a:pt x="28" y="65"/>
                </a:lnTo>
                <a:lnTo>
                  <a:pt x="28" y="65"/>
                </a:lnTo>
                <a:lnTo>
                  <a:pt x="30" y="65"/>
                </a:lnTo>
                <a:lnTo>
                  <a:pt x="30" y="65"/>
                </a:lnTo>
                <a:lnTo>
                  <a:pt x="30" y="65"/>
                </a:lnTo>
                <a:lnTo>
                  <a:pt x="30" y="65"/>
                </a:lnTo>
                <a:lnTo>
                  <a:pt x="30" y="65"/>
                </a:lnTo>
                <a:lnTo>
                  <a:pt x="30" y="65"/>
                </a:lnTo>
                <a:lnTo>
                  <a:pt x="31" y="65"/>
                </a:lnTo>
                <a:lnTo>
                  <a:pt x="31" y="65"/>
                </a:lnTo>
                <a:lnTo>
                  <a:pt x="31" y="65"/>
                </a:lnTo>
                <a:lnTo>
                  <a:pt x="31" y="66"/>
                </a:lnTo>
                <a:lnTo>
                  <a:pt x="31" y="66"/>
                </a:lnTo>
                <a:lnTo>
                  <a:pt x="31" y="66"/>
                </a:lnTo>
                <a:lnTo>
                  <a:pt x="31" y="66"/>
                </a:lnTo>
                <a:lnTo>
                  <a:pt x="32" y="66"/>
                </a:lnTo>
                <a:lnTo>
                  <a:pt x="32" y="66"/>
                </a:lnTo>
                <a:lnTo>
                  <a:pt x="32" y="66"/>
                </a:lnTo>
                <a:lnTo>
                  <a:pt x="32" y="66"/>
                </a:lnTo>
                <a:lnTo>
                  <a:pt x="32" y="66"/>
                </a:lnTo>
                <a:lnTo>
                  <a:pt x="32" y="66"/>
                </a:lnTo>
                <a:lnTo>
                  <a:pt x="33" y="66"/>
                </a:lnTo>
                <a:lnTo>
                  <a:pt x="33" y="66"/>
                </a:lnTo>
                <a:lnTo>
                  <a:pt x="33" y="66"/>
                </a:lnTo>
                <a:lnTo>
                  <a:pt x="33" y="66"/>
                </a:lnTo>
                <a:lnTo>
                  <a:pt x="33" y="66"/>
                </a:lnTo>
                <a:lnTo>
                  <a:pt x="33" y="66"/>
                </a:lnTo>
                <a:lnTo>
                  <a:pt x="34" y="66"/>
                </a:lnTo>
                <a:lnTo>
                  <a:pt x="34" y="66"/>
                </a:lnTo>
                <a:lnTo>
                  <a:pt x="34" y="66"/>
                </a:lnTo>
                <a:lnTo>
                  <a:pt x="34" y="66"/>
                </a:lnTo>
                <a:lnTo>
                  <a:pt x="34" y="66"/>
                </a:lnTo>
                <a:lnTo>
                  <a:pt x="34" y="66"/>
                </a:lnTo>
                <a:lnTo>
                  <a:pt x="35" y="66"/>
                </a:lnTo>
                <a:lnTo>
                  <a:pt x="35" y="66"/>
                </a:lnTo>
                <a:lnTo>
                  <a:pt x="35" y="66"/>
                </a:lnTo>
                <a:lnTo>
                  <a:pt x="35" y="66"/>
                </a:lnTo>
                <a:lnTo>
                  <a:pt x="35" y="66"/>
                </a:lnTo>
                <a:lnTo>
                  <a:pt x="35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7" y="66"/>
                </a:lnTo>
                <a:lnTo>
                  <a:pt x="37" y="66"/>
                </a:lnTo>
                <a:lnTo>
                  <a:pt x="37" y="66"/>
                </a:lnTo>
                <a:lnTo>
                  <a:pt x="37" y="66"/>
                </a:lnTo>
                <a:lnTo>
                  <a:pt x="37" y="66"/>
                </a:lnTo>
                <a:lnTo>
                  <a:pt x="37" y="66"/>
                </a:lnTo>
                <a:lnTo>
                  <a:pt x="39" y="66"/>
                </a:lnTo>
                <a:lnTo>
                  <a:pt x="39" y="66"/>
                </a:lnTo>
                <a:lnTo>
                  <a:pt x="39" y="66"/>
                </a:lnTo>
                <a:lnTo>
                  <a:pt x="39" y="66"/>
                </a:lnTo>
                <a:close/>
                <a:moveTo>
                  <a:pt x="76" y="37"/>
                </a:moveTo>
                <a:lnTo>
                  <a:pt x="76" y="37"/>
                </a:lnTo>
                <a:lnTo>
                  <a:pt x="76" y="37"/>
                </a:lnTo>
                <a:lnTo>
                  <a:pt x="76" y="38"/>
                </a:lnTo>
                <a:lnTo>
                  <a:pt x="76" y="38"/>
                </a:lnTo>
                <a:lnTo>
                  <a:pt x="76" y="38"/>
                </a:lnTo>
                <a:lnTo>
                  <a:pt x="76" y="38"/>
                </a:lnTo>
                <a:lnTo>
                  <a:pt x="76" y="39"/>
                </a:lnTo>
                <a:lnTo>
                  <a:pt x="76" y="39"/>
                </a:lnTo>
                <a:lnTo>
                  <a:pt x="76" y="39"/>
                </a:lnTo>
                <a:lnTo>
                  <a:pt x="76" y="39"/>
                </a:lnTo>
                <a:lnTo>
                  <a:pt x="76" y="39"/>
                </a:lnTo>
                <a:lnTo>
                  <a:pt x="76" y="40"/>
                </a:lnTo>
                <a:lnTo>
                  <a:pt x="76" y="40"/>
                </a:lnTo>
                <a:lnTo>
                  <a:pt x="76" y="40"/>
                </a:lnTo>
                <a:lnTo>
                  <a:pt x="76" y="40"/>
                </a:lnTo>
                <a:lnTo>
                  <a:pt x="76" y="40"/>
                </a:lnTo>
                <a:lnTo>
                  <a:pt x="76" y="41"/>
                </a:lnTo>
                <a:lnTo>
                  <a:pt x="76" y="41"/>
                </a:lnTo>
                <a:lnTo>
                  <a:pt x="76" y="41"/>
                </a:lnTo>
                <a:lnTo>
                  <a:pt x="76" y="41"/>
                </a:lnTo>
                <a:lnTo>
                  <a:pt x="76" y="43"/>
                </a:lnTo>
                <a:lnTo>
                  <a:pt x="76" y="43"/>
                </a:lnTo>
                <a:lnTo>
                  <a:pt x="76" y="43"/>
                </a:lnTo>
                <a:lnTo>
                  <a:pt x="76" y="43"/>
                </a:lnTo>
                <a:lnTo>
                  <a:pt x="76" y="43"/>
                </a:lnTo>
                <a:lnTo>
                  <a:pt x="76" y="44"/>
                </a:lnTo>
                <a:lnTo>
                  <a:pt x="76" y="44"/>
                </a:lnTo>
                <a:lnTo>
                  <a:pt x="76" y="44"/>
                </a:lnTo>
                <a:lnTo>
                  <a:pt x="76" y="44"/>
                </a:lnTo>
                <a:lnTo>
                  <a:pt x="76" y="44"/>
                </a:lnTo>
                <a:lnTo>
                  <a:pt x="76" y="45"/>
                </a:lnTo>
                <a:lnTo>
                  <a:pt x="76" y="45"/>
                </a:lnTo>
                <a:lnTo>
                  <a:pt x="76" y="45"/>
                </a:lnTo>
                <a:lnTo>
                  <a:pt x="75" y="45"/>
                </a:lnTo>
                <a:lnTo>
                  <a:pt x="75" y="45"/>
                </a:lnTo>
                <a:lnTo>
                  <a:pt x="75" y="46"/>
                </a:lnTo>
                <a:lnTo>
                  <a:pt x="75" y="46"/>
                </a:lnTo>
                <a:lnTo>
                  <a:pt x="75" y="46"/>
                </a:lnTo>
                <a:lnTo>
                  <a:pt x="75" y="46"/>
                </a:lnTo>
                <a:lnTo>
                  <a:pt x="75" y="46"/>
                </a:lnTo>
                <a:lnTo>
                  <a:pt x="75" y="47"/>
                </a:lnTo>
                <a:lnTo>
                  <a:pt x="75" y="47"/>
                </a:lnTo>
                <a:lnTo>
                  <a:pt x="75" y="47"/>
                </a:lnTo>
                <a:lnTo>
                  <a:pt x="75" y="47"/>
                </a:lnTo>
                <a:lnTo>
                  <a:pt x="75" y="47"/>
                </a:lnTo>
                <a:lnTo>
                  <a:pt x="75" y="48"/>
                </a:lnTo>
                <a:lnTo>
                  <a:pt x="75" y="48"/>
                </a:lnTo>
                <a:lnTo>
                  <a:pt x="75" y="48"/>
                </a:lnTo>
                <a:lnTo>
                  <a:pt x="75" y="48"/>
                </a:lnTo>
                <a:lnTo>
                  <a:pt x="75" y="48"/>
                </a:lnTo>
                <a:lnTo>
                  <a:pt x="75" y="49"/>
                </a:lnTo>
                <a:lnTo>
                  <a:pt x="75" y="49"/>
                </a:lnTo>
                <a:lnTo>
                  <a:pt x="73" y="49"/>
                </a:lnTo>
                <a:lnTo>
                  <a:pt x="73" y="49"/>
                </a:lnTo>
                <a:lnTo>
                  <a:pt x="73" y="49"/>
                </a:lnTo>
                <a:lnTo>
                  <a:pt x="73" y="50"/>
                </a:lnTo>
                <a:lnTo>
                  <a:pt x="73" y="50"/>
                </a:lnTo>
                <a:lnTo>
                  <a:pt x="73" y="50"/>
                </a:lnTo>
                <a:lnTo>
                  <a:pt x="73" y="50"/>
                </a:lnTo>
                <a:lnTo>
                  <a:pt x="73" y="50"/>
                </a:lnTo>
                <a:lnTo>
                  <a:pt x="73" y="50"/>
                </a:lnTo>
                <a:lnTo>
                  <a:pt x="73" y="52"/>
                </a:lnTo>
                <a:lnTo>
                  <a:pt x="73" y="52"/>
                </a:lnTo>
                <a:lnTo>
                  <a:pt x="73" y="52"/>
                </a:lnTo>
                <a:lnTo>
                  <a:pt x="73" y="52"/>
                </a:lnTo>
                <a:lnTo>
                  <a:pt x="72" y="52"/>
                </a:lnTo>
                <a:lnTo>
                  <a:pt x="72" y="53"/>
                </a:lnTo>
                <a:lnTo>
                  <a:pt x="72" y="53"/>
                </a:lnTo>
                <a:lnTo>
                  <a:pt x="72" y="53"/>
                </a:lnTo>
                <a:lnTo>
                  <a:pt x="72" y="53"/>
                </a:lnTo>
                <a:lnTo>
                  <a:pt x="72" y="53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1" y="55"/>
                </a:lnTo>
                <a:lnTo>
                  <a:pt x="71" y="55"/>
                </a:lnTo>
                <a:lnTo>
                  <a:pt x="71" y="55"/>
                </a:lnTo>
                <a:lnTo>
                  <a:pt x="71" y="55"/>
                </a:lnTo>
                <a:lnTo>
                  <a:pt x="71" y="55"/>
                </a:lnTo>
                <a:lnTo>
                  <a:pt x="71" y="56"/>
                </a:lnTo>
                <a:lnTo>
                  <a:pt x="71" y="56"/>
                </a:lnTo>
                <a:lnTo>
                  <a:pt x="71" y="56"/>
                </a:lnTo>
                <a:lnTo>
                  <a:pt x="71" y="56"/>
                </a:lnTo>
                <a:lnTo>
                  <a:pt x="71" y="56"/>
                </a:lnTo>
                <a:lnTo>
                  <a:pt x="70" y="56"/>
                </a:lnTo>
                <a:lnTo>
                  <a:pt x="70" y="57"/>
                </a:lnTo>
                <a:lnTo>
                  <a:pt x="70" y="57"/>
                </a:lnTo>
                <a:lnTo>
                  <a:pt x="70" y="57"/>
                </a:lnTo>
                <a:lnTo>
                  <a:pt x="70" y="57"/>
                </a:lnTo>
                <a:lnTo>
                  <a:pt x="70" y="57"/>
                </a:lnTo>
                <a:lnTo>
                  <a:pt x="70" y="57"/>
                </a:lnTo>
                <a:lnTo>
                  <a:pt x="70" y="58"/>
                </a:lnTo>
                <a:lnTo>
                  <a:pt x="70" y="58"/>
                </a:lnTo>
                <a:lnTo>
                  <a:pt x="69" y="58"/>
                </a:lnTo>
                <a:lnTo>
                  <a:pt x="69" y="58"/>
                </a:lnTo>
                <a:lnTo>
                  <a:pt x="69" y="58"/>
                </a:lnTo>
                <a:lnTo>
                  <a:pt x="69" y="58"/>
                </a:lnTo>
                <a:lnTo>
                  <a:pt x="69" y="59"/>
                </a:lnTo>
                <a:lnTo>
                  <a:pt x="69" y="59"/>
                </a:lnTo>
                <a:lnTo>
                  <a:pt x="69" y="59"/>
                </a:lnTo>
                <a:lnTo>
                  <a:pt x="69" y="59"/>
                </a:lnTo>
                <a:lnTo>
                  <a:pt x="69" y="59"/>
                </a:lnTo>
                <a:lnTo>
                  <a:pt x="68" y="59"/>
                </a:lnTo>
                <a:lnTo>
                  <a:pt x="68" y="61"/>
                </a:lnTo>
                <a:lnTo>
                  <a:pt x="68" y="61"/>
                </a:lnTo>
                <a:lnTo>
                  <a:pt x="68" y="61"/>
                </a:lnTo>
                <a:lnTo>
                  <a:pt x="68" y="61"/>
                </a:lnTo>
                <a:lnTo>
                  <a:pt x="68" y="61"/>
                </a:lnTo>
                <a:lnTo>
                  <a:pt x="68" y="61"/>
                </a:lnTo>
                <a:lnTo>
                  <a:pt x="67" y="61"/>
                </a:lnTo>
                <a:lnTo>
                  <a:pt x="67" y="62"/>
                </a:lnTo>
                <a:lnTo>
                  <a:pt x="67" y="62"/>
                </a:lnTo>
                <a:lnTo>
                  <a:pt x="67" y="62"/>
                </a:lnTo>
                <a:lnTo>
                  <a:pt x="67" y="62"/>
                </a:lnTo>
                <a:lnTo>
                  <a:pt x="67" y="62"/>
                </a:lnTo>
                <a:lnTo>
                  <a:pt x="67" y="62"/>
                </a:lnTo>
                <a:lnTo>
                  <a:pt x="67" y="63"/>
                </a:lnTo>
                <a:lnTo>
                  <a:pt x="66" y="63"/>
                </a:lnTo>
                <a:lnTo>
                  <a:pt x="66" y="63"/>
                </a:lnTo>
                <a:lnTo>
                  <a:pt x="66" y="63"/>
                </a:lnTo>
                <a:lnTo>
                  <a:pt x="66" y="63"/>
                </a:lnTo>
                <a:lnTo>
                  <a:pt x="66" y="63"/>
                </a:lnTo>
                <a:lnTo>
                  <a:pt x="66" y="63"/>
                </a:lnTo>
                <a:lnTo>
                  <a:pt x="66" y="64"/>
                </a:lnTo>
                <a:lnTo>
                  <a:pt x="64" y="64"/>
                </a:lnTo>
                <a:lnTo>
                  <a:pt x="64" y="64"/>
                </a:lnTo>
                <a:lnTo>
                  <a:pt x="64" y="64"/>
                </a:lnTo>
                <a:lnTo>
                  <a:pt x="64" y="64"/>
                </a:lnTo>
                <a:lnTo>
                  <a:pt x="64" y="64"/>
                </a:lnTo>
                <a:lnTo>
                  <a:pt x="64" y="64"/>
                </a:lnTo>
                <a:lnTo>
                  <a:pt x="64" y="65"/>
                </a:lnTo>
                <a:lnTo>
                  <a:pt x="63" y="65"/>
                </a:lnTo>
                <a:lnTo>
                  <a:pt x="63" y="65"/>
                </a:lnTo>
                <a:lnTo>
                  <a:pt x="63" y="65"/>
                </a:lnTo>
                <a:lnTo>
                  <a:pt x="63" y="65"/>
                </a:lnTo>
                <a:lnTo>
                  <a:pt x="63" y="65"/>
                </a:lnTo>
                <a:lnTo>
                  <a:pt x="63" y="65"/>
                </a:lnTo>
                <a:lnTo>
                  <a:pt x="63" y="65"/>
                </a:lnTo>
                <a:lnTo>
                  <a:pt x="62" y="66"/>
                </a:lnTo>
                <a:lnTo>
                  <a:pt x="62" y="66"/>
                </a:lnTo>
                <a:lnTo>
                  <a:pt x="62" y="66"/>
                </a:lnTo>
                <a:lnTo>
                  <a:pt x="62" y="66"/>
                </a:lnTo>
                <a:lnTo>
                  <a:pt x="62" y="66"/>
                </a:lnTo>
                <a:lnTo>
                  <a:pt x="62" y="66"/>
                </a:lnTo>
                <a:lnTo>
                  <a:pt x="61" y="66"/>
                </a:lnTo>
                <a:lnTo>
                  <a:pt x="61" y="66"/>
                </a:lnTo>
                <a:lnTo>
                  <a:pt x="61" y="67"/>
                </a:lnTo>
                <a:lnTo>
                  <a:pt x="61" y="67"/>
                </a:lnTo>
                <a:lnTo>
                  <a:pt x="61" y="67"/>
                </a:lnTo>
                <a:lnTo>
                  <a:pt x="61" y="67"/>
                </a:lnTo>
                <a:lnTo>
                  <a:pt x="61" y="67"/>
                </a:lnTo>
                <a:lnTo>
                  <a:pt x="60" y="67"/>
                </a:lnTo>
                <a:lnTo>
                  <a:pt x="60" y="67"/>
                </a:lnTo>
                <a:lnTo>
                  <a:pt x="60" y="67"/>
                </a:lnTo>
                <a:lnTo>
                  <a:pt x="60" y="68"/>
                </a:lnTo>
                <a:lnTo>
                  <a:pt x="60" y="68"/>
                </a:lnTo>
                <a:lnTo>
                  <a:pt x="60" y="68"/>
                </a:lnTo>
                <a:lnTo>
                  <a:pt x="59" y="68"/>
                </a:lnTo>
                <a:lnTo>
                  <a:pt x="59" y="68"/>
                </a:lnTo>
                <a:lnTo>
                  <a:pt x="59" y="68"/>
                </a:lnTo>
                <a:lnTo>
                  <a:pt x="59" y="68"/>
                </a:lnTo>
                <a:lnTo>
                  <a:pt x="59" y="68"/>
                </a:lnTo>
                <a:lnTo>
                  <a:pt x="59" y="68"/>
                </a:lnTo>
                <a:lnTo>
                  <a:pt x="58" y="70"/>
                </a:lnTo>
                <a:lnTo>
                  <a:pt x="58" y="70"/>
                </a:lnTo>
                <a:lnTo>
                  <a:pt x="58" y="70"/>
                </a:lnTo>
                <a:lnTo>
                  <a:pt x="58" y="70"/>
                </a:lnTo>
                <a:lnTo>
                  <a:pt x="58" y="70"/>
                </a:lnTo>
                <a:lnTo>
                  <a:pt x="57" y="70"/>
                </a:lnTo>
                <a:lnTo>
                  <a:pt x="57" y="70"/>
                </a:lnTo>
                <a:lnTo>
                  <a:pt x="57" y="70"/>
                </a:lnTo>
                <a:lnTo>
                  <a:pt x="57" y="70"/>
                </a:lnTo>
                <a:lnTo>
                  <a:pt x="57" y="70"/>
                </a:lnTo>
                <a:lnTo>
                  <a:pt x="57" y="71"/>
                </a:lnTo>
                <a:lnTo>
                  <a:pt x="55" y="71"/>
                </a:lnTo>
                <a:lnTo>
                  <a:pt x="55" y="71"/>
                </a:lnTo>
                <a:lnTo>
                  <a:pt x="55" y="71"/>
                </a:lnTo>
                <a:lnTo>
                  <a:pt x="55" y="71"/>
                </a:lnTo>
                <a:lnTo>
                  <a:pt x="55" y="71"/>
                </a:lnTo>
                <a:lnTo>
                  <a:pt x="55" y="71"/>
                </a:lnTo>
                <a:lnTo>
                  <a:pt x="54" y="71"/>
                </a:lnTo>
                <a:lnTo>
                  <a:pt x="54" y="71"/>
                </a:lnTo>
                <a:lnTo>
                  <a:pt x="54" y="71"/>
                </a:lnTo>
                <a:lnTo>
                  <a:pt x="54" y="71"/>
                </a:lnTo>
                <a:lnTo>
                  <a:pt x="54" y="72"/>
                </a:lnTo>
                <a:lnTo>
                  <a:pt x="53" y="72"/>
                </a:lnTo>
                <a:lnTo>
                  <a:pt x="53" y="72"/>
                </a:lnTo>
                <a:lnTo>
                  <a:pt x="53" y="72"/>
                </a:lnTo>
                <a:lnTo>
                  <a:pt x="53" y="72"/>
                </a:lnTo>
                <a:lnTo>
                  <a:pt x="53" y="72"/>
                </a:lnTo>
                <a:lnTo>
                  <a:pt x="52" y="72"/>
                </a:lnTo>
                <a:lnTo>
                  <a:pt x="52" y="72"/>
                </a:lnTo>
                <a:lnTo>
                  <a:pt x="52" y="72"/>
                </a:lnTo>
                <a:lnTo>
                  <a:pt x="52" y="72"/>
                </a:lnTo>
                <a:lnTo>
                  <a:pt x="52" y="72"/>
                </a:lnTo>
                <a:lnTo>
                  <a:pt x="52" y="72"/>
                </a:lnTo>
                <a:lnTo>
                  <a:pt x="51" y="72"/>
                </a:lnTo>
                <a:lnTo>
                  <a:pt x="51" y="73"/>
                </a:lnTo>
                <a:lnTo>
                  <a:pt x="51" y="73"/>
                </a:lnTo>
                <a:lnTo>
                  <a:pt x="51" y="73"/>
                </a:lnTo>
                <a:lnTo>
                  <a:pt x="51" y="73"/>
                </a:lnTo>
                <a:lnTo>
                  <a:pt x="50" y="73"/>
                </a:lnTo>
                <a:lnTo>
                  <a:pt x="50" y="73"/>
                </a:lnTo>
                <a:lnTo>
                  <a:pt x="50" y="73"/>
                </a:lnTo>
                <a:lnTo>
                  <a:pt x="50" y="73"/>
                </a:lnTo>
                <a:lnTo>
                  <a:pt x="50" y="73"/>
                </a:lnTo>
                <a:lnTo>
                  <a:pt x="49" y="73"/>
                </a:lnTo>
                <a:lnTo>
                  <a:pt x="49" y="73"/>
                </a:lnTo>
                <a:lnTo>
                  <a:pt x="49" y="73"/>
                </a:lnTo>
                <a:lnTo>
                  <a:pt x="49" y="73"/>
                </a:lnTo>
                <a:lnTo>
                  <a:pt x="49" y="73"/>
                </a:lnTo>
                <a:lnTo>
                  <a:pt x="48" y="73"/>
                </a:lnTo>
                <a:lnTo>
                  <a:pt x="48" y="73"/>
                </a:lnTo>
                <a:lnTo>
                  <a:pt x="48" y="73"/>
                </a:lnTo>
                <a:lnTo>
                  <a:pt x="48" y="74"/>
                </a:lnTo>
                <a:lnTo>
                  <a:pt x="48" y="74"/>
                </a:lnTo>
                <a:lnTo>
                  <a:pt x="46" y="74"/>
                </a:lnTo>
                <a:lnTo>
                  <a:pt x="46" y="74"/>
                </a:lnTo>
                <a:lnTo>
                  <a:pt x="46" y="74"/>
                </a:lnTo>
                <a:lnTo>
                  <a:pt x="46" y="74"/>
                </a:lnTo>
                <a:lnTo>
                  <a:pt x="46" y="74"/>
                </a:lnTo>
                <a:lnTo>
                  <a:pt x="45" y="74"/>
                </a:lnTo>
                <a:lnTo>
                  <a:pt x="45" y="74"/>
                </a:lnTo>
                <a:lnTo>
                  <a:pt x="45" y="74"/>
                </a:lnTo>
                <a:lnTo>
                  <a:pt x="45" y="74"/>
                </a:lnTo>
                <a:lnTo>
                  <a:pt x="45" y="74"/>
                </a:lnTo>
                <a:lnTo>
                  <a:pt x="44" y="74"/>
                </a:lnTo>
                <a:lnTo>
                  <a:pt x="44" y="74"/>
                </a:lnTo>
                <a:lnTo>
                  <a:pt x="44" y="74"/>
                </a:lnTo>
                <a:lnTo>
                  <a:pt x="44" y="74"/>
                </a:lnTo>
                <a:lnTo>
                  <a:pt x="44" y="74"/>
                </a:lnTo>
                <a:lnTo>
                  <a:pt x="43" y="74"/>
                </a:lnTo>
                <a:lnTo>
                  <a:pt x="43" y="74"/>
                </a:lnTo>
                <a:lnTo>
                  <a:pt x="43" y="74"/>
                </a:lnTo>
                <a:lnTo>
                  <a:pt x="43" y="74"/>
                </a:lnTo>
                <a:lnTo>
                  <a:pt x="42" y="74"/>
                </a:lnTo>
                <a:lnTo>
                  <a:pt x="42" y="74"/>
                </a:lnTo>
                <a:lnTo>
                  <a:pt x="42" y="74"/>
                </a:lnTo>
                <a:lnTo>
                  <a:pt x="42" y="74"/>
                </a:lnTo>
                <a:lnTo>
                  <a:pt x="42" y="74"/>
                </a:lnTo>
                <a:lnTo>
                  <a:pt x="41" y="74"/>
                </a:lnTo>
                <a:lnTo>
                  <a:pt x="41" y="74"/>
                </a:lnTo>
                <a:lnTo>
                  <a:pt x="41" y="74"/>
                </a:lnTo>
                <a:lnTo>
                  <a:pt x="41" y="74"/>
                </a:lnTo>
                <a:lnTo>
                  <a:pt x="41" y="74"/>
                </a:lnTo>
                <a:lnTo>
                  <a:pt x="40" y="74"/>
                </a:lnTo>
                <a:lnTo>
                  <a:pt x="40" y="74"/>
                </a:lnTo>
                <a:lnTo>
                  <a:pt x="40" y="74"/>
                </a:lnTo>
                <a:lnTo>
                  <a:pt x="40" y="74"/>
                </a:lnTo>
                <a:lnTo>
                  <a:pt x="40" y="74"/>
                </a:lnTo>
                <a:lnTo>
                  <a:pt x="39" y="74"/>
                </a:lnTo>
                <a:lnTo>
                  <a:pt x="39" y="74"/>
                </a:lnTo>
                <a:lnTo>
                  <a:pt x="39" y="74"/>
                </a:lnTo>
                <a:lnTo>
                  <a:pt x="39" y="74"/>
                </a:lnTo>
                <a:lnTo>
                  <a:pt x="37" y="74"/>
                </a:lnTo>
                <a:lnTo>
                  <a:pt x="37" y="74"/>
                </a:lnTo>
                <a:lnTo>
                  <a:pt x="37" y="74"/>
                </a:lnTo>
                <a:lnTo>
                  <a:pt x="37" y="74"/>
                </a:lnTo>
                <a:lnTo>
                  <a:pt x="37" y="74"/>
                </a:lnTo>
                <a:lnTo>
                  <a:pt x="36" y="74"/>
                </a:lnTo>
                <a:lnTo>
                  <a:pt x="36" y="74"/>
                </a:lnTo>
                <a:lnTo>
                  <a:pt x="36" y="74"/>
                </a:lnTo>
                <a:lnTo>
                  <a:pt x="36" y="74"/>
                </a:lnTo>
                <a:lnTo>
                  <a:pt x="36" y="74"/>
                </a:lnTo>
                <a:lnTo>
                  <a:pt x="35" y="74"/>
                </a:lnTo>
                <a:lnTo>
                  <a:pt x="35" y="74"/>
                </a:lnTo>
                <a:lnTo>
                  <a:pt x="35" y="74"/>
                </a:lnTo>
                <a:lnTo>
                  <a:pt x="35" y="74"/>
                </a:lnTo>
                <a:lnTo>
                  <a:pt x="34" y="74"/>
                </a:lnTo>
                <a:lnTo>
                  <a:pt x="34" y="74"/>
                </a:lnTo>
                <a:lnTo>
                  <a:pt x="34" y="74"/>
                </a:lnTo>
                <a:lnTo>
                  <a:pt x="34" y="74"/>
                </a:lnTo>
                <a:lnTo>
                  <a:pt x="34" y="74"/>
                </a:lnTo>
                <a:lnTo>
                  <a:pt x="33" y="74"/>
                </a:lnTo>
                <a:lnTo>
                  <a:pt x="33" y="74"/>
                </a:lnTo>
                <a:lnTo>
                  <a:pt x="33" y="74"/>
                </a:lnTo>
                <a:lnTo>
                  <a:pt x="33" y="74"/>
                </a:lnTo>
                <a:lnTo>
                  <a:pt x="33" y="74"/>
                </a:lnTo>
                <a:lnTo>
                  <a:pt x="32" y="74"/>
                </a:lnTo>
                <a:lnTo>
                  <a:pt x="32" y="74"/>
                </a:lnTo>
                <a:lnTo>
                  <a:pt x="32" y="74"/>
                </a:lnTo>
                <a:lnTo>
                  <a:pt x="32" y="74"/>
                </a:lnTo>
                <a:lnTo>
                  <a:pt x="32" y="74"/>
                </a:lnTo>
                <a:lnTo>
                  <a:pt x="31" y="74"/>
                </a:lnTo>
                <a:lnTo>
                  <a:pt x="31" y="74"/>
                </a:lnTo>
                <a:lnTo>
                  <a:pt x="31" y="74"/>
                </a:lnTo>
                <a:lnTo>
                  <a:pt x="31" y="74"/>
                </a:lnTo>
                <a:lnTo>
                  <a:pt x="31" y="74"/>
                </a:lnTo>
                <a:lnTo>
                  <a:pt x="30" y="74"/>
                </a:lnTo>
                <a:lnTo>
                  <a:pt x="30" y="74"/>
                </a:lnTo>
                <a:lnTo>
                  <a:pt x="30" y="74"/>
                </a:lnTo>
                <a:lnTo>
                  <a:pt x="30" y="73"/>
                </a:lnTo>
                <a:lnTo>
                  <a:pt x="30" y="73"/>
                </a:lnTo>
                <a:lnTo>
                  <a:pt x="28" y="73"/>
                </a:lnTo>
                <a:lnTo>
                  <a:pt x="28" y="73"/>
                </a:lnTo>
                <a:lnTo>
                  <a:pt x="28" y="73"/>
                </a:lnTo>
                <a:lnTo>
                  <a:pt x="28" y="73"/>
                </a:lnTo>
                <a:lnTo>
                  <a:pt x="28" y="73"/>
                </a:lnTo>
                <a:lnTo>
                  <a:pt x="27" y="73"/>
                </a:lnTo>
                <a:lnTo>
                  <a:pt x="27" y="73"/>
                </a:lnTo>
                <a:lnTo>
                  <a:pt x="27" y="73"/>
                </a:lnTo>
                <a:lnTo>
                  <a:pt x="27" y="73"/>
                </a:lnTo>
                <a:lnTo>
                  <a:pt x="27" y="73"/>
                </a:lnTo>
                <a:lnTo>
                  <a:pt x="26" y="73"/>
                </a:lnTo>
                <a:lnTo>
                  <a:pt x="26" y="73"/>
                </a:lnTo>
                <a:lnTo>
                  <a:pt x="26" y="73"/>
                </a:lnTo>
                <a:lnTo>
                  <a:pt x="26" y="73"/>
                </a:lnTo>
                <a:lnTo>
                  <a:pt x="26" y="73"/>
                </a:lnTo>
                <a:lnTo>
                  <a:pt x="25" y="72"/>
                </a:lnTo>
                <a:lnTo>
                  <a:pt x="25" y="72"/>
                </a:lnTo>
                <a:lnTo>
                  <a:pt x="25" y="72"/>
                </a:lnTo>
                <a:lnTo>
                  <a:pt x="25" y="72"/>
                </a:lnTo>
                <a:lnTo>
                  <a:pt x="25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3" y="72"/>
                </a:lnTo>
                <a:lnTo>
                  <a:pt x="23" y="72"/>
                </a:lnTo>
                <a:lnTo>
                  <a:pt x="23" y="71"/>
                </a:lnTo>
                <a:lnTo>
                  <a:pt x="23" y="71"/>
                </a:lnTo>
                <a:lnTo>
                  <a:pt x="23" y="71"/>
                </a:lnTo>
                <a:lnTo>
                  <a:pt x="22" y="71"/>
                </a:lnTo>
                <a:lnTo>
                  <a:pt x="22" y="71"/>
                </a:lnTo>
                <a:lnTo>
                  <a:pt x="22" y="71"/>
                </a:lnTo>
                <a:lnTo>
                  <a:pt x="22" y="71"/>
                </a:lnTo>
                <a:lnTo>
                  <a:pt x="22" y="71"/>
                </a:lnTo>
                <a:lnTo>
                  <a:pt x="22" y="71"/>
                </a:lnTo>
                <a:lnTo>
                  <a:pt x="21" y="71"/>
                </a:lnTo>
                <a:lnTo>
                  <a:pt x="21" y="71"/>
                </a:lnTo>
                <a:lnTo>
                  <a:pt x="21" y="70"/>
                </a:lnTo>
                <a:lnTo>
                  <a:pt x="21" y="70"/>
                </a:lnTo>
                <a:lnTo>
                  <a:pt x="21" y="70"/>
                </a:lnTo>
                <a:lnTo>
                  <a:pt x="19" y="70"/>
                </a:lnTo>
                <a:lnTo>
                  <a:pt x="19" y="70"/>
                </a:lnTo>
                <a:lnTo>
                  <a:pt x="19" y="70"/>
                </a:lnTo>
                <a:lnTo>
                  <a:pt x="19" y="70"/>
                </a:lnTo>
                <a:lnTo>
                  <a:pt x="19" y="70"/>
                </a:lnTo>
                <a:lnTo>
                  <a:pt x="19" y="70"/>
                </a:lnTo>
                <a:lnTo>
                  <a:pt x="18" y="70"/>
                </a:lnTo>
                <a:lnTo>
                  <a:pt x="18" y="68"/>
                </a:lnTo>
                <a:lnTo>
                  <a:pt x="18" y="68"/>
                </a:lnTo>
                <a:lnTo>
                  <a:pt x="18" y="68"/>
                </a:lnTo>
                <a:lnTo>
                  <a:pt x="18" y="68"/>
                </a:lnTo>
                <a:lnTo>
                  <a:pt x="18" y="68"/>
                </a:lnTo>
                <a:lnTo>
                  <a:pt x="17" y="68"/>
                </a:lnTo>
                <a:lnTo>
                  <a:pt x="17" y="68"/>
                </a:lnTo>
                <a:lnTo>
                  <a:pt x="17" y="68"/>
                </a:lnTo>
                <a:lnTo>
                  <a:pt x="17" y="68"/>
                </a:lnTo>
                <a:lnTo>
                  <a:pt x="17" y="67"/>
                </a:lnTo>
                <a:lnTo>
                  <a:pt x="17" y="67"/>
                </a:lnTo>
                <a:lnTo>
                  <a:pt x="16" y="67"/>
                </a:lnTo>
                <a:lnTo>
                  <a:pt x="16" y="67"/>
                </a:lnTo>
                <a:lnTo>
                  <a:pt x="16" y="67"/>
                </a:lnTo>
                <a:lnTo>
                  <a:pt x="16" y="67"/>
                </a:lnTo>
                <a:lnTo>
                  <a:pt x="16" y="67"/>
                </a:lnTo>
                <a:lnTo>
                  <a:pt x="16" y="67"/>
                </a:lnTo>
                <a:lnTo>
                  <a:pt x="15" y="66"/>
                </a:lnTo>
                <a:lnTo>
                  <a:pt x="15" y="66"/>
                </a:lnTo>
                <a:lnTo>
                  <a:pt x="15" y="66"/>
                </a:lnTo>
                <a:lnTo>
                  <a:pt x="15" y="66"/>
                </a:lnTo>
                <a:lnTo>
                  <a:pt x="15" y="66"/>
                </a:lnTo>
                <a:lnTo>
                  <a:pt x="15" y="66"/>
                </a:lnTo>
                <a:lnTo>
                  <a:pt x="14" y="66"/>
                </a:lnTo>
                <a:lnTo>
                  <a:pt x="14" y="66"/>
                </a:lnTo>
                <a:lnTo>
                  <a:pt x="14" y="65"/>
                </a:lnTo>
                <a:lnTo>
                  <a:pt x="14" y="65"/>
                </a:lnTo>
                <a:lnTo>
                  <a:pt x="14" y="65"/>
                </a:lnTo>
                <a:lnTo>
                  <a:pt x="14" y="65"/>
                </a:lnTo>
                <a:lnTo>
                  <a:pt x="14" y="65"/>
                </a:lnTo>
                <a:lnTo>
                  <a:pt x="13" y="65"/>
                </a:lnTo>
                <a:lnTo>
                  <a:pt x="13" y="65"/>
                </a:lnTo>
                <a:lnTo>
                  <a:pt x="13" y="65"/>
                </a:lnTo>
                <a:lnTo>
                  <a:pt x="13" y="64"/>
                </a:lnTo>
                <a:lnTo>
                  <a:pt x="13" y="64"/>
                </a:lnTo>
                <a:lnTo>
                  <a:pt x="13" y="64"/>
                </a:lnTo>
                <a:lnTo>
                  <a:pt x="13" y="64"/>
                </a:lnTo>
                <a:lnTo>
                  <a:pt x="12" y="64"/>
                </a:lnTo>
                <a:lnTo>
                  <a:pt x="12" y="64"/>
                </a:lnTo>
                <a:lnTo>
                  <a:pt x="12" y="64"/>
                </a:lnTo>
                <a:lnTo>
                  <a:pt x="12" y="63"/>
                </a:lnTo>
                <a:lnTo>
                  <a:pt x="12" y="63"/>
                </a:lnTo>
                <a:lnTo>
                  <a:pt x="12" y="63"/>
                </a:lnTo>
                <a:lnTo>
                  <a:pt x="12" y="63"/>
                </a:lnTo>
                <a:lnTo>
                  <a:pt x="10" y="63"/>
                </a:lnTo>
                <a:lnTo>
                  <a:pt x="10" y="63"/>
                </a:lnTo>
                <a:lnTo>
                  <a:pt x="10" y="63"/>
                </a:lnTo>
                <a:lnTo>
                  <a:pt x="10" y="62"/>
                </a:lnTo>
                <a:lnTo>
                  <a:pt x="10" y="62"/>
                </a:lnTo>
                <a:lnTo>
                  <a:pt x="10" y="62"/>
                </a:lnTo>
                <a:lnTo>
                  <a:pt x="10" y="62"/>
                </a:lnTo>
                <a:lnTo>
                  <a:pt x="10" y="62"/>
                </a:lnTo>
                <a:lnTo>
                  <a:pt x="9" y="62"/>
                </a:lnTo>
                <a:lnTo>
                  <a:pt x="9" y="61"/>
                </a:lnTo>
                <a:lnTo>
                  <a:pt x="9" y="61"/>
                </a:lnTo>
                <a:lnTo>
                  <a:pt x="9" y="61"/>
                </a:lnTo>
                <a:lnTo>
                  <a:pt x="9" y="61"/>
                </a:lnTo>
                <a:lnTo>
                  <a:pt x="9" y="61"/>
                </a:lnTo>
                <a:lnTo>
                  <a:pt x="9" y="61"/>
                </a:lnTo>
                <a:lnTo>
                  <a:pt x="8" y="61"/>
                </a:lnTo>
                <a:lnTo>
                  <a:pt x="8" y="59"/>
                </a:lnTo>
                <a:lnTo>
                  <a:pt x="8" y="59"/>
                </a:lnTo>
                <a:lnTo>
                  <a:pt x="8" y="59"/>
                </a:lnTo>
                <a:lnTo>
                  <a:pt x="8" y="59"/>
                </a:lnTo>
                <a:lnTo>
                  <a:pt x="8" y="59"/>
                </a:lnTo>
                <a:lnTo>
                  <a:pt x="8" y="59"/>
                </a:lnTo>
                <a:lnTo>
                  <a:pt x="8" y="58"/>
                </a:lnTo>
                <a:lnTo>
                  <a:pt x="8" y="58"/>
                </a:lnTo>
                <a:lnTo>
                  <a:pt x="7" y="58"/>
                </a:lnTo>
                <a:lnTo>
                  <a:pt x="7" y="58"/>
                </a:lnTo>
                <a:lnTo>
                  <a:pt x="7" y="58"/>
                </a:lnTo>
                <a:lnTo>
                  <a:pt x="7" y="58"/>
                </a:lnTo>
                <a:lnTo>
                  <a:pt x="7" y="57"/>
                </a:lnTo>
                <a:lnTo>
                  <a:pt x="7" y="57"/>
                </a:lnTo>
                <a:lnTo>
                  <a:pt x="7" y="57"/>
                </a:lnTo>
                <a:lnTo>
                  <a:pt x="7" y="57"/>
                </a:lnTo>
                <a:lnTo>
                  <a:pt x="7" y="57"/>
                </a:lnTo>
                <a:lnTo>
                  <a:pt x="6" y="57"/>
                </a:lnTo>
                <a:lnTo>
                  <a:pt x="6" y="56"/>
                </a:lnTo>
                <a:lnTo>
                  <a:pt x="6" y="56"/>
                </a:lnTo>
                <a:lnTo>
                  <a:pt x="6" y="56"/>
                </a:lnTo>
                <a:lnTo>
                  <a:pt x="6" y="56"/>
                </a:lnTo>
                <a:lnTo>
                  <a:pt x="6" y="56"/>
                </a:lnTo>
                <a:lnTo>
                  <a:pt x="6" y="56"/>
                </a:lnTo>
                <a:lnTo>
                  <a:pt x="6" y="55"/>
                </a:lnTo>
                <a:lnTo>
                  <a:pt x="6" y="55"/>
                </a:lnTo>
                <a:lnTo>
                  <a:pt x="6" y="55"/>
                </a:lnTo>
                <a:lnTo>
                  <a:pt x="5" y="55"/>
                </a:lnTo>
                <a:lnTo>
                  <a:pt x="5" y="55"/>
                </a:lnTo>
                <a:lnTo>
                  <a:pt x="5" y="54"/>
                </a:lnTo>
                <a:lnTo>
                  <a:pt x="5" y="54"/>
                </a:lnTo>
                <a:lnTo>
                  <a:pt x="5" y="54"/>
                </a:lnTo>
                <a:lnTo>
                  <a:pt x="5" y="54"/>
                </a:lnTo>
                <a:lnTo>
                  <a:pt x="5" y="54"/>
                </a:lnTo>
                <a:lnTo>
                  <a:pt x="5" y="54"/>
                </a:lnTo>
                <a:lnTo>
                  <a:pt x="5" y="53"/>
                </a:lnTo>
                <a:lnTo>
                  <a:pt x="5" y="53"/>
                </a:lnTo>
                <a:lnTo>
                  <a:pt x="5" y="53"/>
                </a:lnTo>
                <a:lnTo>
                  <a:pt x="4" y="53"/>
                </a:lnTo>
                <a:lnTo>
                  <a:pt x="4" y="53"/>
                </a:lnTo>
                <a:lnTo>
                  <a:pt x="4" y="52"/>
                </a:lnTo>
                <a:lnTo>
                  <a:pt x="4" y="52"/>
                </a:lnTo>
                <a:lnTo>
                  <a:pt x="4" y="52"/>
                </a:lnTo>
                <a:lnTo>
                  <a:pt x="4" y="52"/>
                </a:lnTo>
                <a:lnTo>
                  <a:pt x="4" y="52"/>
                </a:lnTo>
                <a:lnTo>
                  <a:pt x="4" y="50"/>
                </a:lnTo>
                <a:lnTo>
                  <a:pt x="4" y="50"/>
                </a:lnTo>
                <a:lnTo>
                  <a:pt x="4" y="50"/>
                </a:lnTo>
                <a:lnTo>
                  <a:pt x="4" y="50"/>
                </a:lnTo>
                <a:lnTo>
                  <a:pt x="4" y="50"/>
                </a:lnTo>
                <a:lnTo>
                  <a:pt x="4" y="50"/>
                </a:lnTo>
                <a:lnTo>
                  <a:pt x="3" y="49"/>
                </a:lnTo>
                <a:lnTo>
                  <a:pt x="3" y="49"/>
                </a:lnTo>
                <a:lnTo>
                  <a:pt x="3" y="49"/>
                </a:lnTo>
                <a:lnTo>
                  <a:pt x="3" y="49"/>
                </a:lnTo>
                <a:lnTo>
                  <a:pt x="3" y="49"/>
                </a:lnTo>
                <a:lnTo>
                  <a:pt x="3" y="48"/>
                </a:lnTo>
                <a:lnTo>
                  <a:pt x="3" y="48"/>
                </a:lnTo>
                <a:lnTo>
                  <a:pt x="3" y="48"/>
                </a:lnTo>
                <a:lnTo>
                  <a:pt x="3" y="48"/>
                </a:lnTo>
                <a:lnTo>
                  <a:pt x="3" y="48"/>
                </a:lnTo>
                <a:lnTo>
                  <a:pt x="3" y="47"/>
                </a:lnTo>
                <a:lnTo>
                  <a:pt x="3" y="47"/>
                </a:lnTo>
                <a:lnTo>
                  <a:pt x="3" y="47"/>
                </a:lnTo>
                <a:lnTo>
                  <a:pt x="3" y="47"/>
                </a:lnTo>
                <a:lnTo>
                  <a:pt x="3" y="47"/>
                </a:lnTo>
                <a:lnTo>
                  <a:pt x="3" y="46"/>
                </a:lnTo>
                <a:lnTo>
                  <a:pt x="1" y="46"/>
                </a:lnTo>
                <a:lnTo>
                  <a:pt x="1" y="46"/>
                </a:lnTo>
                <a:lnTo>
                  <a:pt x="1" y="46"/>
                </a:lnTo>
                <a:lnTo>
                  <a:pt x="1" y="46"/>
                </a:lnTo>
                <a:lnTo>
                  <a:pt x="1" y="45"/>
                </a:lnTo>
                <a:lnTo>
                  <a:pt x="1" y="45"/>
                </a:lnTo>
                <a:lnTo>
                  <a:pt x="1" y="45"/>
                </a:lnTo>
                <a:lnTo>
                  <a:pt x="1" y="45"/>
                </a:lnTo>
                <a:lnTo>
                  <a:pt x="1" y="45"/>
                </a:lnTo>
                <a:lnTo>
                  <a:pt x="1" y="44"/>
                </a:lnTo>
                <a:lnTo>
                  <a:pt x="1" y="44"/>
                </a:lnTo>
                <a:lnTo>
                  <a:pt x="1" y="44"/>
                </a:lnTo>
                <a:lnTo>
                  <a:pt x="1" y="44"/>
                </a:lnTo>
                <a:lnTo>
                  <a:pt x="1" y="44"/>
                </a:lnTo>
                <a:lnTo>
                  <a:pt x="1" y="43"/>
                </a:lnTo>
                <a:lnTo>
                  <a:pt x="1" y="43"/>
                </a:lnTo>
                <a:lnTo>
                  <a:pt x="1" y="43"/>
                </a:lnTo>
                <a:lnTo>
                  <a:pt x="1" y="43"/>
                </a:lnTo>
                <a:lnTo>
                  <a:pt x="1" y="43"/>
                </a:lnTo>
                <a:lnTo>
                  <a:pt x="1" y="41"/>
                </a:lnTo>
                <a:lnTo>
                  <a:pt x="1" y="41"/>
                </a:lnTo>
                <a:lnTo>
                  <a:pt x="1" y="41"/>
                </a:lnTo>
                <a:lnTo>
                  <a:pt x="1" y="41"/>
                </a:lnTo>
                <a:lnTo>
                  <a:pt x="1" y="40"/>
                </a:lnTo>
                <a:lnTo>
                  <a:pt x="1" y="40"/>
                </a:lnTo>
                <a:lnTo>
                  <a:pt x="1" y="40"/>
                </a:lnTo>
                <a:lnTo>
                  <a:pt x="1" y="40"/>
                </a:lnTo>
                <a:lnTo>
                  <a:pt x="1" y="40"/>
                </a:lnTo>
                <a:lnTo>
                  <a:pt x="1" y="39"/>
                </a:lnTo>
                <a:lnTo>
                  <a:pt x="1" y="39"/>
                </a:lnTo>
                <a:lnTo>
                  <a:pt x="1" y="39"/>
                </a:lnTo>
                <a:lnTo>
                  <a:pt x="1" y="39"/>
                </a:lnTo>
                <a:lnTo>
                  <a:pt x="0" y="39"/>
                </a:lnTo>
                <a:lnTo>
                  <a:pt x="0" y="38"/>
                </a:lnTo>
                <a:lnTo>
                  <a:pt x="0" y="38"/>
                </a:lnTo>
                <a:lnTo>
                  <a:pt x="0" y="38"/>
                </a:lnTo>
                <a:lnTo>
                  <a:pt x="0" y="38"/>
                </a:lnTo>
                <a:lnTo>
                  <a:pt x="0" y="37"/>
                </a:lnTo>
                <a:lnTo>
                  <a:pt x="0" y="37"/>
                </a:lnTo>
                <a:lnTo>
                  <a:pt x="0" y="37"/>
                </a:lnTo>
                <a:lnTo>
                  <a:pt x="0" y="37"/>
                </a:lnTo>
                <a:lnTo>
                  <a:pt x="0" y="37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1" y="35"/>
                </a:lnTo>
                <a:lnTo>
                  <a:pt x="1" y="35"/>
                </a:lnTo>
                <a:lnTo>
                  <a:pt x="1" y="35"/>
                </a:lnTo>
                <a:lnTo>
                  <a:pt x="1" y="35"/>
                </a:lnTo>
                <a:lnTo>
                  <a:pt x="1" y="34"/>
                </a:lnTo>
                <a:lnTo>
                  <a:pt x="1" y="34"/>
                </a:lnTo>
                <a:lnTo>
                  <a:pt x="1" y="34"/>
                </a:lnTo>
                <a:lnTo>
                  <a:pt x="1" y="34"/>
                </a:lnTo>
                <a:lnTo>
                  <a:pt x="1" y="34"/>
                </a:lnTo>
                <a:lnTo>
                  <a:pt x="1" y="32"/>
                </a:lnTo>
                <a:lnTo>
                  <a:pt x="1" y="32"/>
                </a:lnTo>
                <a:lnTo>
                  <a:pt x="1" y="32"/>
                </a:lnTo>
                <a:lnTo>
                  <a:pt x="1" y="32"/>
                </a:lnTo>
                <a:lnTo>
                  <a:pt x="1" y="32"/>
                </a:lnTo>
                <a:lnTo>
                  <a:pt x="1" y="31"/>
                </a:lnTo>
                <a:lnTo>
                  <a:pt x="1" y="31"/>
                </a:lnTo>
                <a:lnTo>
                  <a:pt x="1" y="31"/>
                </a:lnTo>
                <a:lnTo>
                  <a:pt x="1" y="31"/>
                </a:lnTo>
                <a:lnTo>
                  <a:pt x="1" y="31"/>
                </a:lnTo>
                <a:lnTo>
                  <a:pt x="1" y="30"/>
                </a:lnTo>
                <a:lnTo>
                  <a:pt x="1" y="30"/>
                </a:lnTo>
                <a:lnTo>
                  <a:pt x="1" y="30"/>
                </a:lnTo>
                <a:lnTo>
                  <a:pt x="1" y="30"/>
                </a:lnTo>
                <a:lnTo>
                  <a:pt x="1" y="30"/>
                </a:lnTo>
                <a:lnTo>
                  <a:pt x="1" y="29"/>
                </a:lnTo>
                <a:lnTo>
                  <a:pt x="1" y="29"/>
                </a:lnTo>
                <a:lnTo>
                  <a:pt x="1" y="29"/>
                </a:lnTo>
                <a:lnTo>
                  <a:pt x="1" y="29"/>
                </a:lnTo>
                <a:lnTo>
                  <a:pt x="1" y="29"/>
                </a:lnTo>
                <a:lnTo>
                  <a:pt x="1" y="28"/>
                </a:lnTo>
                <a:lnTo>
                  <a:pt x="1" y="28"/>
                </a:lnTo>
                <a:lnTo>
                  <a:pt x="1" y="28"/>
                </a:lnTo>
                <a:lnTo>
                  <a:pt x="3" y="28"/>
                </a:lnTo>
                <a:lnTo>
                  <a:pt x="3" y="28"/>
                </a:lnTo>
                <a:lnTo>
                  <a:pt x="3" y="27"/>
                </a:lnTo>
                <a:lnTo>
                  <a:pt x="3" y="27"/>
                </a:lnTo>
                <a:lnTo>
                  <a:pt x="3" y="27"/>
                </a:lnTo>
                <a:lnTo>
                  <a:pt x="3" y="27"/>
                </a:lnTo>
                <a:lnTo>
                  <a:pt x="3" y="27"/>
                </a:lnTo>
                <a:lnTo>
                  <a:pt x="3" y="26"/>
                </a:lnTo>
                <a:lnTo>
                  <a:pt x="3" y="26"/>
                </a:lnTo>
                <a:lnTo>
                  <a:pt x="3" y="26"/>
                </a:lnTo>
                <a:lnTo>
                  <a:pt x="3" y="26"/>
                </a:lnTo>
                <a:lnTo>
                  <a:pt x="3" y="26"/>
                </a:lnTo>
                <a:lnTo>
                  <a:pt x="3" y="25"/>
                </a:lnTo>
                <a:lnTo>
                  <a:pt x="3" y="25"/>
                </a:lnTo>
                <a:lnTo>
                  <a:pt x="3" y="25"/>
                </a:lnTo>
                <a:lnTo>
                  <a:pt x="3" y="25"/>
                </a:lnTo>
                <a:lnTo>
                  <a:pt x="4" y="25"/>
                </a:lnTo>
                <a:lnTo>
                  <a:pt x="4" y="23"/>
                </a:lnTo>
                <a:lnTo>
                  <a:pt x="4" y="23"/>
                </a:lnTo>
                <a:lnTo>
                  <a:pt x="4" y="23"/>
                </a:lnTo>
                <a:lnTo>
                  <a:pt x="4" y="23"/>
                </a:lnTo>
                <a:lnTo>
                  <a:pt x="4" y="23"/>
                </a:lnTo>
                <a:lnTo>
                  <a:pt x="4" y="22"/>
                </a:lnTo>
                <a:lnTo>
                  <a:pt x="4" y="22"/>
                </a:lnTo>
                <a:lnTo>
                  <a:pt x="4" y="22"/>
                </a:lnTo>
                <a:lnTo>
                  <a:pt x="4" y="22"/>
                </a:lnTo>
                <a:lnTo>
                  <a:pt x="4" y="22"/>
                </a:lnTo>
                <a:lnTo>
                  <a:pt x="4" y="22"/>
                </a:lnTo>
                <a:lnTo>
                  <a:pt x="4" y="21"/>
                </a:lnTo>
                <a:lnTo>
                  <a:pt x="5" y="21"/>
                </a:lnTo>
                <a:lnTo>
                  <a:pt x="5" y="21"/>
                </a:lnTo>
                <a:lnTo>
                  <a:pt x="5" y="21"/>
                </a:lnTo>
                <a:lnTo>
                  <a:pt x="5" y="21"/>
                </a:lnTo>
                <a:lnTo>
                  <a:pt x="5" y="20"/>
                </a:lnTo>
                <a:lnTo>
                  <a:pt x="5" y="20"/>
                </a:lnTo>
                <a:lnTo>
                  <a:pt x="5" y="20"/>
                </a:lnTo>
                <a:lnTo>
                  <a:pt x="5" y="20"/>
                </a:lnTo>
                <a:lnTo>
                  <a:pt x="5" y="20"/>
                </a:lnTo>
                <a:lnTo>
                  <a:pt x="5" y="20"/>
                </a:lnTo>
                <a:lnTo>
                  <a:pt x="5" y="19"/>
                </a:lnTo>
                <a:lnTo>
                  <a:pt x="6" y="19"/>
                </a:lnTo>
                <a:lnTo>
                  <a:pt x="6" y="19"/>
                </a:lnTo>
                <a:lnTo>
                  <a:pt x="6" y="19"/>
                </a:lnTo>
                <a:lnTo>
                  <a:pt x="6" y="19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7" y="17"/>
                </a:lnTo>
                <a:lnTo>
                  <a:pt x="7" y="17"/>
                </a:lnTo>
                <a:lnTo>
                  <a:pt x="7" y="17"/>
                </a:lnTo>
                <a:lnTo>
                  <a:pt x="7" y="17"/>
                </a:lnTo>
                <a:lnTo>
                  <a:pt x="7" y="17"/>
                </a:lnTo>
                <a:lnTo>
                  <a:pt x="7" y="17"/>
                </a:lnTo>
                <a:lnTo>
                  <a:pt x="7" y="16"/>
                </a:lnTo>
                <a:lnTo>
                  <a:pt x="7" y="16"/>
                </a:lnTo>
                <a:lnTo>
                  <a:pt x="7" y="16"/>
                </a:lnTo>
                <a:lnTo>
                  <a:pt x="8" y="16"/>
                </a:lnTo>
                <a:lnTo>
                  <a:pt x="8" y="16"/>
                </a:lnTo>
                <a:lnTo>
                  <a:pt x="8" y="16"/>
                </a:lnTo>
                <a:lnTo>
                  <a:pt x="8" y="14"/>
                </a:lnTo>
                <a:lnTo>
                  <a:pt x="8" y="14"/>
                </a:lnTo>
                <a:lnTo>
                  <a:pt x="8" y="14"/>
                </a:lnTo>
                <a:lnTo>
                  <a:pt x="8" y="14"/>
                </a:lnTo>
                <a:lnTo>
                  <a:pt x="8" y="14"/>
                </a:lnTo>
                <a:lnTo>
                  <a:pt x="8" y="14"/>
                </a:lnTo>
                <a:lnTo>
                  <a:pt x="9" y="13"/>
                </a:lnTo>
                <a:lnTo>
                  <a:pt x="9" y="13"/>
                </a:lnTo>
                <a:lnTo>
                  <a:pt x="9" y="13"/>
                </a:lnTo>
                <a:lnTo>
                  <a:pt x="9" y="13"/>
                </a:lnTo>
                <a:lnTo>
                  <a:pt x="9" y="13"/>
                </a:lnTo>
                <a:lnTo>
                  <a:pt x="9" y="13"/>
                </a:lnTo>
                <a:lnTo>
                  <a:pt x="9" y="13"/>
                </a:lnTo>
                <a:lnTo>
                  <a:pt x="10" y="12"/>
                </a:lnTo>
                <a:lnTo>
                  <a:pt x="10" y="12"/>
                </a:lnTo>
                <a:lnTo>
                  <a:pt x="10" y="12"/>
                </a:lnTo>
                <a:lnTo>
                  <a:pt x="10" y="12"/>
                </a:lnTo>
                <a:lnTo>
                  <a:pt x="10" y="12"/>
                </a:lnTo>
                <a:lnTo>
                  <a:pt x="10" y="12"/>
                </a:lnTo>
                <a:lnTo>
                  <a:pt x="10" y="11"/>
                </a:lnTo>
                <a:lnTo>
                  <a:pt x="10" y="11"/>
                </a:lnTo>
                <a:lnTo>
                  <a:pt x="12" y="11"/>
                </a:lnTo>
                <a:lnTo>
                  <a:pt x="12" y="11"/>
                </a:lnTo>
                <a:lnTo>
                  <a:pt x="12" y="11"/>
                </a:lnTo>
                <a:lnTo>
                  <a:pt x="12" y="11"/>
                </a:lnTo>
                <a:lnTo>
                  <a:pt x="12" y="11"/>
                </a:lnTo>
                <a:lnTo>
                  <a:pt x="12" y="10"/>
                </a:lnTo>
                <a:lnTo>
                  <a:pt x="12" y="10"/>
                </a:lnTo>
                <a:lnTo>
                  <a:pt x="13" y="10"/>
                </a:lnTo>
                <a:lnTo>
                  <a:pt x="13" y="10"/>
                </a:lnTo>
                <a:lnTo>
                  <a:pt x="13" y="10"/>
                </a:lnTo>
                <a:lnTo>
                  <a:pt x="13" y="10"/>
                </a:lnTo>
                <a:lnTo>
                  <a:pt x="13" y="10"/>
                </a:lnTo>
                <a:lnTo>
                  <a:pt x="13" y="9"/>
                </a:lnTo>
                <a:lnTo>
                  <a:pt x="13" y="9"/>
                </a:lnTo>
                <a:lnTo>
                  <a:pt x="14" y="9"/>
                </a:lnTo>
                <a:lnTo>
                  <a:pt x="14" y="9"/>
                </a:lnTo>
                <a:lnTo>
                  <a:pt x="14" y="9"/>
                </a:lnTo>
                <a:lnTo>
                  <a:pt x="14" y="9"/>
                </a:lnTo>
                <a:lnTo>
                  <a:pt x="14" y="9"/>
                </a:lnTo>
                <a:lnTo>
                  <a:pt x="14" y="9"/>
                </a:lnTo>
                <a:lnTo>
                  <a:pt x="14" y="8"/>
                </a:lnTo>
                <a:lnTo>
                  <a:pt x="15" y="8"/>
                </a:lnTo>
                <a:lnTo>
                  <a:pt x="15" y="8"/>
                </a:lnTo>
                <a:lnTo>
                  <a:pt x="15" y="8"/>
                </a:lnTo>
                <a:lnTo>
                  <a:pt x="15" y="8"/>
                </a:lnTo>
                <a:lnTo>
                  <a:pt x="15" y="8"/>
                </a:lnTo>
                <a:lnTo>
                  <a:pt x="15" y="8"/>
                </a:lnTo>
                <a:lnTo>
                  <a:pt x="16" y="8"/>
                </a:lnTo>
                <a:lnTo>
                  <a:pt x="16" y="7"/>
                </a:lnTo>
                <a:lnTo>
                  <a:pt x="16" y="7"/>
                </a:lnTo>
                <a:lnTo>
                  <a:pt x="16" y="7"/>
                </a:lnTo>
                <a:lnTo>
                  <a:pt x="16" y="7"/>
                </a:lnTo>
                <a:lnTo>
                  <a:pt x="16" y="7"/>
                </a:lnTo>
                <a:lnTo>
                  <a:pt x="17" y="7"/>
                </a:lnTo>
                <a:lnTo>
                  <a:pt x="17" y="7"/>
                </a:lnTo>
                <a:lnTo>
                  <a:pt x="17" y="7"/>
                </a:lnTo>
                <a:lnTo>
                  <a:pt x="17" y="5"/>
                </a:lnTo>
                <a:lnTo>
                  <a:pt x="17" y="5"/>
                </a:lnTo>
                <a:lnTo>
                  <a:pt x="17" y="5"/>
                </a:lnTo>
                <a:lnTo>
                  <a:pt x="18" y="5"/>
                </a:lnTo>
                <a:lnTo>
                  <a:pt x="18" y="5"/>
                </a:lnTo>
                <a:lnTo>
                  <a:pt x="18" y="5"/>
                </a:lnTo>
                <a:lnTo>
                  <a:pt x="18" y="5"/>
                </a:lnTo>
                <a:lnTo>
                  <a:pt x="18" y="5"/>
                </a:lnTo>
                <a:lnTo>
                  <a:pt x="18" y="5"/>
                </a:lnTo>
                <a:lnTo>
                  <a:pt x="19" y="5"/>
                </a:lnTo>
                <a:lnTo>
                  <a:pt x="19" y="4"/>
                </a:lnTo>
                <a:lnTo>
                  <a:pt x="19" y="4"/>
                </a:lnTo>
                <a:lnTo>
                  <a:pt x="19" y="4"/>
                </a:lnTo>
                <a:lnTo>
                  <a:pt x="19" y="4"/>
                </a:lnTo>
                <a:lnTo>
                  <a:pt x="19" y="4"/>
                </a:lnTo>
                <a:lnTo>
                  <a:pt x="21" y="4"/>
                </a:lnTo>
                <a:lnTo>
                  <a:pt x="21" y="4"/>
                </a:lnTo>
                <a:lnTo>
                  <a:pt x="21" y="4"/>
                </a:lnTo>
                <a:lnTo>
                  <a:pt x="21" y="4"/>
                </a:lnTo>
                <a:lnTo>
                  <a:pt x="21" y="4"/>
                </a:lnTo>
                <a:lnTo>
                  <a:pt x="22" y="3"/>
                </a:lnTo>
                <a:lnTo>
                  <a:pt x="22" y="3"/>
                </a:lnTo>
                <a:lnTo>
                  <a:pt x="22" y="3"/>
                </a:lnTo>
                <a:lnTo>
                  <a:pt x="22" y="3"/>
                </a:lnTo>
                <a:lnTo>
                  <a:pt x="22" y="3"/>
                </a:lnTo>
                <a:lnTo>
                  <a:pt x="22" y="3"/>
                </a:lnTo>
                <a:lnTo>
                  <a:pt x="23" y="3"/>
                </a:lnTo>
                <a:lnTo>
                  <a:pt x="23" y="3"/>
                </a:lnTo>
                <a:lnTo>
                  <a:pt x="23" y="3"/>
                </a:lnTo>
                <a:lnTo>
                  <a:pt x="23" y="3"/>
                </a:lnTo>
                <a:lnTo>
                  <a:pt x="23" y="3"/>
                </a:lnTo>
                <a:lnTo>
                  <a:pt x="24" y="2"/>
                </a:lnTo>
                <a:lnTo>
                  <a:pt x="24" y="2"/>
                </a:lnTo>
                <a:lnTo>
                  <a:pt x="24" y="2"/>
                </a:lnTo>
                <a:lnTo>
                  <a:pt x="24" y="2"/>
                </a:lnTo>
                <a:lnTo>
                  <a:pt x="24" y="2"/>
                </a:lnTo>
                <a:lnTo>
                  <a:pt x="24" y="2"/>
                </a:lnTo>
                <a:lnTo>
                  <a:pt x="25" y="2"/>
                </a:lnTo>
                <a:lnTo>
                  <a:pt x="25" y="2"/>
                </a:lnTo>
                <a:lnTo>
                  <a:pt x="25" y="2"/>
                </a:lnTo>
                <a:lnTo>
                  <a:pt x="25" y="2"/>
                </a:lnTo>
                <a:lnTo>
                  <a:pt x="25" y="2"/>
                </a:lnTo>
                <a:lnTo>
                  <a:pt x="26" y="2"/>
                </a:lnTo>
                <a:lnTo>
                  <a:pt x="26" y="2"/>
                </a:lnTo>
                <a:lnTo>
                  <a:pt x="26" y="1"/>
                </a:lnTo>
                <a:lnTo>
                  <a:pt x="26" y="1"/>
                </a:lnTo>
                <a:lnTo>
                  <a:pt x="26" y="1"/>
                </a:lnTo>
                <a:lnTo>
                  <a:pt x="27" y="1"/>
                </a:lnTo>
                <a:lnTo>
                  <a:pt x="27" y="1"/>
                </a:lnTo>
                <a:lnTo>
                  <a:pt x="27" y="1"/>
                </a:lnTo>
                <a:lnTo>
                  <a:pt x="27" y="1"/>
                </a:lnTo>
                <a:lnTo>
                  <a:pt x="27" y="1"/>
                </a:lnTo>
                <a:lnTo>
                  <a:pt x="28" y="1"/>
                </a:lnTo>
                <a:lnTo>
                  <a:pt x="28" y="1"/>
                </a:lnTo>
                <a:lnTo>
                  <a:pt x="28" y="1"/>
                </a:lnTo>
                <a:lnTo>
                  <a:pt x="28" y="1"/>
                </a:lnTo>
                <a:lnTo>
                  <a:pt x="28" y="1"/>
                </a:lnTo>
                <a:lnTo>
                  <a:pt x="30" y="1"/>
                </a:lnTo>
                <a:lnTo>
                  <a:pt x="30" y="1"/>
                </a:lnTo>
                <a:lnTo>
                  <a:pt x="30" y="1"/>
                </a:lnTo>
                <a:lnTo>
                  <a:pt x="30" y="1"/>
                </a:lnTo>
                <a:lnTo>
                  <a:pt x="30" y="1"/>
                </a:lnTo>
                <a:lnTo>
                  <a:pt x="31" y="0"/>
                </a:lnTo>
                <a:lnTo>
                  <a:pt x="31" y="0"/>
                </a:lnTo>
                <a:lnTo>
                  <a:pt x="31" y="0"/>
                </a:lnTo>
                <a:lnTo>
                  <a:pt x="31" y="0"/>
                </a:lnTo>
                <a:lnTo>
                  <a:pt x="31" y="0"/>
                </a:lnTo>
                <a:lnTo>
                  <a:pt x="32" y="0"/>
                </a:lnTo>
                <a:lnTo>
                  <a:pt x="32" y="0"/>
                </a:lnTo>
                <a:lnTo>
                  <a:pt x="32" y="0"/>
                </a:lnTo>
                <a:lnTo>
                  <a:pt x="32" y="0"/>
                </a:lnTo>
                <a:lnTo>
                  <a:pt x="32" y="0"/>
                </a:lnTo>
                <a:lnTo>
                  <a:pt x="33" y="0"/>
                </a:lnTo>
                <a:lnTo>
                  <a:pt x="33" y="0"/>
                </a:lnTo>
                <a:lnTo>
                  <a:pt x="33" y="0"/>
                </a:lnTo>
                <a:lnTo>
                  <a:pt x="33" y="0"/>
                </a:lnTo>
                <a:lnTo>
                  <a:pt x="33" y="0"/>
                </a:lnTo>
                <a:lnTo>
                  <a:pt x="34" y="0"/>
                </a:lnTo>
                <a:lnTo>
                  <a:pt x="34" y="0"/>
                </a:lnTo>
                <a:lnTo>
                  <a:pt x="34" y="0"/>
                </a:lnTo>
                <a:lnTo>
                  <a:pt x="34" y="0"/>
                </a:lnTo>
                <a:lnTo>
                  <a:pt x="34" y="0"/>
                </a:lnTo>
                <a:lnTo>
                  <a:pt x="35" y="0"/>
                </a:lnTo>
                <a:lnTo>
                  <a:pt x="35" y="0"/>
                </a:lnTo>
                <a:lnTo>
                  <a:pt x="35" y="0"/>
                </a:lnTo>
                <a:lnTo>
                  <a:pt x="35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7" y="0"/>
                </a:lnTo>
                <a:lnTo>
                  <a:pt x="37" y="0"/>
                </a:lnTo>
                <a:lnTo>
                  <a:pt x="37" y="0"/>
                </a:lnTo>
                <a:lnTo>
                  <a:pt x="37" y="0"/>
                </a:lnTo>
                <a:lnTo>
                  <a:pt x="37" y="0"/>
                </a:lnTo>
                <a:lnTo>
                  <a:pt x="39" y="0"/>
                </a:lnTo>
                <a:lnTo>
                  <a:pt x="39" y="0"/>
                </a:lnTo>
                <a:lnTo>
                  <a:pt x="39" y="0"/>
                </a:lnTo>
                <a:lnTo>
                  <a:pt x="39" y="0"/>
                </a:lnTo>
                <a:lnTo>
                  <a:pt x="40" y="0"/>
                </a:lnTo>
                <a:lnTo>
                  <a:pt x="40" y="0"/>
                </a:lnTo>
                <a:lnTo>
                  <a:pt x="40" y="0"/>
                </a:lnTo>
                <a:lnTo>
                  <a:pt x="40" y="0"/>
                </a:lnTo>
                <a:lnTo>
                  <a:pt x="40" y="0"/>
                </a:lnTo>
                <a:lnTo>
                  <a:pt x="41" y="0"/>
                </a:lnTo>
                <a:lnTo>
                  <a:pt x="41" y="0"/>
                </a:lnTo>
                <a:lnTo>
                  <a:pt x="41" y="0"/>
                </a:lnTo>
                <a:lnTo>
                  <a:pt x="41" y="0"/>
                </a:lnTo>
                <a:lnTo>
                  <a:pt x="41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3" y="0"/>
                </a:lnTo>
                <a:lnTo>
                  <a:pt x="43" y="0"/>
                </a:lnTo>
                <a:lnTo>
                  <a:pt x="43" y="0"/>
                </a:lnTo>
                <a:lnTo>
                  <a:pt x="43" y="0"/>
                </a:lnTo>
                <a:lnTo>
                  <a:pt x="44" y="0"/>
                </a:lnTo>
                <a:lnTo>
                  <a:pt x="44" y="0"/>
                </a:lnTo>
                <a:lnTo>
                  <a:pt x="44" y="0"/>
                </a:lnTo>
                <a:lnTo>
                  <a:pt x="44" y="0"/>
                </a:lnTo>
                <a:lnTo>
                  <a:pt x="44" y="0"/>
                </a:lnTo>
                <a:lnTo>
                  <a:pt x="45" y="0"/>
                </a:lnTo>
                <a:lnTo>
                  <a:pt x="45" y="0"/>
                </a:lnTo>
                <a:lnTo>
                  <a:pt x="45" y="0"/>
                </a:lnTo>
                <a:lnTo>
                  <a:pt x="45" y="0"/>
                </a:lnTo>
                <a:lnTo>
                  <a:pt x="45" y="0"/>
                </a:lnTo>
                <a:lnTo>
                  <a:pt x="46" y="0"/>
                </a:lnTo>
                <a:lnTo>
                  <a:pt x="46" y="0"/>
                </a:lnTo>
                <a:lnTo>
                  <a:pt x="46" y="0"/>
                </a:lnTo>
                <a:lnTo>
                  <a:pt x="46" y="0"/>
                </a:lnTo>
                <a:lnTo>
                  <a:pt x="46" y="1"/>
                </a:lnTo>
                <a:lnTo>
                  <a:pt x="48" y="1"/>
                </a:lnTo>
                <a:lnTo>
                  <a:pt x="48" y="1"/>
                </a:lnTo>
                <a:lnTo>
                  <a:pt x="48" y="1"/>
                </a:lnTo>
                <a:lnTo>
                  <a:pt x="48" y="1"/>
                </a:lnTo>
                <a:lnTo>
                  <a:pt x="48" y="1"/>
                </a:lnTo>
                <a:lnTo>
                  <a:pt x="49" y="1"/>
                </a:lnTo>
                <a:lnTo>
                  <a:pt x="49" y="1"/>
                </a:lnTo>
                <a:lnTo>
                  <a:pt x="49" y="1"/>
                </a:lnTo>
                <a:lnTo>
                  <a:pt x="49" y="1"/>
                </a:lnTo>
                <a:lnTo>
                  <a:pt x="49" y="1"/>
                </a:lnTo>
                <a:lnTo>
                  <a:pt x="50" y="1"/>
                </a:lnTo>
                <a:lnTo>
                  <a:pt x="50" y="1"/>
                </a:lnTo>
                <a:lnTo>
                  <a:pt x="50" y="1"/>
                </a:lnTo>
                <a:lnTo>
                  <a:pt x="50" y="1"/>
                </a:lnTo>
                <a:lnTo>
                  <a:pt x="50" y="1"/>
                </a:lnTo>
                <a:lnTo>
                  <a:pt x="51" y="1"/>
                </a:lnTo>
                <a:lnTo>
                  <a:pt x="51" y="1"/>
                </a:lnTo>
                <a:lnTo>
                  <a:pt x="51" y="2"/>
                </a:lnTo>
                <a:lnTo>
                  <a:pt x="51" y="2"/>
                </a:lnTo>
                <a:lnTo>
                  <a:pt x="51" y="2"/>
                </a:lnTo>
                <a:lnTo>
                  <a:pt x="52" y="2"/>
                </a:lnTo>
                <a:lnTo>
                  <a:pt x="52" y="2"/>
                </a:lnTo>
                <a:lnTo>
                  <a:pt x="52" y="2"/>
                </a:lnTo>
                <a:lnTo>
                  <a:pt x="52" y="2"/>
                </a:lnTo>
                <a:lnTo>
                  <a:pt x="52" y="2"/>
                </a:lnTo>
                <a:lnTo>
                  <a:pt x="52" y="2"/>
                </a:lnTo>
                <a:lnTo>
                  <a:pt x="53" y="2"/>
                </a:lnTo>
                <a:lnTo>
                  <a:pt x="53" y="2"/>
                </a:lnTo>
                <a:lnTo>
                  <a:pt x="53" y="2"/>
                </a:lnTo>
                <a:lnTo>
                  <a:pt x="53" y="2"/>
                </a:lnTo>
                <a:lnTo>
                  <a:pt x="53" y="3"/>
                </a:lnTo>
                <a:lnTo>
                  <a:pt x="54" y="3"/>
                </a:lnTo>
                <a:lnTo>
                  <a:pt x="54" y="3"/>
                </a:lnTo>
                <a:lnTo>
                  <a:pt x="54" y="3"/>
                </a:lnTo>
                <a:lnTo>
                  <a:pt x="54" y="3"/>
                </a:lnTo>
                <a:lnTo>
                  <a:pt x="54" y="3"/>
                </a:lnTo>
                <a:lnTo>
                  <a:pt x="55" y="3"/>
                </a:lnTo>
                <a:lnTo>
                  <a:pt x="55" y="3"/>
                </a:lnTo>
                <a:lnTo>
                  <a:pt x="55" y="3"/>
                </a:lnTo>
                <a:lnTo>
                  <a:pt x="55" y="3"/>
                </a:lnTo>
                <a:lnTo>
                  <a:pt x="55" y="3"/>
                </a:lnTo>
                <a:lnTo>
                  <a:pt x="55" y="4"/>
                </a:lnTo>
                <a:lnTo>
                  <a:pt x="57" y="4"/>
                </a:lnTo>
                <a:lnTo>
                  <a:pt x="57" y="4"/>
                </a:lnTo>
                <a:lnTo>
                  <a:pt x="57" y="4"/>
                </a:lnTo>
                <a:lnTo>
                  <a:pt x="57" y="4"/>
                </a:lnTo>
                <a:lnTo>
                  <a:pt x="57" y="4"/>
                </a:lnTo>
                <a:lnTo>
                  <a:pt x="57" y="4"/>
                </a:lnTo>
                <a:lnTo>
                  <a:pt x="58" y="4"/>
                </a:lnTo>
                <a:lnTo>
                  <a:pt x="58" y="4"/>
                </a:lnTo>
                <a:lnTo>
                  <a:pt x="58" y="4"/>
                </a:lnTo>
                <a:lnTo>
                  <a:pt x="58" y="5"/>
                </a:lnTo>
                <a:lnTo>
                  <a:pt x="58" y="5"/>
                </a:lnTo>
                <a:lnTo>
                  <a:pt x="59" y="5"/>
                </a:lnTo>
                <a:lnTo>
                  <a:pt x="59" y="5"/>
                </a:lnTo>
                <a:lnTo>
                  <a:pt x="59" y="5"/>
                </a:lnTo>
                <a:lnTo>
                  <a:pt x="59" y="5"/>
                </a:lnTo>
                <a:lnTo>
                  <a:pt x="59" y="5"/>
                </a:lnTo>
                <a:lnTo>
                  <a:pt x="59" y="5"/>
                </a:lnTo>
                <a:lnTo>
                  <a:pt x="60" y="5"/>
                </a:lnTo>
                <a:lnTo>
                  <a:pt x="60" y="5"/>
                </a:lnTo>
                <a:lnTo>
                  <a:pt x="60" y="7"/>
                </a:lnTo>
                <a:lnTo>
                  <a:pt x="60" y="7"/>
                </a:lnTo>
                <a:lnTo>
                  <a:pt x="60" y="7"/>
                </a:lnTo>
                <a:lnTo>
                  <a:pt x="60" y="7"/>
                </a:lnTo>
                <a:lnTo>
                  <a:pt x="61" y="7"/>
                </a:lnTo>
                <a:lnTo>
                  <a:pt x="61" y="7"/>
                </a:lnTo>
                <a:lnTo>
                  <a:pt x="61" y="7"/>
                </a:lnTo>
                <a:lnTo>
                  <a:pt x="61" y="7"/>
                </a:lnTo>
                <a:lnTo>
                  <a:pt x="61" y="8"/>
                </a:lnTo>
                <a:lnTo>
                  <a:pt x="61" y="8"/>
                </a:lnTo>
                <a:lnTo>
                  <a:pt x="61" y="8"/>
                </a:lnTo>
                <a:lnTo>
                  <a:pt x="62" y="8"/>
                </a:lnTo>
                <a:lnTo>
                  <a:pt x="62" y="8"/>
                </a:lnTo>
                <a:lnTo>
                  <a:pt x="62" y="8"/>
                </a:lnTo>
                <a:lnTo>
                  <a:pt x="62" y="8"/>
                </a:lnTo>
                <a:lnTo>
                  <a:pt x="62" y="8"/>
                </a:lnTo>
                <a:lnTo>
                  <a:pt x="62" y="9"/>
                </a:lnTo>
                <a:lnTo>
                  <a:pt x="63" y="9"/>
                </a:lnTo>
                <a:lnTo>
                  <a:pt x="63" y="9"/>
                </a:lnTo>
                <a:lnTo>
                  <a:pt x="63" y="9"/>
                </a:lnTo>
                <a:lnTo>
                  <a:pt x="63" y="9"/>
                </a:lnTo>
                <a:lnTo>
                  <a:pt x="63" y="9"/>
                </a:lnTo>
                <a:lnTo>
                  <a:pt x="63" y="9"/>
                </a:lnTo>
                <a:lnTo>
                  <a:pt x="63" y="9"/>
                </a:lnTo>
                <a:lnTo>
                  <a:pt x="64" y="10"/>
                </a:lnTo>
                <a:lnTo>
                  <a:pt x="64" y="10"/>
                </a:lnTo>
                <a:lnTo>
                  <a:pt x="64" y="10"/>
                </a:lnTo>
                <a:lnTo>
                  <a:pt x="64" y="10"/>
                </a:lnTo>
                <a:lnTo>
                  <a:pt x="64" y="10"/>
                </a:lnTo>
                <a:lnTo>
                  <a:pt x="64" y="10"/>
                </a:lnTo>
                <a:lnTo>
                  <a:pt x="64" y="10"/>
                </a:lnTo>
                <a:lnTo>
                  <a:pt x="66" y="11"/>
                </a:lnTo>
                <a:lnTo>
                  <a:pt x="66" y="11"/>
                </a:lnTo>
                <a:lnTo>
                  <a:pt x="66" y="11"/>
                </a:lnTo>
                <a:lnTo>
                  <a:pt x="66" y="11"/>
                </a:lnTo>
                <a:lnTo>
                  <a:pt x="66" y="11"/>
                </a:lnTo>
                <a:lnTo>
                  <a:pt x="66" y="11"/>
                </a:lnTo>
                <a:lnTo>
                  <a:pt x="66" y="11"/>
                </a:lnTo>
                <a:lnTo>
                  <a:pt x="67" y="12"/>
                </a:lnTo>
                <a:lnTo>
                  <a:pt x="67" y="12"/>
                </a:lnTo>
                <a:lnTo>
                  <a:pt x="67" y="12"/>
                </a:lnTo>
                <a:lnTo>
                  <a:pt x="67" y="12"/>
                </a:lnTo>
                <a:lnTo>
                  <a:pt x="67" y="12"/>
                </a:lnTo>
                <a:lnTo>
                  <a:pt x="67" y="12"/>
                </a:lnTo>
                <a:lnTo>
                  <a:pt x="67" y="13"/>
                </a:lnTo>
                <a:lnTo>
                  <a:pt x="67" y="13"/>
                </a:lnTo>
                <a:lnTo>
                  <a:pt x="68" y="13"/>
                </a:lnTo>
                <a:lnTo>
                  <a:pt x="68" y="13"/>
                </a:lnTo>
                <a:lnTo>
                  <a:pt x="68" y="13"/>
                </a:lnTo>
                <a:lnTo>
                  <a:pt x="68" y="13"/>
                </a:lnTo>
                <a:lnTo>
                  <a:pt x="68" y="13"/>
                </a:lnTo>
                <a:lnTo>
                  <a:pt x="68" y="14"/>
                </a:lnTo>
                <a:lnTo>
                  <a:pt x="68" y="14"/>
                </a:lnTo>
                <a:lnTo>
                  <a:pt x="68" y="14"/>
                </a:lnTo>
                <a:lnTo>
                  <a:pt x="69" y="14"/>
                </a:lnTo>
                <a:lnTo>
                  <a:pt x="69" y="14"/>
                </a:lnTo>
                <a:lnTo>
                  <a:pt x="69" y="14"/>
                </a:lnTo>
                <a:lnTo>
                  <a:pt x="69" y="16"/>
                </a:lnTo>
                <a:lnTo>
                  <a:pt x="69" y="16"/>
                </a:lnTo>
                <a:lnTo>
                  <a:pt x="69" y="16"/>
                </a:lnTo>
                <a:lnTo>
                  <a:pt x="69" y="16"/>
                </a:lnTo>
                <a:lnTo>
                  <a:pt x="69" y="16"/>
                </a:lnTo>
                <a:lnTo>
                  <a:pt x="70" y="16"/>
                </a:lnTo>
                <a:lnTo>
                  <a:pt x="70" y="17"/>
                </a:lnTo>
                <a:lnTo>
                  <a:pt x="70" y="17"/>
                </a:lnTo>
                <a:lnTo>
                  <a:pt x="70" y="17"/>
                </a:lnTo>
                <a:lnTo>
                  <a:pt x="70" y="17"/>
                </a:lnTo>
                <a:lnTo>
                  <a:pt x="70" y="17"/>
                </a:lnTo>
                <a:lnTo>
                  <a:pt x="70" y="17"/>
                </a:lnTo>
                <a:lnTo>
                  <a:pt x="70" y="18"/>
                </a:lnTo>
                <a:lnTo>
                  <a:pt x="70" y="18"/>
                </a:lnTo>
                <a:lnTo>
                  <a:pt x="71" y="18"/>
                </a:lnTo>
                <a:lnTo>
                  <a:pt x="71" y="18"/>
                </a:lnTo>
                <a:lnTo>
                  <a:pt x="71" y="18"/>
                </a:lnTo>
                <a:lnTo>
                  <a:pt x="71" y="18"/>
                </a:lnTo>
                <a:lnTo>
                  <a:pt x="71" y="19"/>
                </a:lnTo>
                <a:lnTo>
                  <a:pt x="71" y="19"/>
                </a:lnTo>
                <a:lnTo>
                  <a:pt x="71" y="19"/>
                </a:lnTo>
                <a:lnTo>
                  <a:pt x="71" y="19"/>
                </a:lnTo>
                <a:lnTo>
                  <a:pt x="71" y="19"/>
                </a:lnTo>
                <a:lnTo>
                  <a:pt x="71" y="20"/>
                </a:lnTo>
                <a:lnTo>
                  <a:pt x="72" y="20"/>
                </a:lnTo>
                <a:lnTo>
                  <a:pt x="72" y="20"/>
                </a:lnTo>
                <a:lnTo>
                  <a:pt x="72" y="20"/>
                </a:lnTo>
                <a:lnTo>
                  <a:pt x="72" y="20"/>
                </a:lnTo>
                <a:lnTo>
                  <a:pt x="72" y="20"/>
                </a:lnTo>
                <a:lnTo>
                  <a:pt x="72" y="21"/>
                </a:lnTo>
                <a:lnTo>
                  <a:pt x="72" y="21"/>
                </a:lnTo>
                <a:lnTo>
                  <a:pt x="72" y="21"/>
                </a:lnTo>
                <a:lnTo>
                  <a:pt x="72" y="21"/>
                </a:lnTo>
                <a:lnTo>
                  <a:pt x="72" y="21"/>
                </a:lnTo>
                <a:lnTo>
                  <a:pt x="72" y="22"/>
                </a:lnTo>
                <a:lnTo>
                  <a:pt x="72" y="22"/>
                </a:lnTo>
                <a:lnTo>
                  <a:pt x="73" y="22"/>
                </a:lnTo>
                <a:lnTo>
                  <a:pt x="73" y="22"/>
                </a:lnTo>
                <a:lnTo>
                  <a:pt x="73" y="22"/>
                </a:lnTo>
                <a:lnTo>
                  <a:pt x="73" y="22"/>
                </a:lnTo>
                <a:lnTo>
                  <a:pt x="73" y="23"/>
                </a:lnTo>
                <a:lnTo>
                  <a:pt x="73" y="23"/>
                </a:lnTo>
                <a:lnTo>
                  <a:pt x="73" y="23"/>
                </a:lnTo>
                <a:lnTo>
                  <a:pt x="73" y="23"/>
                </a:lnTo>
                <a:lnTo>
                  <a:pt x="73" y="23"/>
                </a:lnTo>
                <a:lnTo>
                  <a:pt x="73" y="25"/>
                </a:lnTo>
                <a:lnTo>
                  <a:pt x="73" y="25"/>
                </a:lnTo>
                <a:lnTo>
                  <a:pt x="73" y="25"/>
                </a:lnTo>
                <a:lnTo>
                  <a:pt x="73" y="25"/>
                </a:lnTo>
                <a:lnTo>
                  <a:pt x="75" y="25"/>
                </a:lnTo>
                <a:lnTo>
                  <a:pt x="75" y="26"/>
                </a:lnTo>
                <a:lnTo>
                  <a:pt x="75" y="26"/>
                </a:lnTo>
                <a:lnTo>
                  <a:pt x="75" y="26"/>
                </a:lnTo>
                <a:lnTo>
                  <a:pt x="75" y="26"/>
                </a:lnTo>
                <a:lnTo>
                  <a:pt x="75" y="26"/>
                </a:lnTo>
                <a:lnTo>
                  <a:pt x="75" y="27"/>
                </a:lnTo>
                <a:lnTo>
                  <a:pt x="75" y="27"/>
                </a:lnTo>
                <a:lnTo>
                  <a:pt x="75" y="27"/>
                </a:lnTo>
                <a:lnTo>
                  <a:pt x="75" y="27"/>
                </a:lnTo>
                <a:lnTo>
                  <a:pt x="75" y="27"/>
                </a:lnTo>
                <a:lnTo>
                  <a:pt x="75" y="28"/>
                </a:lnTo>
                <a:lnTo>
                  <a:pt x="75" y="28"/>
                </a:lnTo>
                <a:lnTo>
                  <a:pt x="75" y="28"/>
                </a:lnTo>
                <a:lnTo>
                  <a:pt x="75" y="28"/>
                </a:lnTo>
                <a:lnTo>
                  <a:pt x="75" y="28"/>
                </a:lnTo>
                <a:lnTo>
                  <a:pt x="75" y="29"/>
                </a:lnTo>
                <a:lnTo>
                  <a:pt x="75" y="29"/>
                </a:lnTo>
                <a:lnTo>
                  <a:pt x="75" y="29"/>
                </a:lnTo>
                <a:lnTo>
                  <a:pt x="76" y="29"/>
                </a:lnTo>
                <a:lnTo>
                  <a:pt x="76" y="29"/>
                </a:lnTo>
                <a:lnTo>
                  <a:pt x="76" y="30"/>
                </a:lnTo>
                <a:lnTo>
                  <a:pt x="76" y="30"/>
                </a:lnTo>
                <a:lnTo>
                  <a:pt x="76" y="30"/>
                </a:lnTo>
                <a:lnTo>
                  <a:pt x="76" y="30"/>
                </a:lnTo>
                <a:lnTo>
                  <a:pt x="76" y="30"/>
                </a:lnTo>
                <a:lnTo>
                  <a:pt x="76" y="31"/>
                </a:lnTo>
                <a:lnTo>
                  <a:pt x="76" y="31"/>
                </a:lnTo>
                <a:lnTo>
                  <a:pt x="76" y="31"/>
                </a:lnTo>
                <a:lnTo>
                  <a:pt x="76" y="31"/>
                </a:lnTo>
                <a:lnTo>
                  <a:pt x="76" y="31"/>
                </a:lnTo>
                <a:lnTo>
                  <a:pt x="76" y="32"/>
                </a:lnTo>
                <a:lnTo>
                  <a:pt x="76" y="32"/>
                </a:lnTo>
                <a:lnTo>
                  <a:pt x="76" y="32"/>
                </a:lnTo>
                <a:lnTo>
                  <a:pt x="76" y="32"/>
                </a:lnTo>
                <a:lnTo>
                  <a:pt x="76" y="32"/>
                </a:lnTo>
                <a:lnTo>
                  <a:pt x="76" y="34"/>
                </a:lnTo>
                <a:lnTo>
                  <a:pt x="76" y="34"/>
                </a:lnTo>
                <a:lnTo>
                  <a:pt x="76" y="34"/>
                </a:lnTo>
                <a:lnTo>
                  <a:pt x="76" y="34"/>
                </a:lnTo>
                <a:lnTo>
                  <a:pt x="76" y="34"/>
                </a:lnTo>
                <a:lnTo>
                  <a:pt x="76" y="35"/>
                </a:lnTo>
                <a:lnTo>
                  <a:pt x="76" y="35"/>
                </a:lnTo>
                <a:lnTo>
                  <a:pt x="76" y="35"/>
                </a:lnTo>
                <a:lnTo>
                  <a:pt x="76" y="35"/>
                </a:lnTo>
                <a:lnTo>
                  <a:pt x="76" y="36"/>
                </a:lnTo>
                <a:lnTo>
                  <a:pt x="76" y="36"/>
                </a:lnTo>
                <a:lnTo>
                  <a:pt x="76" y="36"/>
                </a:lnTo>
                <a:lnTo>
                  <a:pt x="76" y="36"/>
                </a:lnTo>
                <a:lnTo>
                  <a:pt x="76" y="36"/>
                </a:lnTo>
                <a:lnTo>
                  <a:pt x="76" y="37"/>
                </a:lnTo>
                <a:lnTo>
                  <a:pt x="76" y="37"/>
                </a:lnTo>
                <a:lnTo>
                  <a:pt x="76" y="37"/>
                </a:lnTo>
                <a:lnTo>
                  <a:pt x="76" y="37"/>
                </a:lnTo>
                <a:close/>
                <a:moveTo>
                  <a:pt x="78" y="41"/>
                </a:moveTo>
                <a:lnTo>
                  <a:pt x="78" y="34"/>
                </a:lnTo>
                <a:lnTo>
                  <a:pt x="94" y="34"/>
                </a:lnTo>
                <a:lnTo>
                  <a:pt x="94" y="41"/>
                </a:lnTo>
                <a:lnTo>
                  <a:pt x="78" y="41"/>
                </a:lnTo>
                <a:lnTo>
                  <a:pt x="78" y="41"/>
                </a:lnTo>
                <a:close/>
                <a:moveTo>
                  <a:pt x="125" y="41"/>
                </a:moveTo>
                <a:lnTo>
                  <a:pt x="125" y="34"/>
                </a:lnTo>
                <a:lnTo>
                  <a:pt x="141" y="34"/>
                </a:lnTo>
                <a:lnTo>
                  <a:pt x="141" y="41"/>
                </a:lnTo>
                <a:lnTo>
                  <a:pt x="125" y="41"/>
                </a:lnTo>
                <a:lnTo>
                  <a:pt x="125" y="41"/>
                </a:lnTo>
                <a:close/>
                <a:moveTo>
                  <a:pt x="173" y="41"/>
                </a:moveTo>
                <a:lnTo>
                  <a:pt x="173" y="34"/>
                </a:lnTo>
                <a:lnTo>
                  <a:pt x="188" y="34"/>
                </a:lnTo>
                <a:lnTo>
                  <a:pt x="188" y="41"/>
                </a:lnTo>
                <a:lnTo>
                  <a:pt x="173" y="41"/>
                </a:lnTo>
                <a:lnTo>
                  <a:pt x="173" y="41"/>
                </a:lnTo>
                <a:close/>
                <a:moveTo>
                  <a:pt x="220" y="41"/>
                </a:moveTo>
                <a:lnTo>
                  <a:pt x="220" y="34"/>
                </a:lnTo>
                <a:lnTo>
                  <a:pt x="236" y="34"/>
                </a:lnTo>
                <a:lnTo>
                  <a:pt x="236" y="41"/>
                </a:lnTo>
                <a:lnTo>
                  <a:pt x="220" y="41"/>
                </a:lnTo>
                <a:lnTo>
                  <a:pt x="220" y="41"/>
                </a:lnTo>
                <a:close/>
                <a:moveTo>
                  <a:pt x="267" y="41"/>
                </a:moveTo>
                <a:lnTo>
                  <a:pt x="267" y="34"/>
                </a:lnTo>
                <a:lnTo>
                  <a:pt x="283" y="34"/>
                </a:lnTo>
                <a:lnTo>
                  <a:pt x="283" y="41"/>
                </a:lnTo>
                <a:lnTo>
                  <a:pt x="267" y="41"/>
                </a:lnTo>
                <a:lnTo>
                  <a:pt x="267" y="41"/>
                </a:lnTo>
                <a:close/>
                <a:moveTo>
                  <a:pt x="314" y="41"/>
                </a:moveTo>
                <a:lnTo>
                  <a:pt x="314" y="34"/>
                </a:lnTo>
                <a:lnTo>
                  <a:pt x="330" y="34"/>
                </a:lnTo>
                <a:lnTo>
                  <a:pt x="330" y="41"/>
                </a:lnTo>
                <a:lnTo>
                  <a:pt x="314" y="41"/>
                </a:lnTo>
                <a:lnTo>
                  <a:pt x="314" y="41"/>
                </a:lnTo>
                <a:close/>
                <a:moveTo>
                  <a:pt x="362" y="41"/>
                </a:moveTo>
                <a:lnTo>
                  <a:pt x="362" y="34"/>
                </a:lnTo>
                <a:lnTo>
                  <a:pt x="376" y="34"/>
                </a:lnTo>
                <a:lnTo>
                  <a:pt x="376" y="41"/>
                </a:lnTo>
                <a:lnTo>
                  <a:pt x="362" y="41"/>
                </a:lnTo>
                <a:lnTo>
                  <a:pt x="362" y="41"/>
                </a:lnTo>
                <a:close/>
                <a:moveTo>
                  <a:pt x="408" y="41"/>
                </a:moveTo>
                <a:lnTo>
                  <a:pt x="408" y="34"/>
                </a:lnTo>
                <a:lnTo>
                  <a:pt x="424" y="34"/>
                </a:lnTo>
                <a:lnTo>
                  <a:pt x="424" y="41"/>
                </a:lnTo>
                <a:lnTo>
                  <a:pt x="408" y="41"/>
                </a:lnTo>
                <a:lnTo>
                  <a:pt x="408" y="41"/>
                </a:lnTo>
                <a:close/>
                <a:moveTo>
                  <a:pt x="455" y="41"/>
                </a:moveTo>
                <a:lnTo>
                  <a:pt x="455" y="34"/>
                </a:lnTo>
                <a:lnTo>
                  <a:pt x="471" y="34"/>
                </a:lnTo>
                <a:lnTo>
                  <a:pt x="471" y="41"/>
                </a:lnTo>
                <a:lnTo>
                  <a:pt x="455" y="41"/>
                </a:lnTo>
                <a:close/>
              </a:path>
            </a:pathLst>
          </a:custGeom>
          <a:solidFill>
            <a:srgbClr val="8497B0"/>
          </a:solidFill>
          <a:ln>
            <a:solidFill>
              <a:srgbClr val="006699"/>
            </a:solidFill>
          </a:ln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1013"/>
          </a:p>
        </p:txBody>
      </p:sp>
      <p:pic>
        <p:nvPicPr>
          <p:cNvPr id="174" name="Рисунок 173">
            <a:extLst>
              <a:ext uri="{FF2B5EF4-FFF2-40B4-BE49-F238E27FC236}">
                <a16:creationId xmlns:a16="http://schemas.microsoft.com/office/drawing/2014/main" id="{BB521920-F76A-4B5E-A1ED-2A30621DDA9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50546" y="6703194"/>
            <a:ext cx="812544" cy="739526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37" name="Freeform 84">
            <a:extLst>
              <a:ext uri="{FF2B5EF4-FFF2-40B4-BE49-F238E27FC236}">
                <a16:creationId xmlns:a16="http://schemas.microsoft.com/office/drawing/2014/main" id="{55203B48-1AC3-4F32-90DA-438604FC3376}"/>
              </a:ext>
            </a:extLst>
          </p:cNvPr>
          <p:cNvSpPr>
            <a:spLocks noEditPoints="1"/>
          </p:cNvSpPr>
          <p:nvPr/>
        </p:nvSpPr>
        <p:spPr bwMode="auto">
          <a:xfrm>
            <a:off x="4509402" y="2345829"/>
            <a:ext cx="511876" cy="191354"/>
          </a:xfrm>
          <a:custGeom>
            <a:avLst/>
            <a:gdLst>
              <a:gd name="T0" fmla="*/ 43 w 534"/>
              <a:gd name="T1" fmla="*/ 203 h 211"/>
              <a:gd name="T2" fmla="*/ 50 w 534"/>
              <a:gd name="T3" fmla="*/ 201 h 211"/>
              <a:gd name="T4" fmla="*/ 54 w 534"/>
              <a:gd name="T5" fmla="*/ 197 h 211"/>
              <a:gd name="T6" fmla="*/ 60 w 534"/>
              <a:gd name="T7" fmla="*/ 194 h 211"/>
              <a:gd name="T8" fmla="*/ 63 w 534"/>
              <a:gd name="T9" fmla="*/ 190 h 211"/>
              <a:gd name="T10" fmla="*/ 66 w 534"/>
              <a:gd name="T11" fmla="*/ 184 h 211"/>
              <a:gd name="T12" fmla="*/ 68 w 534"/>
              <a:gd name="T13" fmla="*/ 178 h 211"/>
              <a:gd name="T14" fmla="*/ 68 w 534"/>
              <a:gd name="T15" fmla="*/ 171 h 211"/>
              <a:gd name="T16" fmla="*/ 67 w 534"/>
              <a:gd name="T17" fmla="*/ 165 h 211"/>
              <a:gd name="T18" fmla="*/ 64 w 534"/>
              <a:gd name="T19" fmla="*/ 159 h 211"/>
              <a:gd name="T20" fmla="*/ 61 w 534"/>
              <a:gd name="T21" fmla="*/ 155 h 211"/>
              <a:gd name="T22" fmla="*/ 57 w 534"/>
              <a:gd name="T23" fmla="*/ 150 h 211"/>
              <a:gd name="T24" fmla="*/ 52 w 534"/>
              <a:gd name="T25" fmla="*/ 147 h 211"/>
              <a:gd name="T26" fmla="*/ 46 w 534"/>
              <a:gd name="T27" fmla="*/ 144 h 211"/>
              <a:gd name="T28" fmla="*/ 40 w 534"/>
              <a:gd name="T29" fmla="*/ 143 h 211"/>
              <a:gd name="T30" fmla="*/ 34 w 534"/>
              <a:gd name="T31" fmla="*/ 144 h 211"/>
              <a:gd name="T32" fmla="*/ 27 w 534"/>
              <a:gd name="T33" fmla="*/ 146 h 211"/>
              <a:gd name="T34" fmla="*/ 23 w 534"/>
              <a:gd name="T35" fmla="*/ 148 h 211"/>
              <a:gd name="T36" fmla="*/ 17 w 534"/>
              <a:gd name="T37" fmla="*/ 152 h 211"/>
              <a:gd name="T38" fmla="*/ 14 w 534"/>
              <a:gd name="T39" fmla="*/ 157 h 211"/>
              <a:gd name="T40" fmla="*/ 10 w 534"/>
              <a:gd name="T41" fmla="*/ 162 h 211"/>
              <a:gd name="T42" fmla="*/ 9 w 534"/>
              <a:gd name="T43" fmla="*/ 168 h 211"/>
              <a:gd name="T44" fmla="*/ 9 w 534"/>
              <a:gd name="T45" fmla="*/ 175 h 211"/>
              <a:gd name="T46" fmla="*/ 9 w 534"/>
              <a:gd name="T47" fmla="*/ 181 h 211"/>
              <a:gd name="T48" fmla="*/ 12 w 534"/>
              <a:gd name="T49" fmla="*/ 186 h 211"/>
              <a:gd name="T50" fmla="*/ 15 w 534"/>
              <a:gd name="T51" fmla="*/ 192 h 211"/>
              <a:gd name="T52" fmla="*/ 19 w 534"/>
              <a:gd name="T53" fmla="*/ 196 h 211"/>
              <a:gd name="T54" fmla="*/ 24 w 534"/>
              <a:gd name="T55" fmla="*/ 200 h 211"/>
              <a:gd name="T56" fmla="*/ 31 w 534"/>
              <a:gd name="T57" fmla="*/ 202 h 211"/>
              <a:gd name="T58" fmla="*/ 36 w 534"/>
              <a:gd name="T59" fmla="*/ 203 h 211"/>
              <a:gd name="T60" fmla="*/ 76 w 534"/>
              <a:gd name="T61" fmla="*/ 178 h 211"/>
              <a:gd name="T62" fmla="*/ 73 w 534"/>
              <a:gd name="T63" fmla="*/ 186 h 211"/>
              <a:gd name="T64" fmla="*/ 70 w 534"/>
              <a:gd name="T65" fmla="*/ 193 h 211"/>
              <a:gd name="T66" fmla="*/ 66 w 534"/>
              <a:gd name="T67" fmla="*/ 199 h 211"/>
              <a:gd name="T68" fmla="*/ 60 w 534"/>
              <a:gd name="T69" fmla="*/ 204 h 211"/>
              <a:gd name="T70" fmla="*/ 53 w 534"/>
              <a:gd name="T71" fmla="*/ 208 h 211"/>
              <a:gd name="T72" fmla="*/ 45 w 534"/>
              <a:gd name="T73" fmla="*/ 210 h 211"/>
              <a:gd name="T74" fmla="*/ 37 w 534"/>
              <a:gd name="T75" fmla="*/ 211 h 211"/>
              <a:gd name="T76" fmla="*/ 30 w 534"/>
              <a:gd name="T77" fmla="*/ 210 h 211"/>
              <a:gd name="T78" fmla="*/ 23 w 534"/>
              <a:gd name="T79" fmla="*/ 208 h 211"/>
              <a:gd name="T80" fmla="*/ 16 w 534"/>
              <a:gd name="T81" fmla="*/ 203 h 211"/>
              <a:gd name="T82" fmla="*/ 10 w 534"/>
              <a:gd name="T83" fmla="*/ 199 h 211"/>
              <a:gd name="T84" fmla="*/ 6 w 534"/>
              <a:gd name="T85" fmla="*/ 192 h 211"/>
              <a:gd name="T86" fmla="*/ 3 w 534"/>
              <a:gd name="T87" fmla="*/ 185 h 211"/>
              <a:gd name="T88" fmla="*/ 1 w 534"/>
              <a:gd name="T89" fmla="*/ 177 h 211"/>
              <a:gd name="T90" fmla="*/ 1 w 534"/>
              <a:gd name="T91" fmla="*/ 168 h 211"/>
              <a:gd name="T92" fmla="*/ 3 w 534"/>
              <a:gd name="T93" fmla="*/ 161 h 211"/>
              <a:gd name="T94" fmla="*/ 6 w 534"/>
              <a:gd name="T95" fmla="*/ 153 h 211"/>
              <a:gd name="T96" fmla="*/ 10 w 534"/>
              <a:gd name="T97" fmla="*/ 148 h 211"/>
              <a:gd name="T98" fmla="*/ 16 w 534"/>
              <a:gd name="T99" fmla="*/ 142 h 211"/>
              <a:gd name="T100" fmla="*/ 23 w 534"/>
              <a:gd name="T101" fmla="*/ 139 h 211"/>
              <a:gd name="T102" fmla="*/ 31 w 534"/>
              <a:gd name="T103" fmla="*/ 137 h 211"/>
              <a:gd name="T104" fmla="*/ 39 w 534"/>
              <a:gd name="T105" fmla="*/ 135 h 211"/>
              <a:gd name="T106" fmla="*/ 46 w 534"/>
              <a:gd name="T107" fmla="*/ 137 h 211"/>
              <a:gd name="T108" fmla="*/ 54 w 534"/>
              <a:gd name="T109" fmla="*/ 139 h 211"/>
              <a:gd name="T110" fmla="*/ 61 w 534"/>
              <a:gd name="T111" fmla="*/ 143 h 211"/>
              <a:gd name="T112" fmla="*/ 67 w 534"/>
              <a:gd name="T113" fmla="*/ 148 h 211"/>
              <a:gd name="T114" fmla="*/ 71 w 534"/>
              <a:gd name="T115" fmla="*/ 155 h 211"/>
              <a:gd name="T116" fmla="*/ 75 w 534"/>
              <a:gd name="T117" fmla="*/ 161 h 211"/>
              <a:gd name="T118" fmla="*/ 76 w 534"/>
              <a:gd name="T119" fmla="*/ 169 h 211"/>
              <a:gd name="T120" fmla="*/ 188 w 534"/>
              <a:gd name="T121" fmla="*/ 177 h 211"/>
              <a:gd name="T122" fmla="*/ 456 w 534"/>
              <a:gd name="T123" fmla="*/ 169 h 2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34" h="211">
                <a:moveTo>
                  <a:pt x="534" y="16"/>
                </a:moveTo>
                <a:lnTo>
                  <a:pt x="526" y="16"/>
                </a:lnTo>
                <a:lnTo>
                  <a:pt x="526" y="0"/>
                </a:lnTo>
                <a:lnTo>
                  <a:pt x="534" y="0"/>
                </a:lnTo>
                <a:lnTo>
                  <a:pt x="534" y="16"/>
                </a:lnTo>
                <a:lnTo>
                  <a:pt x="534" y="16"/>
                </a:lnTo>
                <a:close/>
                <a:moveTo>
                  <a:pt x="39" y="203"/>
                </a:moveTo>
                <a:lnTo>
                  <a:pt x="39" y="203"/>
                </a:lnTo>
                <a:lnTo>
                  <a:pt x="39" y="203"/>
                </a:lnTo>
                <a:lnTo>
                  <a:pt x="39" y="203"/>
                </a:lnTo>
                <a:lnTo>
                  <a:pt x="40" y="203"/>
                </a:lnTo>
                <a:lnTo>
                  <a:pt x="40" y="203"/>
                </a:lnTo>
                <a:lnTo>
                  <a:pt x="40" y="203"/>
                </a:lnTo>
                <a:lnTo>
                  <a:pt x="40" y="203"/>
                </a:lnTo>
                <a:lnTo>
                  <a:pt x="40" y="203"/>
                </a:lnTo>
                <a:lnTo>
                  <a:pt x="40" y="203"/>
                </a:lnTo>
                <a:lnTo>
                  <a:pt x="41" y="203"/>
                </a:lnTo>
                <a:lnTo>
                  <a:pt x="41" y="203"/>
                </a:lnTo>
                <a:lnTo>
                  <a:pt x="41" y="203"/>
                </a:lnTo>
                <a:lnTo>
                  <a:pt x="41" y="203"/>
                </a:lnTo>
                <a:lnTo>
                  <a:pt x="41" y="203"/>
                </a:lnTo>
                <a:lnTo>
                  <a:pt x="41" y="203"/>
                </a:lnTo>
                <a:lnTo>
                  <a:pt x="42" y="203"/>
                </a:lnTo>
                <a:lnTo>
                  <a:pt x="42" y="203"/>
                </a:lnTo>
                <a:lnTo>
                  <a:pt x="42" y="203"/>
                </a:lnTo>
                <a:lnTo>
                  <a:pt x="42" y="203"/>
                </a:lnTo>
                <a:lnTo>
                  <a:pt x="42" y="203"/>
                </a:lnTo>
                <a:lnTo>
                  <a:pt x="42" y="203"/>
                </a:lnTo>
                <a:lnTo>
                  <a:pt x="43" y="203"/>
                </a:lnTo>
                <a:lnTo>
                  <a:pt x="43" y="203"/>
                </a:lnTo>
                <a:lnTo>
                  <a:pt x="43" y="203"/>
                </a:lnTo>
                <a:lnTo>
                  <a:pt x="43" y="203"/>
                </a:lnTo>
                <a:lnTo>
                  <a:pt x="43" y="203"/>
                </a:lnTo>
                <a:lnTo>
                  <a:pt x="43" y="203"/>
                </a:lnTo>
                <a:lnTo>
                  <a:pt x="44" y="202"/>
                </a:lnTo>
                <a:lnTo>
                  <a:pt x="44" y="202"/>
                </a:lnTo>
                <a:lnTo>
                  <a:pt x="44" y="202"/>
                </a:lnTo>
                <a:lnTo>
                  <a:pt x="44" y="202"/>
                </a:lnTo>
                <a:lnTo>
                  <a:pt x="44" y="202"/>
                </a:lnTo>
                <a:lnTo>
                  <a:pt x="44" y="202"/>
                </a:lnTo>
                <a:lnTo>
                  <a:pt x="45" y="202"/>
                </a:lnTo>
                <a:lnTo>
                  <a:pt x="45" y="202"/>
                </a:lnTo>
                <a:lnTo>
                  <a:pt x="45" y="202"/>
                </a:lnTo>
                <a:lnTo>
                  <a:pt x="45" y="202"/>
                </a:lnTo>
                <a:lnTo>
                  <a:pt x="45" y="202"/>
                </a:lnTo>
                <a:lnTo>
                  <a:pt x="45" y="202"/>
                </a:lnTo>
                <a:lnTo>
                  <a:pt x="45" y="202"/>
                </a:lnTo>
                <a:lnTo>
                  <a:pt x="46" y="202"/>
                </a:lnTo>
                <a:lnTo>
                  <a:pt x="46" y="202"/>
                </a:lnTo>
                <a:lnTo>
                  <a:pt x="46" y="202"/>
                </a:lnTo>
                <a:lnTo>
                  <a:pt x="46" y="202"/>
                </a:lnTo>
                <a:lnTo>
                  <a:pt x="46" y="202"/>
                </a:lnTo>
                <a:lnTo>
                  <a:pt x="46" y="202"/>
                </a:lnTo>
                <a:lnTo>
                  <a:pt x="48" y="202"/>
                </a:lnTo>
                <a:lnTo>
                  <a:pt x="48" y="202"/>
                </a:lnTo>
                <a:lnTo>
                  <a:pt x="48" y="202"/>
                </a:lnTo>
                <a:lnTo>
                  <a:pt x="48" y="202"/>
                </a:lnTo>
                <a:lnTo>
                  <a:pt x="48" y="202"/>
                </a:lnTo>
                <a:lnTo>
                  <a:pt x="48" y="202"/>
                </a:lnTo>
                <a:lnTo>
                  <a:pt x="48" y="201"/>
                </a:lnTo>
                <a:lnTo>
                  <a:pt x="49" y="201"/>
                </a:lnTo>
                <a:lnTo>
                  <a:pt x="49" y="201"/>
                </a:lnTo>
                <a:lnTo>
                  <a:pt x="49" y="201"/>
                </a:lnTo>
                <a:lnTo>
                  <a:pt x="49" y="201"/>
                </a:lnTo>
                <a:lnTo>
                  <a:pt x="49" y="201"/>
                </a:lnTo>
                <a:lnTo>
                  <a:pt x="49" y="201"/>
                </a:lnTo>
                <a:lnTo>
                  <a:pt x="50" y="201"/>
                </a:lnTo>
                <a:lnTo>
                  <a:pt x="50" y="201"/>
                </a:lnTo>
                <a:lnTo>
                  <a:pt x="50" y="201"/>
                </a:lnTo>
                <a:lnTo>
                  <a:pt x="50" y="201"/>
                </a:lnTo>
                <a:lnTo>
                  <a:pt x="50" y="201"/>
                </a:lnTo>
                <a:lnTo>
                  <a:pt x="50" y="201"/>
                </a:lnTo>
                <a:lnTo>
                  <a:pt x="50" y="201"/>
                </a:lnTo>
                <a:lnTo>
                  <a:pt x="51" y="201"/>
                </a:lnTo>
                <a:lnTo>
                  <a:pt x="51" y="201"/>
                </a:lnTo>
                <a:lnTo>
                  <a:pt x="51" y="201"/>
                </a:lnTo>
                <a:lnTo>
                  <a:pt x="51" y="200"/>
                </a:lnTo>
                <a:lnTo>
                  <a:pt x="51" y="200"/>
                </a:lnTo>
                <a:lnTo>
                  <a:pt x="51" y="200"/>
                </a:lnTo>
                <a:lnTo>
                  <a:pt x="51" y="200"/>
                </a:lnTo>
                <a:lnTo>
                  <a:pt x="52" y="200"/>
                </a:lnTo>
                <a:lnTo>
                  <a:pt x="52" y="200"/>
                </a:lnTo>
                <a:lnTo>
                  <a:pt x="52" y="200"/>
                </a:lnTo>
                <a:lnTo>
                  <a:pt x="52" y="200"/>
                </a:lnTo>
                <a:lnTo>
                  <a:pt x="52" y="200"/>
                </a:lnTo>
                <a:lnTo>
                  <a:pt x="52" y="200"/>
                </a:lnTo>
                <a:lnTo>
                  <a:pt x="52" y="200"/>
                </a:lnTo>
                <a:lnTo>
                  <a:pt x="53" y="200"/>
                </a:lnTo>
                <a:lnTo>
                  <a:pt x="53" y="200"/>
                </a:lnTo>
                <a:lnTo>
                  <a:pt x="53" y="199"/>
                </a:lnTo>
                <a:lnTo>
                  <a:pt x="53" y="199"/>
                </a:lnTo>
                <a:lnTo>
                  <a:pt x="53" y="199"/>
                </a:lnTo>
                <a:lnTo>
                  <a:pt x="53" y="199"/>
                </a:lnTo>
                <a:lnTo>
                  <a:pt x="53" y="199"/>
                </a:lnTo>
                <a:lnTo>
                  <a:pt x="54" y="199"/>
                </a:lnTo>
                <a:lnTo>
                  <a:pt x="54" y="199"/>
                </a:lnTo>
                <a:lnTo>
                  <a:pt x="54" y="199"/>
                </a:lnTo>
                <a:lnTo>
                  <a:pt x="54" y="199"/>
                </a:lnTo>
                <a:lnTo>
                  <a:pt x="54" y="199"/>
                </a:lnTo>
                <a:lnTo>
                  <a:pt x="54" y="199"/>
                </a:lnTo>
                <a:lnTo>
                  <a:pt x="54" y="199"/>
                </a:lnTo>
                <a:lnTo>
                  <a:pt x="54" y="197"/>
                </a:lnTo>
                <a:lnTo>
                  <a:pt x="55" y="197"/>
                </a:lnTo>
                <a:lnTo>
                  <a:pt x="55" y="197"/>
                </a:lnTo>
                <a:lnTo>
                  <a:pt x="55" y="197"/>
                </a:lnTo>
                <a:lnTo>
                  <a:pt x="55" y="197"/>
                </a:lnTo>
                <a:lnTo>
                  <a:pt x="55" y="197"/>
                </a:lnTo>
                <a:lnTo>
                  <a:pt x="55" y="197"/>
                </a:lnTo>
                <a:lnTo>
                  <a:pt x="55" y="197"/>
                </a:lnTo>
                <a:lnTo>
                  <a:pt x="55" y="197"/>
                </a:lnTo>
                <a:lnTo>
                  <a:pt x="57" y="197"/>
                </a:lnTo>
                <a:lnTo>
                  <a:pt x="57" y="197"/>
                </a:lnTo>
                <a:lnTo>
                  <a:pt x="57" y="196"/>
                </a:lnTo>
                <a:lnTo>
                  <a:pt x="57" y="196"/>
                </a:lnTo>
                <a:lnTo>
                  <a:pt x="57" y="196"/>
                </a:lnTo>
                <a:lnTo>
                  <a:pt x="57" y="196"/>
                </a:lnTo>
                <a:lnTo>
                  <a:pt x="57" y="196"/>
                </a:lnTo>
                <a:lnTo>
                  <a:pt x="57" y="196"/>
                </a:lnTo>
                <a:lnTo>
                  <a:pt x="58" y="196"/>
                </a:lnTo>
                <a:lnTo>
                  <a:pt x="58" y="196"/>
                </a:lnTo>
                <a:lnTo>
                  <a:pt x="58" y="196"/>
                </a:lnTo>
                <a:lnTo>
                  <a:pt x="58" y="196"/>
                </a:lnTo>
                <a:lnTo>
                  <a:pt x="58" y="195"/>
                </a:lnTo>
                <a:lnTo>
                  <a:pt x="58" y="195"/>
                </a:lnTo>
                <a:lnTo>
                  <a:pt x="58" y="195"/>
                </a:lnTo>
                <a:lnTo>
                  <a:pt x="58" y="195"/>
                </a:lnTo>
                <a:lnTo>
                  <a:pt x="59" y="195"/>
                </a:lnTo>
                <a:lnTo>
                  <a:pt x="59" y="195"/>
                </a:lnTo>
                <a:lnTo>
                  <a:pt x="59" y="195"/>
                </a:lnTo>
                <a:lnTo>
                  <a:pt x="59" y="195"/>
                </a:lnTo>
                <a:lnTo>
                  <a:pt x="59" y="195"/>
                </a:lnTo>
                <a:lnTo>
                  <a:pt x="59" y="195"/>
                </a:lnTo>
                <a:lnTo>
                  <a:pt x="59" y="194"/>
                </a:lnTo>
                <a:lnTo>
                  <a:pt x="59" y="194"/>
                </a:lnTo>
                <a:lnTo>
                  <a:pt x="60" y="194"/>
                </a:lnTo>
                <a:lnTo>
                  <a:pt x="60" y="194"/>
                </a:lnTo>
                <a:lnTo>
                  <a:pt x="60" y="194"/>
                </a:lnTo>
                <a:lnTo>
                  <a:pt x="60" y="194"/>
                </a:lnTo>
                <a:lnTo>
                  <a:pt x="60" y="194"/>
                </a:lnTo>
                <a:lnTo>
                  <a:pt x="60" y="194"/>
                </a:lnTo>
                <a:lnTo>
                  <a:pt x="60" y="193"/>
                </a:lnTo>
                <a:lnTo>
                  <a:pt x="60" y="193"/>
                </a:lnTo>
                <a:lnTo>
                  <a:pt x="60" y="193"/>
                </a:lnTo>
                <a:lnTo>
                  <a:pt x="60" y="193"/>
                </a:lnTo>
                <a:lnTo>
                  <a:pt x="61" y="193"/>
                </a:lnTo>
                <a:lnTo>
                  <a:pt x="61" y="193"/>
                </a:lnTo>
                <a:lnTo>
                  <a:pt x="61" y="193"/>
                </a:lnTo>
                <a:lnTo>
                  <a:pt x="61" y="193"/>
                </a:lnTo>
                <a:lnTo>
                  <a:pt x="61" y="193"/>
                </a:lnTo>
                <a:lnTo>
                  <a:pt x="61" y="192"/>
                </a:lnTo>
                <a:lnTo>
                  <a:pt x="61" y="192"/>
                </a:lnTo>
                <a:lnTo>
                  <a:pt x="61" y="192"/>
                </a:lnTo>
                <a:lnTo>
                  <a:pt x="61" y="192"/>
                </a:lnTo>
                <a:lnTo>
                  <a:pt x="62" y="192"/>
                </a:lnTo>
                <a:lnTo>
                  <a:pt x="62" y="192"/>
                </a:lnTo>
                <a:lnTo>
                  <a:pt x="62" y="192"/>
                </a:lnTo>
                <a:lnTo>
                  <a:pt x="62" y="192"/>
                </a:lnTo>
                <a:lnTo>
                  <a:pt x="62" y="191"/>
                </a:lnTo>
                <a:lnTo>
                  <a:pt x="62" y="191"/>
                </a:lnTo>
                <a:lnTo>
                  <a:pt x="62" y="191"/>
                </a:lnTo>
                <a:lnTo>
                  <a:pt x="62" y="191"/>
                </a:lnTo>
                <a:lnTo>
                  <a:pt x="62" y="191"/>
                </a:lnTo>
                <a:lnTo>
                  <a:pt x="62" y="191"/>
                </a:lnTo>
                <a:lnTo>
                  <a:pt x="62" y="191"/>
                </a:lnTo>
                <a:lnTo>
                  <a:pt x="63" y="191"/>
                </a:lnTo>
                <a:lnTo>
                  <a:pt x="63" y="190"/>
                </a:lnTo>
                <a:lnTo>
                  <a:pt x="63" y="190"/>
                </a:lnTo>
                <a:lnTo>
                  <a:pt x="63" y="190"/>
                </a:lnTo>
                <a:lnTo>
                  <a:pt x="63" y="190"/>
                </a:lnTo>
                <a:lnTo>
                  <a:pt x="63" y="190"/>
                </a:lnTo>
                <a:lnTo>
                  <a:pt x="63" y="190"/>
                </a:lnTo>
                <a:lnTo>
                  <a:pt x="63" y="190"/>
                </a:lnTo>
                <a:lnTo>
                  <a:pt x="63" y="188"/>
                </a:lnTo>
                <a:lnTo>
                  <a:pt x="63" y="188"/>
                </a:lnTo>
                <a:lnTo>
                  <a:pt x="63" y="188"/>
                </a:lnTo>
                <a:lnTo>
                  <a:pt x="63" y="188"/>
                </a:lnTo>
                <a:lnTo>
                  <a:pt x="64" y="188"/>
                </a:lnTo>
                <a:lnTo>
                  <a:pt x="64" y="188"/>
                </a:lnTo>
                <a:lnTo>
                  <a:pt x="64" y="188"/>
                </a:lnTo>
                <a:lnTo>
                  <a:pt x="64" y="188"/>
                </a:lnTo>
                <a:lnTo>
                  <a:pt x="64" y="187"/>
                </a:lnTo>
                <a:lnTo>
                  <a:pt x="64" y="187"/>
                </a:lnTo>
                <a:lnTo>
                  <a:pt x="64" y="187"/>
                </a:lnTo>
                <a:lnTo>
                  <a:pt x="64" y="187"/>
                </a:lnTo>
                <a:lnTo>
                  <a:pt x="64" y="187"/>
                </a:lnTo>
                <a:lnTo>
                  <a:pt x="64" y="187"/>
                </a:lnTo>
                <a:lnTo>
                  <a:pt x="64" y="187"/>
                </a:lnTo>
                <a:lnTo>
                  <a:pt x="64" y="186"/>
                </a:lnTo>
                <a:lnTo>
                  <a:pt x="64" y="186"/>
                </a:lnTo>
                <a:lnTo>
                  <a:pt x="66" y="186"/>
                </a:lnTo>
                <a:lnTo>
                  <a:pt x="66" y="186"/>
                </a:lnTo>
                <a:lnTo>
                  <a:pt x="66" y="186"/>
                </a:lnTo>
                <a:lnTo>
                  <a:pt x="66" y="186"/>
                </a:lnTo>
                <a:lnTo>
                  <a:pt x="66" y="186"/>
                </a:lnTo>
                <a:lnTo>
                  <a:pt x="66" y="185"/>
                </a:lnTo>
                <a:lnTo>
                  <a:pt x="66" y="185"/>
                </a:lnTo>
                <a:lnTo>
                  <a:pt x="66" y="185"/>
                </a:lnTo>
                <a:lnTo>
                  <a:pt x="66" y="185"/>
                </a:lnTo>
                <a:lnTo>
                  <a:pt x="66" y="185"/>
                </a:lnTo>
                <a:lnTo>
                  <a:pt x="66" y="185"/>
                </a:lnTo>
                <a:lnTo>
                  <a:pt x="66" y="184"/>
                </a:lnTo>
                <a:lnTo>
                  <a:pt x="66" y="184"/>
                </a:lnTo>
                <a:lnTo>
                  <a:pt x="66" y="184"/>
                </a:lnTo>
                <a:lnTo>
                  <a:pt x="66" y="184"/>
                </a:lnTo>
                <a:lnTo>
                  <a:pt x="67" y="184"/>
                </a:lnTo>
                <a:lnTo>
                  <a:pt x="67" y="184"/>
                </a:lnTo>
                <a:lnTo>
                  <a:pt x="67" y="184"/>
                </a:lnTo>
                <a:lnTo>
                  <a:pt x="67" y="183"/>
                </a:lnTo>
                <a:lnTo>
                  <a:pt x="67" y="183"/>
                </a:lnTo>
                <a:lnTo>
                  <a:pt x="67" y="183"/>
                </a:lnTo>
                <a:lnTo>
                  <a:pt x="67" y="183"/>
                </a:lnTo>
                <a:lnTo>
                  <a:pt x="67" y="183"/>
                </a:lnTo>
                <a:lnTo>
                  <a:pt x="67" y="183"/>
                </a:lnTo>
                <a:lnTo>
                  <a:pt x="67" y="183"/>
                </a:lnTo>
                <a:lnTo>
                  <a:pt x="67" y="182"/>
                </a:lnTo>
                <a:lnTo>
                  <a:pt x="67" y="182"/>
                </a:lnTo>
                <a:lnTo>
                  <a:pt x="67" y="182"/>
                </a:lnTo>
                <a:lnTo>
                  <a:pt x="67" y="182"/>
                </a:lnTo>
                <a:lnTo>
                  <a:pt x="67" y="182"/>
                </a:lnTo>
                <a:lnTo>
                  <a:pt x="67" y="182"/>
                </a:lnTo>
                <a:lnTo>
                  <a:pt x="67" y="181"/>
                </a:lnTo>
                <a:lnTo>
                  <a:pt x="67" y="181"/>
                </a:lnTo>
                <a:lnTo>
                  <a:pt x="67" y="181"/>
                </a:lnTo>
                <a:lnTo>
                  <a:pt x="67" y="181"/>
                </a:lnTo>
                <a:lnTo>
                  <a:pt x="67" y="181"/>
                </a:lnTo>
                <a:lnTo>
                  <a:pt x="68" y="181"/>
                </a:lnTo>
                <a:lnTo>
                  <a:pt x="68" y="179"/>
                </a:lnTo>
                <a:lnTo>
                  <a:pt x="68" y="179"/>
                </a:lnTo>
                <a:lnTo>
                  <a:pt x="68" y="179"/>
                </a:lnTo>
                <a:lnTo>
                  <a:pt x="68" y="179"/>
                </a:lnTo>
                <a:lnTo>
                  <a:pt x="68" y="179"/>
                </a:lnTo>
                <a:lnTo>
                  <a:pt x="68" y="179"/>
                </a:lnTo>
                <a:lnTo>
                  <a:pt x="68" y="179"/>
                </a:lnTo>
                <a:lnTo>
                  <a:pt x="68" y="178"/>
                </a:lnTo>
                <a:lnTo>
                  <a:pt x="68" y="178"/>
                </a:lnTo>
                <a:lnTo>
                  <a:pt x="68" y="178"/>
                </a:lnTo>
                <a:lnTo>
                  <a:pt x="68" y="178"/>
                </a:lnTo>
                <a:lnTo>
                  <a:pt x="68" y="178"/>
                </a:lnTo>
                <a:lnTo>
                  <a:pt x="68" y="178"/>
                </a:lnTo>
                <a:lnTo>
                  <a:pt x="68" y="177"/>
                </a:lnTo>
                <a:lnTo>
                  <a:pt x="68" y="177"/>
                </a:lnTo>
                <a:lnTo>
                  <a:pt x="68" y="177"/>
                </a:lnTo>
                <a:lnTo>
                  <a:pt x="68" y="177"/>
                </a:lnTo>
                <a:lnTo>
                  <a:pt x="68" y="177"/>
                </a:lnTo>
                <a:lnTo>
                  <a:pt x="68" y="177"/>
                </a:lnTo>
                <a:lnTo>
                  <a:pt x="68" y="176"/>
                </a:lnTo>
                <a:lnTo>
                  <a:pt x="68" y="176"/>
                </a:lnTo>
                <a:lnTo>
                  <a:pt x="68" y="176"/>
                </a:lnTo>
                <a:lnTo>
                  <a:pt x="68" y="176"/>
                </a:lnTo>
                <a:lnTo>
                  <a:pt x="68" y="176"/>
                </a:lnTo>
                <a:lnTo>
                  <a:pt x="68" y="176"/>
                </a:lnTo>
                <a:lnTo>
                  <a:pt x="68" y="175"/>
                </a:lnTo>
                <a:lnTo>
                  <a:pt x="68" y="175"/>
                </a:lnTo>
                <a:lnTo>
                  <a:pt x="68" y="175"/>
                </a:lnTo>
                <a:lnTo>
                  <a:pt x="68" y="175"/>
                </a:lnTo>
                <a:lnTo>
                  <a:pt x="68" y="175"/>
                </a:lnTo>
                <a:lnTo>
                  <a:pt x="68" y="175"/>
                </a:lnTo>
                <a:lnTo>
                  <a:pt x="68" y="174"/>
                </a:lnTo>
                <a:lnTo>
                  <a:pt x="68" y="174"/>
                </a:lnTo>
                <a:lnTo>
                  <a:pt x="68" y="174"/>
                </a:lnTo>
                <a:lnTo>
                  <a:pt x="68" y="174"/>
                </a:lnTo>
                <a:lnTo>
                  <a:pt x="68" y="174"/>
                </a:lnTo>
                <a:lnTo>
                  <a:pt x="68" y="174"/>
                </a:lnTo>
                <a:lnTo>
                  <a:pt x="68" y="173"/>
                </a:lnTo>
                <a:lnTo>
                  <a:pt x="68" y="173"/>
                </a:lnTo>
                <a:lnTo>
                  <a:pt x="68" y="173"/>
                </a:lnTo>
                <a:lnTo>
                  <a:pt x="68" y="173"/>
                </a:lnTo>
                <a:lnTo>
                  <a:pt x="68" y="173"/>
                </a:lnTo>
                <a:lnTo>
                  <a:pt x="68" y="173"/>
                </a:lnTo>
                <a:lnTo>
                  <a:pt x="68" y="171"/>
                </a:lnTo>
                <a:lnTo>
                  <a:pt x="68" y="171"/>
                </a:lnTo>
                <a:lnTo>
                  <a:pt x="68" y="171"/>
                </a:lnTo>
                <a:lnTo>
                  <a:pt x="68" y="171"/>
                </a:lnTo>
                <a:lnTo>
                  <a:pt x="68" y="171"/>
                </a:lnTo>
                <a:lnTo>
                  <a:pt x="68" y="171"/>
                </a:lnTo>
                <a:lnTo>
                  <a:pt x="68" y="170"/>
                </a:lnTo>
                <a:lnTo>
                  <a:pt x="68" y="170"/>
                </a:lnTo>
                <a:lnTo>
                  <a:pt x="68" y="170"/>
                </a:lnTo>
                <a:lnTo>
                  <a:pt x="68" y="170"/>
                </a:lnTo>
                <a:lnTo>
                  <a:pt x="68" y="170"/>
                </a:lnTo>
                <a:lnTo>
                  <a:pt x="68" y="170"/>
                </a:lnTo>
                <a:lnTo>
                  <a:pt x="68" y="169"/>
                </a:lnTo>
                <a:lnTo>
                  <a:pt x="68" y="169"/>
                </a:lnTo>
                <a:lnTo>
                  <a:pt x="68" y="169"/>
                </a:lnTo>
                <a:lnTo>
                  <a:pt x="68" y="169"/>
                </a:lnTo>
                <a:lnTo>
                  <a:pt x="68" y="169"/>
                </a:lnTo>
                <a:lnTo>
                  <a:pt x="68" y="169"/>
                </a:lnTo>
                <a:lnTo>
                  <a:pt x="68" y="168"/>
                </a:lnTo>
                <a:lnTo>
                  <a:pt x="68" y="168"/>
                </a:lnTo>
                <a:lnTo>
                  <a:pt x="68" y="168"/>
                </a:lnTo>
                <a:lnTo>
                  <a:pt x="68" y="168"/>
                </a:lnTo>
                <a:lnTo>
                  <a:pt x="68" y="168"/>
                </a:lnTo>
                <a:lnTo>
                  <a:pt x="68" y="168"/>
                </a:lnTo>
                <a:lnTo>
                  <a:pt x="68" y="167"/>
                </a:lnTo>
                <a:lnTo>
                  <a:pt x="68" y="167"/>
                </a:lnTo>
                <a:lnTo>
                  <a:pt x="68" y="167"/>
                </a:lnTo>
                <a:lnTo>
                  <a:pt x="68" y="167"/>
                </a:lnTo>
                <a:lnTo>
                  <a:pt x="68" y="167"/>
                </a:lnTo>
                <a:lnTo>
                  <a:pt x="68" y="167"/>
                </a:lnTo>
                <a:lnTo>
                  <a:pt x="68" y="166"/>
                </a:lnTo>
                <a:lnTo>
                  <a:pt x="67" y="166"/>
                </a:lnTo>
                <a:lnTo>
                  <a:pt x="67" y="166"/>
                </a:lnTo>
                <a:lnTo>
                  <a:pt x="67" y="166"/>
                </a:lnTo>
                <a:lnTo>
                  <a:pt x="67" y="166"/>
                </a:lnTo>
                <a:lnTo>
                  <a:pt x="67" y="166"/>
                </a:lnTo>
                <a:lnTo>
                  <a:pt x="67" y="165"/>
                </a:lnTo>
                <a:lnTo>
                  <a:pt x="67" y="165"/>
                </a:lnTo>
                <a:lnTo>
                  <a:pt x="67" y="165"/>
                </a:lnTo>
                <a:lnTo>
                  <a:pt x="67" y="165"/>
                </a:lnTo>
                <a:lnTo>
                  <a:pt x="67" y="165"/>
                </a:lnTo>
                <a:lnTo>
                  <a:pt x="67" y="165"/>
                </a:lnTo>
                <a:lnTo>
                  <a:pt x="67" y="165"/>
                </a:lnTo>
                <a:lnTo>
                  <a:pt x="67" y="164"/>
                </a:lnTo>
                <a:lnTo>
                  <a:pt x="67" y="164"/>
                </a:lnTo>
                <a:lnTo>
                  <a:pt x="67" y="164"/>
                </a:lnTo>
                <a:lnTo>
                  <a:pt x="67" y="164"/>
                </a:lnTo>
                <a:lnTo>
                  <a:pt x="67" y="164"/>
                </a:lnTo>
                <a:lnTo>
                  <a:pt x="67" y="164"/>
                </a:lnTo>
                <a:lnTo>
                  <a:pt x="67" y="162"/>
                </a:lnTo>
                <a:lnTo>
                  <a:pt x="67" y="162"/>
                </a:lnTo>
                <a:lnTo>
                  <a:pt x="67" y="162"/>
                </a:lnTo>
                <a:lnTo>
                  <a:pt x="66" y="162"/>
                </a:lnTo>
                <a:lnTo>
                  <a:pt x="66" y="162"/>
                </a:lnTo>
                <a:lnTo>
                  <a:pt x="66" y="162"/>
                </a:lnTo>
                <a:lnTo>
                  <a:pt x="66" y="162"/>
                </a:lnTo>
                <a:lnTo>
                  <a:pt x="66" y="161"/>
                </a:lnTo>
                <a:lnTo>
                  <a:pt x="66" y="161"/>
                </a:lnTo>
                <a:lnTo>
                  <a:pt x="66" y="161"/>
                </a:lnTo>
                <a:lnTo>
                  <a:pt x="66" y="161"/>
                </a:lnTo>
                <a:lnTo>
                  <a:pt x="66" y="161"/>
                </a:lnTo>
                <a:lnTo>
                  <a:pt x="66" y="161"/>
                </a:lnTo>
                <a:lnTo>
                  <a:pt x="66" y="161"/>
                </a:lnTo>
                <a:lnTo>
                  <a:pt x="66" y="160"/>
                </a:lnTo>
                <a:lnTo>
                  <a:pt x="66" y="160"/>
                </a:lnTo>
                <a:lnTo>
                  <a:pt x="66" y="160"/>
                </a:lnTo>
                <a:lnTo>
                  <a:pt x="66" y="160"/>
                </a:lnTo>
                <a:lnTo>
                  <a:pt x="64" y="160"/>
                </a:lnTo>
                <a:lnTo>
                  <a:pt x="64" y="160"/>
                </a:lnTo>
                <a:lnTo>
                  <a:pt x="64" y="160"/>
                </a:lnTo>
                <a:lnTo>
                  <a:pt x="64" y="159"/>
                </a:lnTo>
                <a:lnTo>
                  <a:pt x="64" y="159"/>
                </a:lnTo>
                <a:lnTo>
                  <a:pt x="64" y="159"/>
                </a:lnTo>
                <a:lnTo>
                  <a:pt x="64" y="159"/>
                </a:lnTo>
                <a:lnTo>
                  <a:pt x="64" y="159"/>
                </a:lnTo>
                <a:lnTo>
                  <a:pt x="64" y="159"/>
                </a:lnTo>
                <a:lnTo>
                  <a:pt x="64" y="159"/>
                </a:lnTo>
                <a:lnTo>
                  <a:pt x="64" y="158"/>
                </a:lnTo>
                <a:lnTo>
                  <a:pt x="64" y="158"/>
                </a:lnTo>
                <a:lnTo>
                  <a:pt x="64" y="158"/>
                </a:lnTo>
                <a:lnTo>
                  <a:pt x="63" y="158"/>
                </a:lnTo>
                <a:lnTo>
                  <a:pt x="63" y="158"/>
                </a:lnTo>
                <a:lnTo>
                  <a:pt x="63" y="158"/>
                </a:lnTo>
                <a:lnTo>
                  <a:pt x="63" y="158"/>
                </a:lnTo>
                <a:lnTo>
                  <a:pt x="63" y="157"/>
                </a:lnTo>
                <a:lnTo>
                  <a:pt x="63" y="157"/>
                </a:lnTo>
                <a:lnTo>
                  <a:pt x="63" y="157"/>
                </a:lnTo>
                <a:lnTo>
                  <a:pt x="63" y="157"/>
                </a:lnTo>
                <a:lnTo>
                  <a:pt x="63" y="157"/>
                </a:lnTo>
                <a:lnTo>
                  <a:pt x="63" y="157"/>
                </a:lnTo>
                <a:lnTo>
                  <a:pt x="63" y="157"/>
                </a:lnTo>
                <a:lnTo>
                  <a:pt x="63" y="157"/>
                </a:lnTo>
                <a:lnTo>
                  <a:pt x="62" y="156"/>
                </a:lnTo>
                <a:lnTo>
                  <a:pt x="62" y="156"/>
                </a:lnTo>
                <a:lnTo>
                  <a:pt x="62" y="156"/>
                </a:lnTo>
                <a:lnTo>
                  <a:pt x="62" y="156"/>
                </a:lnTo>
                <a:lnTo>
                  <a:pt x="62" y="156"/>
                </a:lnTo>
                <a:lnTo>
                  <a:pt x="62" y="156"/>
                </a:lnTo>
                <a:lnTo>
                  <a:pt x="62" y="156"/>
                </a:lnTo>
                <a:lnTo>
                  <a:pt x="62" y="156"/>
                </a:lnTo>
                <a:lnTo>
                  <a:pt x="62" y="155"/>
                </a:lnTo>
                <a:lnTo>
                  <a:pt x="62" y="155"/>
                </a:lnTo>
                <a:lnTo>
                  <a:pt x="62" y="155"/>
                </a:lnTo>
                <a:lnTo>
                  <a:pt x="61" y="155"/>
                </a:lnTo>
                <a:lnTo>
                  <a:pt x="61" y="155"/>
                </a:lnTo>
                <a:lnTo>
                  <a:pt x="61" y="155"/>
                </a:lnTo>
                <a:lnTo>
                  <a:pt x="61" y="155"/>
                </a:lnTo>
                <a:lnTo>
                  <a:pt x="61" y="155"/>
                </a:lnTo>
                <a:lnTo>
                  <a:pt x="61" y="153"/>
                </a:lnTo>
                <a:lnTo>
                  <a:pt x="61" y="153"/>
                </a:lnTo>
                <a:lnTo>
                  <a:pt x="61" y="153"/>
                </a:lnTo>
                <a:lnTo>
                  <a:pt x="61" y="153"/>
                </a:lnTo>
                <a:lnTo>
                  <a:pt x="60" y="153"/>
                </a:lnTo>
                <a:lnTo>
                  <a:pt x="60" y="153"/>
                </a:lnTo>
                <a:lnTo>
                  <a:pt x="60" y="153"/>
                </a:lnTo>
                <a:lnTo>
                  <a:pt x="60" y="153"/>
                </a:lnTo>
                <a:lnTo>
                  <a:pt x="60" y="152"/>
                </a:lnTo>
                <a:lnTo>
                  <a:pt x="60" y="152"/>
                </a:lnTo>
                <a:lnTo>
                  <a:pt x="60" y="152"/>
                </a:lnTo>
                <a:lnTo>
                  <a:pt x="60" y="152"/>
                </a:lnTo>
                <a:lnTo>
                  <a:pt x="60" y="152"/>
                </a:lnTo>
                <a:lnTo>
                  <a:pt x="60" y="152"/>
                </a:lnTo>
                <a:lnTo>
                  <a:pt x="59" y="152"/>
                </a:lnTo>
                <a:lnTo>
                  <a:pt x="59" y="152"/>
                </a:lnTo>
                <a:lnTo>
                  <a:pt x="59" y="152"/>
                </a:lnTo>
                <a:lnTo>
                  <a:pt x="59" y="151"/>
                </a:lnTo>
                <a:lnTo>
                  <a:pt x="59" y="151"/>
                </a:lnTo>
                <a:lnTo>
                  <a:pt x="59" y="151"/>
                </a:lnTo>
                <a:lnTo>
                  <a:pt x="59" y="151"/>
                </a:lnTo>
                <a:lnTo>
                  <a:pt x="59" y="151"/>
                </a:lnTo>
                <a:lnTo>
                  <a:pt x="58" y="151"/>
                </a:lnTo>
                <a:lnTo>
                  <a:pt x="58" y="151"/>
                </a:lnTo>
                <a:lnTo>
                  <a:pt x="58" y="151"/>
                </a:lnTo>
                <a:lnTo>
                  <a:pt x="58" y="151"/>
                </a:lnTo>
                <a:lnTo>
                  <a:pt x="58" y="151"/>
                </a:lnTo>
                <a:lnTo>
                  <a:pt x="58" y="150"/>
                </a:lnTo>
                <a:lnTo>
                  <a:pt x="58" y="150"/>
                </a:lnTo>
                <a:lnTo>
                  <a:pt x="58" y="150"/>
                </a:lnTo>
                <a:lnTo>
                  <a:pt x="57" y="150"/>
                </a:lnTo>
                <a:lnTo>
                  <a:pt x="57" y="150"/>
                </a:lnTo>
                <a:lnTo>
                  <a:pt x="57" y="150"/>
                </a:lnTo>
                <a:lnTo>
                  <a:pt x="57" y="150"/>
                </a:lnTo>
                <a:lnTo>
                  <a:pt x="57" y="150"/>
                </a:lnTo>
                <a:lnTo>
                  <a:pt x="57" y="150"/>
                </a:lnTo>
                <a:lnTo>
                  <a:pt x="57" y="150"/>
                </a:lnTo>
                <a:lnTo>
                  <a:pt x="57" y="149"/>
                </a:lnTo>
                <a:lnTo>
                  <a:pt x="55" y="149"/>
                </a:lnTo>
                <a:lnTo>
                  <a:pt x="55" y="149"/>
                </a:lnTo>
                <a:lnTo>
                  <a:pt x="55" y="149"/>
                </a:lnTo>
                <a:lnTo>
                  <a:pt x="55" y="149"/>
                </a:lnTo>
                <a:lnTo>
                  <a:pt x="55" y="149"/>
                </a:lnTo>
                <a:lnTo>
                  <a:pt x="55" y="149"/>
                </a:lnTo>
                <a:lnTo>
                  <a:pt x="55" y="149"/>
                </a:lnTo>
                <a:lnTo>
                  <a:pt x="55" y="149"/>
                </a:lnTo>
                <a:lnTo>
                  <a:pt x="54" y="149"/>
                </a:lnTo>
                <a:lnTo>
                  <a:pt x="54" y="149"/>
                </a:lnTo>
                <a:lnTo>
                  <a:pt x="54" y="148"/>
                </a:lnTo>
                <a:lnTo>
                  <a:pt x="54" y="148"/>
                </a:lnTo>
                <a:lnTo>
                  <a:pt x="54" y="148"/>
                </a:lnTo>
                <a:lnTo>
                  <a:pt x="54" y="148"/>
                </a:lnTo>
                <a:lnTo>
                  <a:pt x="54" y="148"/>
                </a:lnTo>
                <a:lnTo>
                  <a:pt x="54" y="148"/>
                </a:lnTo>
                <a:lnTo>
                  <a:pt x="53" y="148"/>
                </a:lnTo>
                <a:lnTo>
                  <a:pt x="53" y="148"/>
                </a:lnTo>
                <a:lnTo>
                  <a:pt x="53" y="148"/>
                </a:lnTo>
                <a:lnTo>
                  <a:pt x="53" y="148"/>
                </a:lnTo>
                <a:lnTo>
                  <a:pt x="53" y="148"/>
                </a:lnTo>
                <a:lnTo>
                  <a:pt x="53" y="148"/>
                </a:lnTo>
                <a:lnTo>
                  <a:pt x="53" y="147"/>
                </a:lnTo>
                <a:lnTo>
                  <a:pt x="52" y="147"/>
                </a:lnTo>
                <a:lnTo>
                  <a:pt x="52" y="147"/>
                </a:lnTo>
                <a:lnTo>
                  <a:pt x="52" y="147"/>
                </a:lnTo>
                <a:lnTo>
                  <a:pt x="52" y="147"/>
                </a:lnTo>
                <a:lnTo>
                  <a:pt x="52" y="147"/>
                </a:lnTo>
                <a:lnTo>
                  <a:pt x="52" y="147"/>
                </a:lnTo>
                <a:lnTo>
                  <a:pt x="52" y="147"/>
                </a:lnTo>
                <a:lnTo>
                  <a:pt x="51" y="147"/>
                </a:lnTo>
                <a:lnTo>
                  <a:pt x="51" y="147"/>
                </a:lnTo>
                <a:lnTo>
                  <a:pt x="51" y="147"/>
                </a:lnTo>
                <a:lnTo>
                  <a:pt x="51" y="147"/>
                </a:lnTo>
                <a:lnTo>
                  <a:pt x="51" y="147"/>
                </a:lnTo>
                <a:lnTo>
                  <a:pt x="51" y="147"/>
                </a:lnTo>
                <a:lnTo>
                  <a:pt x="51" y="146"/>
                </a:lnTo>
                <a:lnTo>
                  <a:pt x="50" y="146"/>
                </a:lnTo>
                <a:lnTo>
                  <a:pt x="50" y="146"/>
                </a:lnTo>
                <a:lnTo>
                  <a:pt x="50" y="146"/>
                </a:lnTo>
                <a:lnTo>
                  <a:pt x="50" y="146"/>
                </a:lnTo>
                <a:lnTo>
                  <a:pt x="50" y="146"/>
                </a:lnTo>
                <a:lnTo>
                  <a:pt x="50" y="146"/>
                </a:lnTo>
                <a:lnTo>
                  <a:pt x="50" y="146"/>
                </a:lnTo>
                <a:lnTo>
                  <a:pt x="49" y="146"/>
                </a:lnTo>
                <a:lnTo>
                  <a:pt x="49" y="146"/>
                </a:lnTo>
                <a:lnTo>
                  <a:pt x="49" y="146"/>
                </a:lnTo>
                <a:lnTo>
                  <a:pt x="49" y="146"/>
                </a:lnTo>
                <a:lnTo>
                  <a:pt x="49" y="146"/>
                </a:lnTo>
                <a:lnTo>
                  <a:pt x="49" y="146"/>
                </a:lnTo>
                <a:lnTo>
                  <a:pt x="48" y="146"/>
                </a:lnTo>
                <a:lnTo>
                  <a:pt x="48" y="146"/>
                </a:lnTo>
                <a:lnTo>
                  <a:pt x="48" y="146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6" y="144"/>
                </a:lnTo>
                <a:lnTo>
                  <a:pt x="46" y="144"/>
                </a:lnTo>
                <a:lnTo>
                  <a:pt x="46" y="144"/>
                </a:lnTo>
                <a:lnTo>
                  <a:pt x="46" y="144"/>
                </a:lnTo>
                <a:lnTo>
                  <a:pt x="46" y="144"/>
                </a:lnTo>
                <a:lnTo>
                  <a:pt x="46" y="144"/>
                </a:lnTo>
                <a:lnTo>
                  <a:pt x="45" y="144"/>
                </a:lnTo>
                <a:lnTo>
                  <a:pt x="45" y="144"/>
                </a:lnTo>
                <a:lnTo>
                  <a:pt x="45" y="144"/>
                </a:lnTo>
                <a:lnTo>
                  <a:pt x="45" y="144"/>
                </a:lnTo>
                <a:lnTo>
                  <a:pt x="45" y="144"/>
                </a:lnTo>
                <a:lnTo>
                  <a:pt x="45" y="144"/>
                </a:lnTo>
                <a:lnTo>
                  <a:pt x="44" y="144"/>
                </a:lnTo>
                <a:lnTo>
                  <a:pt x="44" y="144"/>
                </a:lnTo>
                <a:lnTo>
                  <a:pt x="44" y="144"/>
                </a:lnTo>
                <a:lnTo>
                  <a:pt x="44" y="144"/>
                </a:lnTo>
                <a:lnTo>
                  <a:pt x="44" y="144"/>
                </a:lnTo>
                <a:lnTo>
                  <a:pt x="44" y="144"/>
                </a:lnTo>
                <a:lnTo>
                  <a:pt x="44" y="144"/>
                </a:lnTo>
                <a:lnTo>
                  <a:pt x="43" y="144"/>
                </a:lnTo>
                <a:lnTo>
                  <a:pt x="43" y="144"/>
                </a:lnTo>
                <a:lnTo>
                  <a:pt x="43" y="144"/>
                </a:lnTo>
                <a:lnTo>
                  <a:pt x="43" y="143"/>
                </a:lnTo>
                <a:lnTo>
                  <a:pt x="43" y="143"/>
                </a:lnTo>
                <a:lnTo>
                  <a:pt x="43" y="143"/>
                </a:lnTo>
                <a:lnTo>
                  <a:pt x="42" y="143"/>
                </a:lnTo>
                <a:lnTo>
                  <a:pt x="42" y="143"/>
                </a:lnTo>
                <a:lnTo>
                  <a:pt x="42" y="143"/>
                </a:lnTo>
                <a:lnTo>
                  <a:pt x="42" y="143"/>
                </a:lnTo>
                <a:lnTo>
                  <a:pt x="42" y="143"/>
                </a:lnTo>
                <a:lnTo>
                  <a:pt x="42" y="143"/>
                </a:lnTo>
                <a:lnTo>
                  <a:pt x="41" y="143"/>
                </a:lnTo>
                <a:lnTo>
                  <a:pt x="41" y="143"/>
                </a:lnTo>
                <a:lnTo>
                  <a:pt x="41" y="143"/>
                </a:lnTo>
                <a:lnTo>
                  <a:pt x="41" y="143"/>
                </a:lnTo>
                <a:lnTo>
                  <a:pt x="41" y="143"/>
                </a:lnTo>
                <a:lnTo>
                  <a:pt x="41" y="143"/>
                </a:lnTo>
                <a:lnTo>
                  <a:pt x="40" y="143"/>
                </a:lnTo>
                <a:lnTo>
                  <a:pt x="40" y="143"/>
                </a:lnTo>
                <a:lnTo>
                  <a:pt x="40" y="143"/>
                </a:lnTo>
                <a:lnTo>
                  <a:pt x="40" y="143"/>
                </a:lnTo>
                <a:lnTo>
                  <a:pt x="40" y="143"/>
                </a:lnTo>
                <a:lnTo>
                  <a:pt x="40" y="143"/>
                </a:lnTo>
                <a:lnTo>
                  <a:pt x="39" y="143"/>
                </a:lnTo>
                <a:lnTo>
                  <a:pt x="39" y="143"/>
                </a:lnTo>
                <a:lnTo>
                  <a:pt x="39" y="143"/>
                </a:lnTo>
                <a:lnTo>
                  <a:pt x="39" y="143"/>
                </a:lnTo>
                <a:lnTo>
                  <a:pt x="39" y="143"/>
                </a:lnTo>
                <a:lnTo>
                  <a:pt x="39" y="143"/>
                </a:lnTo>
                <a:lnTo>
                  <a:pt x="37" y="143"/>
                </a:lnTo>
                <a:lnTo>
                  <a:pt x="37" y="143"/>
                </a:lnTo>
                <a:lnTo>
                  <a:pt x="37" y="143"/>
                </a:lnTo>
                <a:lnTo>
                  <a:pt x="37" y="143"/>
                </a:lnTo>
                <a:lnTo>
                  <a:pt x="37" y="143"/>
                </a:lnTo>
                <a:lnTo>
                  <a:pt x="37" y="143"/>
                </a:lnTo>
                <a:lnTo>
                  <a:pt x="36" y="143"/>
                </a:lnTo>
                <a:lnTo>
                  <a:pt x="36" y="143"/>
                </a:lnTo>
                <a:lnTo>
                  <a:pt x="36" y="143"/>
                </a:lnTo>
                <a:lnTo>
                  <a:pt x="36" y="143"/>
                </a:lnTo>
                <a:lnTo>
                  <a:pt x="36" y="143"/>
                </a:lnTo>
                <a:lnTo>
                  <a:pt x="36" y="143"/>
                </a:lnTo>
                <a:lnTo>
                  <a:pt x="35" y="143"/>
                </a:lnTo>
                <a:lnTo>
                  <a:pt x="35" y="143"/>
                </a:lnTo>
                <a:lnTo>
                  <a:pt x="35" y="143"/>
                </a:lnTo>
                <a:lnTo>
                  <a:pt x="35" y="143"/>
                </a:lnTo>
                <a:lnTo>
                  <a:pt x="35" y="143"/>
                </a:lnTo>
                <a:lnTo>
                  <a:pt x="35" y="143"/>
                </a:lnTo>
                <a:lnTo>
                  <a:pt x="34" y="143"/>
                </a:lnTo>
                <a:lnTo>
                  <a:pt x="34" y="143"/>
                </a:lnTo>
                <a:lnTo>
                  <a:pt x="34" y="143"/>
                </a:lnTo>
                <a:lnTo>
                  <a:pt x="34" y="143"/>
                </a:lnTo>
                <a:lnTo>
                  <a:pt x="34" y="144"/>
                </a:lnTo>
                <a:lnTo>
                  <a:pt x="34" y="144"/>
                </a:lnTo>
                <a:lnTo>
                  <a:pt x="33" y="144"/>
                </a:lnTo>
                <a:lnTo>
                  <a:pt x="33" y="144"/>
                </a:lnTo>
                <a:lnTo>
                  <a:pt x="33" y="144"/>
                </a:lnTo>
                <a:lnTo>
                  <a:pt x="33" y="144"/>
                </a:lnTo>
                <a:lnTo>
                  <a:pt x="33" y="144"/>
                </a:lnTo>
                <a:lnTo>
                  <a:pt x="33" y="144"/>
                </a:lnTo>
                <a:lnTo>
                  <a:pt x="32" y="144"/>
                </a:lnTo>
                <a:lnTo>
                  <a:pt x="32" y="144"/>
                </a:lnTo>
                <a:lnTo>
                  <a:pt x="32" y="144"/>
                </a:lnTo>
                <a:lnTo>
                  <a:pt x="32" y="144"/>
                </a:lnTo>
                <a:lnTo>
                  <a:pt x="32" y="144"/>
                </a:lnTo>
                <a:lnTo>
                  <a:pt x="32" y="144"/>
                </a:lnTo>
                <a:lnTo>
                  <a:pt x="31" y="144"/>
                </a:lnTo>
                <a:lnTo>
                  <a:pt x="31" y="144"/>
                </a:lnTo>
                <a:lnTo>
                  <a:pt x="31" y="144"/>
                </a:lnTo>
                <a:lnTo>
                  <a:pt x="31" y="144"/>
                </a:lnTo>
                <a:lnTo>
                  <a:pt x="31" y="144"/>
                </a:lnTo>
                <a:lnTo>
                  <a:pt x="31" y="144"/>
                </a:lnTo>
                <a:lnTo>
                  <a:pt x="31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6"/>
                </a:lnTo>
                <a:lnTo>
                  <a:pt x="28" y="146"/>
                </a:lnTo>
                <a:lnTo>
                  <a:pt x="28" y="146"/>
                </a:lnTo>
                <a:lnTo>
                  <a:pt x="28" y="146"/>
                </a:lnTo>
                <a:lnTo>
                  <a:pt x="28" y="146"/>
                </a:lnTo>
                <a:lnTo>
                  <a:pt x="28" y="146"/>
                </a:lnTo>
                <a:lnTo>
                  <a:pt x="28" y="146"/>
                </a:lnTo>
                <a:lnTo>
                  <a:pt x="28" y="146"/>
                </a:lnTo>
                <a:lnTo>
                  <a:pt x="27" y="146"/>
                </a:lnTo>
                <a:lnTo>
                  <a:pt x="27" y="146"/>
                </a:lnTo>
                <a:lnTo>
                  <a:pt x="27" y="146"/>
                </a:lnTo>
                <a:lnTo>
                  <a:pt x="27" y="146"/>
                </a:lnTo>
                <a:lnTo>
                  <a:pt x="27" y="146"/>
                </a:lnTo>
                <a:lnTo>
                  <a:pt x="27" y="146"/>
                </a:lnTo>
                <a:lnTo>
                  <a:pt x="26" y="146"/>
                </a:lnTo>
                <a:lnTo>
                  <a:pt x="26" y="146"/>
                </a:lnTo>
                <a:lnTo>
                  <a:pt x="26" y="146"/>
                </a:lnTo>
                <a:lnTo>
                  <a:pt x="26" y="147"/>
                </a:lnTo>
                <a:lnTo>
                  <a:pt x="26" y="147"/>
                </a:lnTo>
                <a:lnTo>
                  <a:pt x="26" y="147"/>
                </a:lnTo>
                <a:lnTo>
                  <a:pt x="26" y="147"/>
                </a:lnTo>
                <a:lnTo>
                  <a:pt x="25" y="147"/>
                </a:lnTo>
                <a:lnTo>
                  <a:pt x="25" y="147"/>
                </a:lnTo>
                <a:lnTo>
                  <a:pt x="25" y="147"/>
                </a:lnTo>
                <a:lnTo>
                  <a:pt x="25" y="147"/>
                </a:lnTo>
                <a:lnTo>
                  <a:pt x="25" y="147"/>
                </a:lnTo>
                <a:lnTo>
                  <a:pt x="25" y="147"/>
                </a:lnTo>
                <a:lnTo>
                  <a:pt x="25" y="147"/>
                </a:lnTo>
                <a:lnTo>
                  <a:pt x="24" y="147"/>
                </a:lnTo>
                <a:lnTo>
                  <a:pt x="24" y="147"/>
                </a:lnTo>
                <a:lnTo>
                  <a:pt x="24" y="147"/>
                </a:lnTo>
                <a:lnTo>
                  <a:pt x="24" y="148"/>
                </a:lnTo>
                <a:lnTo>
                  <a:pt x="24" y="148"/>
                </a:lnTo>
                <a:lnTo>
                  <a:pt x="24" y="148"/>
                </a:lnTo>
                <a:lnTo>
                  <a:pt x="24" y="148"/>
                </a:lnTo>
                <a:lnTo>
                  <a:pt x="24" y="148"/>
                </a:lnTo>
                <a:lnTo>
                  <a:pt x="23" y="148"/>
                </a:lnTo>
                <a:lnTo>
                  <a:pt x="23" y="148"/>
                </a:lnTo>
                <a:lnTo>
                  <a:pt x="23" y="148"/>
                </a:lnTo>
                <a:lnTo>
                  <a:pt x="23" y="148"/>
                </a:lnTo>
                <a:lnTo>
                  <a:pt x="23" y="148"/>
                </a:lnTo>
                <a:lnTo>
                  <a:pt x="23" y="148"/>
                </a:lnTo>
                <a:lnTo>
                  <a:pt x="23" y="148"/>
                </a:lnTo>
                <a:lnTo>
                  <a:pt x="22" y="149"/>
                </a:lnTo>
                <a:lnTo>
                  <a:pt x="22" y="149"/>
                </a:lnTo>
                <a:lnTo>
                  <a:pt x="22" y="149"/>
                </a:lnTo>
                <a:lnTo>
                  <a:pt x="22" y="149"/>
                </a:lnTo>
                <a:lnTo>
                  <a:pt x="22" y="149"/>
                </a:lnTo>
                <a:lnTo>
                  <a:pt x="22" y="149"/>
                </a:lnTo>
                <a:lnTo>
                  <a:pt x="22" y="149"/>
                </a:lnTo>
                <a:lnTo>
                  <a:pt x="22" y="149"/>
                </a:lnTo>
                <a:lnTo>
                  <a:pt x="21" y="149"/>
                </a:lnTo>
                <a:lnTo>
                  <a:pt x="21" y="149"/>
                </a:lnTo>
                <a:lnTo>
                  <a:pt x="21" y="149"/>
                </a:lnTo>
                <a:lnTo>
                  <a:pt x="21" y="150"/>
                </a:lnTo>
                <a:lnTo>
                  <a:pt x="21" y="150"/>
                </a:lnTo>
                <a:lnTo>
                  <a:pt x="21" y="150"/>
                </a:lnTo>
                <a:lnTo>
                  <a:pt x="21" y="150"/>
                </a:lnTo>
                <a:lnTo>
                  <a:pt x="19" y="150"/>
                </a:lnTo>
                <a:lnTo>
                  <a:pt x="19" y="150"/>
                </a:lnTo>
                <a:lnTo>
                  <a:pt x="19" y="150"/>
                </a:lnTo>
                <a:lnTo>
                  <a:pt x="19" y="150"/>
                </a:lnTo>
                <a:lnTo>
                  <a:pt x="19" y="150"/>
                </a:lnTo>
                <a:lnTo>
                  <a:pt x="19" y="150"/>
                </a:lnTo>
                <a:lnTo>
                  <a:pt x="19" y="151"/>
                </a:lnTo>
                <a:lnTo>
                  <a:pt x="19" y="151"/>
                </a:lnTo>
                <a:lnTo>
                  <a:pt x="19" y="151"/>
                </a:lnTo>
                <a:lnTo>
                  <a:pt x="18" y="151"/>
                </a:lnTo>
                <a:lnTo>
                  <a:pt x="18" y="151"/>
                </a:lnTo>
                <a:lnTo>
                  <a:pt x="18" y="151"/>
                </a:lnTo>
                <a:lnTo>
                  <a:pt x="18" y="151"/>
                </a:lnTo>
                <a:lnTo>
                  <a:pt x="18" y="151"/>
                </a:lnTo>
                <a:lnTo>
                  <a:pt x="18" y="151"/>
                </a:lnTo>
                <a:lnTo>
                  <a:pt x="18" y="151"/>
                </a:lnTo>
                <a:lnTo>
                  <a:pt x="18" y="152"/>
                </a:lnTo>
                <a:lnTo>
                  <a:pt x="17" y="152"/>
                </a:lnTo>
                <a:lnTo>
                  <a:pt x="17" y="152"/>
                </a:lnTo>
                <a:lnTo>
                  <a:pt x="17" y="152"/>
                </a:lnTo>
                <a:lnTo>
                  <a:pt x="17" y="152"/>
                </a:lnTo>
                <a:lnTo>
                  <a:pt x="17" y="152"/>
                </a:lnTo>
                <a:lnTo>
                  <a:pt x="17" y="152"/>
                </a:lnTo>
                <a:lnTo>
                  <a:pt x="17" y="152"/>
                </a:lnTo>
                <a:lnTo>
                  <a:pt x="17" y="152"/>
                </a:lnTo>
                <a:lnTo>
                  <a:pt x="17" y="153"/>
                </a:lnTo>
                <a:lnTo>
                  <a:pt x="16" y="153"/>
                </a:lnTo>
                <a:lnTo>
                  <a:pt x="16" y="153"/>
                </a:lnTo>
                <a:lnTo>
                  <a:pt x="16" y="153"/>
                </a:lnTo>
                <a:lnTo>
                  <a:pt x="16" y="153"/>
                </a:lnTo>
                <a:lnTo>
                  <a:pt x="16" y="153"/>
                </a:lnTo>
                <a:lnTo>
                  <a:pt x="16" y="153"/>
                </a:lnTo>
                <a:lnTo>
                  <a:pt x="16" y="153"/>
                </a:lnTo>
                <a:lnTo>
                  <a:pt x="16" y="155"/>
                </a:lnTo>
                <a:lnTo>
                  <a:pt x="16" y="155"/>
                </a:lnTo>
                <a:lnTo>
                  <a:pt x="16" y="155"/>
                </a:lnTo>
                <a:lnTo>
                  <a:pt x="15" y="155"/>
                </a:lnTo>
                <a:lnTo>
                  <a:pt x="15" y="155"/>
                </a:lnTo>
                <a:lnTo>
                  <a:pt x="15" y="155"/>
                </a:lnTo>
                <a:lnTo>
                  <a:pt x="15" y="155"/>
                </a:lnTo>
                <a:lnTo>
                  <a:pt x="15" y="155"/>
                </a:lnTo>
                <a:lnTo>
                  <a:pt x="15" y="156"/>
                </a:lnTo>
                <a:lnTo>
                  <a:pt x="15" y="156"/>
                </a:lnTo>
                <a:lnTo>
                  <a:pt x="15" y="156"/>
                </a:lnTo>
                <a:lnTo>
                  <a:pt x="15" y="156"/>
                </a:lnTo>
                <a:lnTo>
                  <a:pt x="15" y="156"/>
                </a:lnTo>
                <a:lnTo>
                  <a:pt x="14" y="156"/>
                </a:lnTo>
                <a:lnTo>
                  <a:pt x="14" y="156"/>
                </a:lnTo>
                <a:lnTo>
                  <a:pt x="14" y="156"/>
                </a:lnTo>
                <a:lnTo>
                  <a:pt x="14" y="157"/>
                </a:lnTo>
                <a:lnTo>
                  <a:pt x="14" y="157"/>
                </a:lnTo>
                <a:lnTo>
                  <a:pt x="14" y="157"/>
                </a:lnTo>
                <a:lnTo>
                  <a:pt x="14" y="157"/>
                </a:lnTo>
                <a:lnTo>
                  <a:pt x="14" y="157"/>
                </a:lnTo>
                <a:lnTo>
                  <a:pt x="14" y="157"/>
                </a:lnTo>
                <a:lnTo>
                  <a:pt x="14" y="157"/>
                </a:lnTo>
                <a:lnTo>
                  <a:pt x="14" y="157"/>
                </a:lnTo>
                <a:lnTo>
                  <a:pt x="13" y="158"/>
                </a:lnTo>
                <a:lnTo>
                  <a:pt x="13" y="158"/>
                </a:lnTo>
                <a:lnTo>
                  <a:pt x="13" y="158"/>
                </a:lnTo>
                <a:lnTo>
                  <a:pt x="13" y="158"/>
                </a:lnTo>
                <a:lnTo>
                  <a:pt x="13" y="158"/>
                </a:lnTo>
                <a:lnTo>
                  <a:pt x="13" y="158"/>
                </a:lnTo>
                <a:lnTo>
                  <a:pt x="13" y="158"/>
                </a:lnTo>
                <a:lnTo>
                  <a:pt x="13" y="159"/>
                </a:lnTo>
                <a:lnTo>
                  <a:pt x="13" y="159"/>
                </a:lnTo>
                <a:lnTo>
                  <a:pt x="13" y="159"/>
                </a:lnTo>
                <a:lnTo>
                  <a:pt x="13" y="159"/>
                </a:lnTo>
                <a:lnTo>
                  <a:pt x="13" y="159"/>
                </a:lnTo>
                <a:lnTo>
                  <a:pt x="13" y="159"/>
                </a:lnTo>
                <a:lnTo>
                  <a:pt x="12" y="159"/>
                </a:lnTo>
                <a:lnTo>
                  <a:pt x="12" y="160"/>
                </a:lnTo>
                <a:lnTo>
                  <a:pt x="12" y="160"/>
                </a:lnTo>
                <a:lnTo>
                  <a:pt x="12" y="160"/>
                </a:lnTo>
                <a:lnTo>
                  <a:pt x="12" y="160"/>
                </a:lnTo>
                <a:lnTo>
                  <a:pt x="12" y="160"/>
                </a:lnTo>
                <a:lnTo>
                  <a:pt x="12" y="160"/>
                </a:lnTo>
                <a:lnTo>
                  <a:pt x="12" y="160"/>
                </a:lnTo>
                <a:lnTo>
                  <a:pt x="12" y="161"/>
                </a:lnTo>
                <a:lnTo>
                  <a:pt x="12" y="161"/>
                </a:lnTo>
                <a:lnTo>
                  <a:pt x="12" y="161"/>
                </a:lnTo>
                <a:lnTo>
                  <a:pt x="12" y="161"/>
                </a:lnTo>
                <a:lnTo>
                  <a:pt x="12" y="161"/>
                </a:lnTo>
                <a:lnTo>
                  <a:pt x="12" y="161"/>
                </a:lnTo>
                <a:lnTo>
                  <a:pt x="12" y="161"/>
                </a:lnTo>
                <a:lnTo>
                  <a:pt x="10" y="162"/>
                </a:lnTo>
                <a:lnTo>
                  <a:pt x="10" y="162"/>
                </a:lnTo>
                <a:lnTo>
                  <a:pt x="10" y="162"/>
                </a:lnTo>
                <a:lnTo>
                  <a:pt x="10" y="162"/>
                </a:lnTo>
                <a:lnTo>
                  <a:pt x="10" y="162"/>
                </a:lnTo>
                <a:lnTo>
                  <a:pt x="10" y="162"/>
                </a:lnTo>
                <a:lnTo>
                  <a:pt x="10" y="162"/>
                </a:lnTo>
                <a:lnTo>
                  <a:pt x="10" y="164"/>
                </a:lnTo>
                <a:lnTo>
                  <a:pt x="10" y="164"/>
                </a:lnTo>
                <a:lnTo>
                  <a:pt x="10" y="164"/>
                </a:lnTo>
                <a:lnTo>
                  <a:pt x="10" y="164"/>
                </a:lnTo>
                <a:lnTo>
                  <a:pt x="10" y="164"/>
                </a:lnTo>
                <a:lnTo>
                  <a:pt x="10" y="164"/>
                </a:lnTo>
                <a:lnTo>
                  <a:pt x="10" y="165"/>
                </a:lnTo>
                <a:lnTo>
                  <a:pt x="10" y="165"/>
                </a:lnTo>
                <a:lnTo>
                  <a:pt x="10" y="165"/>
                </a:lnTo>
                <a:lnTo>
                  <a:pt x="10" y="165"/>
                </a:lnTo>
                <a:lnTo>
                  <a:pt x="10" y="165"/>
                </a:lnTo>
                <a:lnTo>
                  <a:pt x="10" y="165"/>
                </a:lnTo>
                <a:lnTo>
                  <a:pt x="9" y="165"/>
                </a:lnTo>
                <a:lnTo>
                  <a:pt x="9" y="166"/>
                </a:lnTo>
                <a:lnTo>
                  <a:pt x="9" y="166"/>
                </a:lnTo>
                <a:lnTo>
                  <a:pt x="9" y="166"/>
                </a:lnTo>
                <a:lnTo>
                  <a:pt x="9" y="166"/>
                </a:lnTo>
                <a:lnTo>
                  <a:pt x="9" y="166"/>
                </a:lnTo>
                <a:lnTo>
                  <a:pt x="9" y="166"/>
                </a:lnTo>
                <a:lnTo>
                  <a:pt x="9" y="167"/>
                </a:lnTo>
                <a:lnTo>
                  <a:pt x="9" y="167"/>
                </a:lnTo>
                <a:lnTo>
                  <a:pt x="9" y="167"/>
                </a:lnTo>
                <a:lnTo>
                  <a:pt x="9" y="167"/>
                </a:lnTo>
                <a:lnTo>
                  <a:pt x="9" y="167"/>
                </a:lnTo>
                <a:lnTo>
                  <a:pt x="9" y="167"/>
                </a:lnTo>
                <a:lnTo>
                  <a:pt x="9" y="168"/>
                </a:lnTo>
                <a:lnTo>
                  <a:pt x="9" y="168"/>
                </a:lnTo>
                <a:lnTo>
                  <a:pt x="9" y="168"/>
                </a:lnTo>
                <a:lnTo>
                  <a:pt x="9" y="168"/>
                </a:lnTo>
                <a:lnTo>
                  <a:pt x="9" y="168"/>
                </a:lnTo>
                <a:lnTo>
                  <a:pt x="9" y="168"/>
                </a:lnTo>
                <a:lnTo>
                  <a:pt x="9" y="169"/>
                </a:lnTo>
                <a:lnTo>
                  <a:pt x="9" y="169"/>
                </a:lnTo>
                <a:lnTo>
                  <a:pt x="9" y="169"/>
                </a:lnTo>
                <a:lnTo>
                  <a:pt x="9" y="169"/>
                </a:lnTo>
                <a:lnTo>
                  <a:pt x="9" y="169"/>
                </a:lnTo>
                <a:lnTo>
                  <a:pt x="9" y="169"/>
                </a:lnTo>
                <a:lnTo>
                  <a:pt x="9" y="170"/>
                </a:lnTo>
                <a:lnTo>
                  <a:pt x="9" y="170"/>
                </a:lnTo>
                <a:lnTo>
                  <a:pt x="9" y="170"/>
                </a:lnTo>
                <a:lnTo>
                  <a:pt x="9" y="170"/>
                </a:lnTo>
                <a:lnTo>
                  <a:pt x="9" y="170"/>
                </a:lnTo>
                <a:lnTo>
                  <a:pt x="9" y="170"/>
                </a:lnTo>
                <a:lnTo>
                  <a:pt x="9" y="171"/>
                </a:lnTo>
                <a:lnTo>
                  <a:pt x="9" y="171"/>
                </a:lnTo>
                <a:lnTo>
                  <a:pt x="9" y="171"/>
                </a:lnTo>
                <a:lnTo>
                  <a:pt x="9" y="171"/>
                </a:lnTo>
                <a:lnTo>
                  <a:pt x="9" y="171"/>
                </a:lnTo>
                <a:lnTo>
                  <a:pt x="9" y="171"/>
                </a:lnTo>
                <a:lnTo>
                  <a:pt x="9" y="173"/>
                </a:lnTo>
                <a:lnTo>
                  <a:pt x="9" y="173"/>
                </a:lnTo>
                <a:lnTo>
                  <a:pt x="9" y="173"/>
                </a:lnTo>
                <a:lnTo>
                  <a:pt x="9" y="173"/>
                </a:lnTo>
                <a:lnTo>
                  <a:pt x="9" y="173"/>
                </a:lnTo>
                <a:lnTo>
                  <a:pt x="9" y="173"/>
                </a:lnTo>
                <a:lnTo>
                  <a:pt x="9" y="174"/>
                </a:lnTo>
                <a:lnTo>
                  <a:pt x="9" y="174"/>
                </a:lnTo>
                <a:lnTo>
                  <a:pt x="9" y="174"/>
                </a:lnTo>
                <a:lnTo>
                  <a:pt x="9" y="174"/>
                </a:lnTo>
                <a:lnTo>
                  <a:pt x="9" y="174"/>
                </a:lnTo>
                <a:lnTo>
                  <a:pt x="9" y="174"/>
                </a:lnTo>
                <a:lnTo>
                  <a:pt x="9" y="175"/>
                </a:lnTo>
                <a:lnTo>
                  <a:pt x="9" y="175"/>
                </a:lnTo>
                <a:lnTo>
                  <a:pt x="9" y="175"/>
                </a:lnTo>
                <a:lnTo>
                  <a:pt x="9" y="175"/>
                </a:lnTo>
                <a:lnTo>
                  <a:pt x="9" y="175"/>
                </a:lnTo>
                <a:lnTo>
                  <a:pt x="9" y="175"/>
                </a:lnTo>
                <a:lnTo>
                  <a:pt x="9" y="176"/>
                </a:lnTo>
                <a:lnTo>
                  <a:pt x="9" y="176"/>
                </a:lnTo>
                <a:lnTo>
                  <a:pt x="9" y="176"/>
                </a:lnTo>
                <a:lnTo>
                  <a:pt x="9" y="176"/>
                </a:lnTo>
                <a:lnTo>
                  <a:pt x="9" y="176"/>
                </a:lnTo>
                <a:lnTo>
                  <a:pt x="9" y="176"/>
                </a:lnTo>
                <a:lnTo>
                  <a:pt x="9" y="177"/>
                </a:lnTo>
                <a:lnTo>
                  <a:pt x="9" y="177"/>
                </a:lnTo>
                <a:lnTo>
                  <a:pt x="9" y="177"/>
                </a:lnTo>
                <a:lnTo>
                  <a:pt x="9" y="177"/>
                </a:lnTo>
                <a:lnTo>
                  <a:pt x="9" y="177"/>
                </a:lnTo>
                <a:lnTo>
                  <a:pt x="9" y="177"/>
                </a:lnTo>
                <a:lnTo>
                  <a:pt x="9" y="178"/>
                </a:lnTo>
                <a:lnTo>
                  <a:pt x="9" y="178"/>
                </a:lnTo>
                <a:lnTo>
                  <a:pt x="9" y="178"/>
                </a:lnTo>
                <a:lnTo>
                  <a:pt x="9" y="178"/>
                </a:lnTo>
                <a:lnTo>
                  <a:pt x="9" y="178"/>
                </a:lnTo>
                <a:lnTo>
                  <a:pt x="9" y="178"/>
                </a:lnTo>
                <a:lnTo>
                  <a:pt x="9" y="179"/>
                </a:lnTo>
                <a:lnTo>
                  <a:pt x="9" y="179"/>
                </a:lnTo>
                <a:lnTo>
                  <a:pt x="9" y="179"/>
                </a:lnTo>
                <a:lnTo>
                  <a:pt x="9" y="179"/>
                </a:lnTo>
                <a:lnTo>
                  <a:pt x="9" y="179"/>
                </a:lnTo>
                <a:lnTo>
                  <a:pt x="9" y="179"/>
                </a:lnTo>
                <a:lnTo>
                  <a:pt x="9" y="179"/>
                </a:lnTo>
                <a:lnTo>
                  <a:pt x="9" y="181"/>
                </a:lnTo>
                <a:lnTo>
                  <a:pt x="9" y="181"/>
                </a:lnTo>
                <a:lnTo>
                  <a:pt x="9" y="181"/>
                </a:lnTo>
                <a:lnTo>
                  <a:pt x="9" y="181"/>
                </a:lnTo>
                <a:lnTo>
                  <a:pt x="9" y="181"/>
                </a:lnTo>
                <a:lnTo>
                  <a:pt x="9" y="181"/>
                </a:lnTo>
                <a:lnTo>
                  <a:pt x="9" y="182"/>
                </a:lnTo>
                <a:lnTo>
                  <a:pt x="10" y="182"/>
                </a:lnTo>
                <a:lnTo>
                  <a:pt x="10" y="182"/>
                </a:lnTo>
                <a:lnTo>
                  <a:pt x="10" y="182"/>
                </a:lnTo>
                <a:lnTo>
                  <a:pt x="10" y="182"/>
                </a:lnTo>
                <a:lnTo>
                  <a:pt x="10" y="182"/>
                </a:lnTo>
                <a:lnTo>
                  <a:pt x="10" y="183"/>
                </a:lnTo>
                <a:lnTo>
                  <a:pt x="10" y="183"/>
                </a:lnTo>
                <a:lnTo>
                  <a:pt x="10" y="183"/>
                </a:lnTo>
                <a:lnTo>
                  <a:pt x="10" y="183"/>
                </a:lnTo>
                <a:lnTo>
                  <a:pt x="10" y="183"/>
                </a:lnTo>
                <a:lnTo>
                  <a:pt x="10" y="183"/>
                </a:lnTo>
                <a:lnTo>
                  <a:pt x="10" y="183"/>
                </a:lnTo>
                <a:lnTo>
                  <a:pt x="10" y="184"/>
                </a:lnTo>
                <a:lnTo>
                  <a:pt x="10" y="184"/>
                </a:lnTo>
                <a:lnTo>
                  <a:pt x="10" y="184"/>
                </a:lnTo>
                <a:lnTo>
                  <a:pt x="10" y="184"/>
                </a:lnTo>
                <a:lnTo>
                  <a:pt x="10" y="184"/>
                </a:lnTo>
                <a:lnTo>
                  <a:pt x="10" y="184"/>
                </a:lnTo>
                <a:lnTo>
                  <a:pt x="10" y="184"/>
                </a:lnTo>
                <a:lnTo>
                  <a:pt x="12" y="185"/>
                </a:lnTo>
                <a:lnTo>
                  <a:pt x="12" y="185"/>
                </a:lnTo>
                <a:lnTo>
                  <a:pt x="12" y="185"/>
                </a:lnTo>
                <a:lnTo>
                  <a:pt x="12" y="185"/>
                </a:lnTo>
                <a:lnTo>
                  <a:pt x="12" y="185"/>
                </a:lnTo>
                <a:lnTo>
                  <a:pt x="12" y="185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12" y="187"/>
                </a:lnTo>
                <a:lnTo>
                  <a:pt x="12" y="187"/>
                </a:lnTo>
                <a:lnTo>
                  <a:pt x="13" y="187"/>
                </a:lnTo>
                <a:lnTo>
                  <a:pt x="13" y="187"/>
                </a:lnTo>
                <a:lnTo>
                  <a:pt x="13" y="187"/>
                </a:lnTo>
                <a:lnTo>
                  <a:pt x="13" y="187"/>
                </a:lnTo>
                <a:lnTo>
                  <a:pt x="13" y="187"/>
                </a:lnTo>
                <a:lnTo>
                  <a:pt x="13" y="188"/>
                </a:lnTo>
                <a:lnTo>
                  <a:pt x="13" y="188"/>
                </a:lnTo>
                <a:lnTo>
                  <a:pt x="13" y="188"/>
                </a:lnTo>
                <a:lnTo>
                  <a:pt x="13" y="188"/>
                </a:lnTo>
                <a:lnTo>
                  <a:pt x="13" y="188"/>
                </a:lnTo>
                <a:lnTo>
                  <a:pt x="13" y="188"/>
                </a:lnTo>
                <a:lnTo>
                  <a:pt x="13" y="188"/>
                </a:lnTo>
                <a:lnTo>
                  <a:pt x="13" y="188"/>
                </a:lnTo>
                <a:lnTo>
                  <a:pt x="14" y="190"/>
                </a:lnTo>
                <a:lnTo>
                  <a:pt x="14" y="190"/>
                </a:lnTo>
                <a:lnTo>
                  <a:pt x="14" y="190"/>
                </a:lnTo>
                <a:lnTo>
                  <a:pt x="14" y="190"/>
                </a:lnTo>
                <a:lnTo>
                  <a:pt x="14" y="190"/>
                </a:lnTo>
                <a:lnTo>
                  <a:pt x="14" y="190"/>
                </a:lnTo>
                <a:lnTo>
                  <a:pt x="14" y="190"/>
                </a:lnTo>
                <a:lnTo>
                  <a:pt x="14" y="191"/>
                </a:lnTo>
                <a:lnTo>
                  <a:pt x="14" y="191"/>
                </a:lnTo>
                <a:lnTo>
                  <a:pt x="14" y="191"/>
                </a:lnTo>
                <a:lnTo>
                  <a:pt x="14" y="191"/>
                </a:lnTo>
                <a:lnTo>
                  <a:pt x="15" y="191"/>
                </a:lnTo>
                <a:lnTo>
                  <a:pt x="15" y="191"/>
                </a:lnTo>
                <a:lnTo>
                  <a:pt x="15" y="191"/>
                </a:lnTo>
                <a:lnTo>
                  <a:pt x="15" y="191"/>
                </a:lnTo>
                <a:lnTo>
                  <a:pt x="15" y="192"/>
                </a:lnTo>
                <a:lnTo>
                  <a:pt x="15" y="192"/>
                </a:lnTo>
                <a:lnTo>
                  <a:pt x="15" y="192"/>
                </a:lnTo>
                <a:lnTo>
                  <a:pt x="15" y="192"/>
                </a:lnTo>
                <a:lnTo>
                  <a:pt x="15" y="192"/>
                </a:lnTo>
                <a:lnTo>
                  <a:pt x="15" y="192"/>
                </a:lnTo>
                <a:lnTo>
                  <a:pt x="16" y="192"/>
                </a:lnTo>
                <a:lnTo>
                  <a:pt x="16" y="192"/>
                </a:lnTo>
                <a:lnTo>
                  <a:pt x="16" y="193"/>
                </a:lnTo>
                <a:lnTo>
                  <a:pt x="16" y="193"/>
                </a:lnTo>
                <a:lnTo>
                  <a:pt x="16" y="193"/>
                </a:lnTo>
                <a:lnTo>
                  <a:pt x="16" y="193"/>
                </a:lnTo>
                <a:lnTo>
                  <a:pt x="16" y="193"/>
                </a:lnTo>
                <a:lnTo>
                  <a:pt x="16" y="193"/>
                </a:lnTo>
                <a:lnTo>
                  <a:pt x="16" y="193"/>
                </a:lnTo>
                <a:lnTo>
                  <a:pt x="16" y="193"/>
                </a:lnTo>
                <a:lnTo>
                  <a:pt x="17" y="193"/>
                </a:lnTo>
                <a:lnTo>
                  <a:pt x="17" y="194"/>
                </a:lnTo>
                <a:lnTo>
                  <a:pt x="17" y="194"/>
                </a:lnTo>
                <a:lnTo>
                  <a:pt x="17" y="194"/>
                </a:lnTo>
                <a:lnTo>
                  <a:pt x="17" y="194"/>
                </a:lnTo>
                <a:lnTo>
                  <a:pt x="17" y="194"/>
                </a:lnTo>
                <a:lnTo>
                  <a:pt x="17" y="194"/>
                </a:lnTo>
                <a:lnTo>
                  <a:pt x="17" y="194"/>
                </a:lnTo>
                <a:lnTo>
                  <a:pt x="17" y="194"/>
                </a:lnTo>
                <a:lnTo>
                  <a:pt x="18" y="195"/>
                </a:lnTo>
                <a:lnTo>
                  <a:pt x="18" y="195"/>
                </a:lnTo>
                <a:lnTo>
                  <a:pt x="18" y="195"/>
                </a:lnTo>
                <a:lnTo>
                  <a:pt x="18" y="195"/>
                </a:lnTo>
                <a:lnTo>
                  <a:pt x="18" y="195"/>
                </a:lnTo>
                <a:lnTo>
                  <a:pt x="18" y="195"/>
                </a:lnTo>
                <a:lnTo>
                  <a:pt x="18" y="195"/>
                </a:lnTo>
                <a:lnTo>
                  <a:pt x="18" y="195"/>
                </a:lnTo>
                <a:lnTo>
                  <a:pt x="19" y="195"/>
                </a:lnTo>
                <a:lnTo>
                  <a:pt x="19" y="195"/>
                </a:lnTo>
                <a:lnTo>
                  <a:pt x="19" y="196"/>
                </a:lnTo>
                <a:lnTo>
                  <a:pt x="19" y="196"/>
                </a:lnTo>
                <a:lnTo>
                  <a:pt x="19" y="196"/>
                </a:lnTo>
                <a:lnTo>
                  <a:pt x="19" y="196"/>
                </a:lnTo>
                <a:lnTo>
                  <a:pt x="19" y="196"/>
                </a:lnTo>
                <a:lnTo>
                  <a:pt x="19" y="196"/>
                </a:lnTo>
                <a:lnTo>
                  <a:pt x="19" y="196"/>
                </a:lnTo>
                <a:lnTo>
                  <a:pt x="21" y="196"/>
                </a:lnTo>
                <a:lnTo>
                  <a:pt x="21" y="196"/>
                </a:lnTo>
                <a:lnTo>
                  <a:pt x="21" y="196"/>
                </a:lnTo>
                <a:lnTo>
                  <a:pt x="21" y="197"/>
                </a:lnTo>
                <a:lnTo>
                  <a:pt x="21" y="197"/>
                </a:lnTo>
                <a:lnTo>
                  <a:pt x="21" y="197"/>
                </a:lnTo>
                <a:lnTo>
                  <a:pt x="21" y="197"/>
                </a:lnTo>
                <a:lnTo>
                  <a:pt x="22" y="197"/>
                </a:lnTo>
                <a:lnTo>
                  <a:pt x="22" y="197"/>
                </a:lnTo>
                <a:lnTo>
                  <a:pt x="22" y="197"/>
                </a:lnTo>
                <a:lnTo>
                  <a:pt x="22" y="197"/>
                </a:lnTo>
                <a:lnTo>
                  <a:pt x="22" y="197"/>
                </a:lnTo>
                <a:lnTo>
                  <a:pt x="22" y="197"/>
                </a:lnTo>
                <a:lnTo>
                  <a:pt x="22" y="197"/>
                </a:lnTo>
                <a:lnTo>
                  <a:pt x="22" y="199"/>
                </a:lnTo>
                <a:lnTo>
                  <a:pt x="23" y="199"/>
                </a:lnTo>
                <a:lnTo>
                  <a:pt x="23" y="199"/>
                </a:lnTo>
                <a:lnTo>
                  <a:pt x="23" y="199"/>
                </a:lnTo>
                <a:lnTo>
                  <a:pt x="23" y="199"/>
                </a:lnTo>
                <a:lnTo>
                  <a:pt x="23" y="199"/>
                </a:lnTo>
                <a:lnTo>
                  <a:pt x="23" y="199"/>
                </a:lnTo>
                <a:lnTo>
                  <a:pt x="23" y="199"/>
                </a:lnTo>
                <a:lnTo>
                  <a:pt x="24" y="199"/>
                </a:lnTo>
                <a:lnTo>
                  <a:pt x="24" y="199"/>
                </a:lnTo>
                <a:lnTo>
                  <a:pt x="24" y="199"/>
                </a:lnTo>
                <a:lnTo>
                  <a:pt x="24" y="199"/>
                </a:lnTo>
                <a:lnTo>
                  <a:pt x="24" y="200"/>
                </a:lnTo>
                <a:lnTo>
                  <a:pt x="24" y="200"/>
                </a:lnTo>
                <a:lnTo>
                  <a:pt x="24" y="200"/>
                </a:lnTo>
                <a:lnTo>
                  <a:pt x="24" y="200"/>
                </a:lnTo>
                <a:lnTo>
                  <a:pt x="25" y="200"/>
                </a:lnTo>
                <a:lnTo>
                  <a:pt x="25" y="200"/>
                </a:lnTo>
                <a:lnTo>
                  <a:pt x="25" y="200"/>
                </a:lnTo>
                <a:lnTo>
                  <a:pt x="25" y="200"/>
                </a:lnTo>
                <a:lnTo>
                  <a:pt x="25" y="200"/>
                </a:lnTo>
                <a:lnTo>
                  <a:pt x="25" y="200"/>
                </a:lnTo>
                <a:lnTo>
                  <a:pt x="25" y="200"/>
                </a:lnTo>
                <a:lnTo>
                  <a:pt x="26" y="200"/>
                </a:lnTo>
                <a:lnTo>
                  <a:pt x="26" y="200"/>
                </a:lnTo>
                <a:lnTo>
                  <a:pt x="26" y="201"/>
                </a:lnTo>
                <a:lnTo>
                  <a:pt x="26" y="201"/>
                </a:lnTo>
                <a:lnTo>
                  <a:pt x="26" y="201"/>
                </a:lnTo>
                <a:lnTo>
                  <a:pt x="26" y="201"/>
                </a:lnTo>
                <a:lnTo>
                  <a:pt x="26" y="201"/>
                </a:lnTo>
                <a:lnTo>
                  <a:pt x="27" y="201"/>
                </a:lnTo>
                <a:lnTo>
                  <a:pt x="27" y="201"/>
                </a:lnTo>
                <a:lnTo>
                  <a:pt x="27" y="201"/>
                </a:lnTo>
                <a:lnTo>
                  <a:pt x="27" y="201"/>
                </a:lnTo>
                <a:lnTo>
                  <a:pt x="27" y="201"/>
                </a:lnTo>
                <a:lnTo>
                  <a:pt x="27" y="201"/>
                </a:lnTo>
                <a:lnTo>
                  <a:pt x="28" y="201"/>
                </a:lnTo>
                <a:lnTo>
                  <a:pt x="28" y="201"/>
                </a:lnTo>
                <a:lnTo>
                  <a:pt x="28" y="201"/>
                </a:lnTo>
                <a:lnTo>
                  <a:pt x="28" y="201"/>
                </a:lnTo>
                <a:lnTo>
                  <a:pt x="28" y="201"/>
                </a:lnTo>
                <a:lnTo>
                  <a:pt x="28" y="201"/>
                </a:lnTo>
                <a:lnTo>
                  <a:pt x="28" y="202"/>
                </a:lnTo>
                <a:lnTo>
                  <a:pt x="30" y="202"/>
                </a:lnTo>
                <a:lnTo>
                  <a:pt x="30" y="202"/>
                </a:lnTo>
                <a:lnTo>
                  <a:pt x="30" y="202"/>
                </a:lnTo>
                <a:lnTo>
                  <a:pt x="30" y="202"/>
                </a:lnTo>
                <a:lnTo>
                  <a:pt x="30" y="202"/>
                </a:lnTo>
                <a:lnTo>
                  <a:pt x="30" y="202"/>
                </a:lnTo>
                <a:lnTo>
                  <a:pt x="31" y="202"/>
                </a:lnTo>
                <a:lnTo>
                  <a:pt x="31" y="202"/>
                </a:lnTo>
                <a:lnTo>
                  <a:pt x="31" y="202"/>
                </a:lnTo>
                <a:lnTo>
                  <a:pt x="31" y="202"/>
                </a:lnTo>
                <a:lnTo>
                  <a:pt x="31" y="202"/>
                </a:lnTo>
                <a:lnTo>
                  <a:pt x="31" y="202"/>
                </a:lnTo>
                <a:lnTo>
                  <a:pt x="31" y="202"/>
                </a:lnTo>
                <a:lnTo>
                  <a:pt x="32" y="202"/>
                </a:lnTo>
                <a:lnTo>
                  <a:pt x="32" y="202"/>
                </a:lnTo>
                <a:lnTo>
                  <a:pt x="32" y="202"/>
                </a:lnTo>
                <a:lnTo>
                  <a:pt x="32" y="202"/>
                </a:lnTo>
                <a:lnTo>
                  <a:pt x="32" y="202"/>
                </a:lnTo>
                <a:lnTo>
                  <a:pt x="32" y="202"/>
                </a:lnTo>
                <a:lnTo>
                  <a:pt x="33" y="202"/>
                </a:lnTo>
                <a:lnTo>
                  <a:pt x="33" y="202"/>
                </a:lnTo>
                <a:lnTo>
                  <a:pt x="33" y="202"/>
                </a:lnTo>
                <a:lnTo>
                  <a:pt x="33" y="202"/>
                </a:lnTo>
                <a:lnTo>
                  <a:pt x="33" y="202"/>
                </a:lnTo>
                <a:lnTo>
                  <a:pt x="33" y="203"/>
                </a:lnTo>
                <a:lnTo>
                  <a:pt x="34" y="203"/>
                </a:lnTo>
                <a:lnTo>
                  <a:pt x="34" y="203"/>
                </a:lnTo>
                <a:lnTo>
                  <a:pt x="34" y="203"/>
                </a:lnTo>
                <a:lnTo>
                  <a:pt x="34" y="203"/>
                </a:lnTo>
                <a:lnTo>
                  <a:pt x="34" y="203"/>
                </a:lnTo>
                <a:lnTo>
                  <a:pt x="34" y="203"/>
                </a:lnTo>
                <a:lnTo>
                  <a:pt x="35" y="203"/>
                </a:lnTo>
                <a:lnTo>
                  <a:pt x="35" y="203"/>
                </a:lnTo>
                <a:lnTo>
                  <a:pt x="35" y="203"/>
                </a:lnTo>
                <a:lnTo>
                  <a:pt x="35" y="203"/>
                </a:lnTo>
                <a:lnTo>
                  <a:pt x="35" y="203"/>
                </a:lnTo>
                <a:lnTo>
                  <a:pt x="35" y="203"/>
                </a:lnTo>
                <a:lnTo>
                  <a:pt x="36" y="203"/>
                </a:lnTo>
                <a:lnTo>
                  <a:pt x="36" y="203"/>
                </a:lnTo>
                <a:lnTo>
                  <a:pt x="36" y="203"/>
                </a:lnTo>
                <a:lnTo>
                  <a:pt x="36" y="203"/>
                </a:lnTo>
                <a:lnTo>
                  <a:pt x="36" y="203"/>
                </a:lnTo>
                <a:lnTo>
                  <a:pt x="36" y="203"/>
                </a:lnTo>
                <a:lnTo>
                  <a:pt x="37" y="203"/>
                </a:lnTo>
                <a:lnTo>
                  <a:pt x="37" y="203"/>
                </a:lnTo>
                <a:lnTo>
                  <a:pt x="37" y="203"/>
                </a:lnTo>
                <a:lnTo>
                  <a:pt x="37" y="203"/>
                </a:lnTo>
                <a:lnTo>
                  <a:pt x="37" y="203"/>
                </a:lnTo>
                <a:lnTo>
                  <a:pt x="37" y="203"/>
                </a:lnTo>
                <a:lnTo>
                  <a:pt x="39" y="203"/>
                </a:lnTo>
                <a:lnTo>
                  <a:pt x="39" y="203"/>
                </a:lnTo>
                <a:lnTo>
                  <a:pt x="39" y="203"/>
                </a:lnTo>
                <a:lnTo>
                  <a:pt x="39" y="203"/>
                </a:lnTo>
                <a:close/>
                <a:moveTo>
                  <a:pt x="76" y="174"/>
                </a:moveTo>
                <a:lnTo>
                  <a:pt x="76" y="174"/>
                </a:lnTo>
                <a:lnTo>
                  <a:pt x="76" y="174"/>
                </a:lnTo>
                <a:lnTo>
                  <a:pt x="76" y="174"/>
                </a:lnTo>
                <a:lnTo>
                  <a:pt x="76" y="174"/>
                </a:lnTo>
                <a:lnTo>
                  <a:pt x="76" y="175"/>
                </a:lnTo>
                <a:lnTo>
                  <a:pt x="76" y="175"/>
                </a:lnTo>
                <a:lnTo>
                  <a:pt x="76" y="175"/>
                </a:lnTo>
                <a:lnTo>
                  <a:pt x="76" y="175"/>
                </a:lnTo>
                <a:lnTo>
                  <a:pt x="76" y="175"/>
                </a:lnTo>
                <a:lnTo>
                  <a:pt x="76" y="176"/>
                </a:lnTo>
                <a:lnTo>
                  <a:pt x="76" y="176"/>
                </a:lnTo>
                <a:lnTo>
                  <a:pt x="76" y="176"/>
                </a:lnTo>
                <a:lnTo>
                  <a:pt x="76" y="176"/>
                </a:lnTo>
                <a:lnTo>
                  <a:pt x="76" y="177"/>
                </a:lnTo>
                <a:lnTo>
                  <a:pt x="76" y="177"/>
                </a:lnTo>
                <a:lnTo>
                  <a:pt x="76" y="177"/>
                </a:lnTo>
                <a:lnTo>
                  <a:pt x="76" y="177"/>
                </a:lnTo>
                <a:lnTo>
                  <a:pt x="76" y="177"/>
                </a:lnTo>
                <a:lnTo>
                  <a:pt x="76" y="178"/>
                </a:lnTo>
                <a:lnTo>
                  <a:pt x="76" y="178"/>
                </a:lnTo>
                <a:lnTo>
                  <a:pt x="76" y="178"/>
                </a:lnTo>
                <a:lnTo>
                  <a:pt x="76" y="178"/>
                </a:lnTo>
                <a:lnTo>
                  <a:pt x="76" y="178"/>
                </a:lnTo>
                <a:lnTo>
                  <a:pt x="76" y="179"/>
                </a:lnTo>
                <a:lnTo>
                  <a:pt x="76" y="179"/>
                </a:lnTo>
                <a:lnTo>
                  <a:pt x="76" y="179"/>
                </a:lnTo>
                <a:lnTo>
                  <a:pt x="76" y="179"/>
                </a:lnTo>
                <a:lnTo>
                  <a:pt x="76" y="179"/>
                </a:lnTo>
                <a:lnTo>
                  <a:pt x="76" y="181"/>
                </a:lnTo>
                <a:lnTo>
                  <a:pt x="76" y="181"/>
                </a:lnTo>
                <a:lnTo>
                  <a:pt x="76" y="181"/>
                </a:lnTo>
                <a:lnTo>
                  <a:pt x="76" y="181"/>
                </a:lnTo>
                <a:lnTo>
                  <a:pt x="76" y="181"/>
                </a:lnTo>
                <a:lnTo>
                  <a:pt x="75" y="182"/>
                </a:lnTo>
                <a:lnTo>
                  <a:pt x="75" y="182"/>
                </a:lnTo>
                <a:lnTo>
                  <a:pt x="75" y="182"/>
                </a:lnTo>
                <a:lnTo>
                  <a:pt x="75" y="182"/>
                </a:lnTo>
                <a:lnTo>
                  <a:pt x="75" y="182"/>
                </a:lnTo>
                <a:lnTo>
                  <a:pt x="75" y="183"/>
                </a:lnTo>
                <a:lnTo>
                  <a:pt x="75" y="183"/>
                </a:lnTo>
                <a:lnTo>
                  <a:pt x="75" y="183"/>
                </a:lnTo>
                <a:lnTo>
                  <a:pt x="75" y="183"/>
                </a:lnTo>
                <a:lnTo>
                  <a:pt x="75" y="183"/>
                </a:lnTo>
                <a:lnTo>
                  <a:pt x="75" y="184"/>
                </a:lnTo>
                <a:lnTo>
                  <a:pt x="75" y="184"/>
                </a:lnTo>
                <a:lnTo>
                  <a:pt x="75" y="184"/>
                </a:lnTo>
                <a:lnTo>
                  <a:pt x="75" y="184"/>
                </a:lnTo>
                <a:lnTo>
                  <a:pt x="75" y="184"/>
                </a:lnTo>
                <a:lnTo>
                  <a:pt x="75" y="185"/>
                </a:lnTo>
                <a:lnTo>
                  <a:pt x="75" y="185"/>
                </a:lnTo>
                <a:lnTo>
                  <a:pt x="75" y="185"/>
                </a:lnTo>
                <a:lnTo>
                  <a:pt x="75" y="185"/>
                </a:lnTo>
                <a:lnTo>
                  <a:pt x="73" y="185"/>
                </a:lnTo>
                <a:lnTo>
                  <a:pt x="73" y="186"/>
                </a:lnTo>
                <a:lnTo>
                  <a:pt x="73" y="186"/>
                </a:lnTo>
                <a:lnTo>
                  <a:pt x="73" y="186"/>
                </a:lnTo>
                <a:lnTo>
                  <a:pt x="73" y="186"/>
                </a:lnTo>
                <a:lnTo>
                  <a:pt x="73" y="186"/>
                </a:lnTo>
                <a:lnTo>
                  <a:pt x="73" y="187"/>
                </a:lnTo>
                <a:lnTo>
                  <a:pt x="73" y="187"/>
                </a:lnTo>
                <a:lnTo>
                  <a:pt x="73" y="187"/>
                </a:lnTo>
                <a:lnTo>
                  <a:pt x="73" y="187"/>
                </a:lnTo>
                <a:lnTo>
                  <a:pt x="73" y="187"/>
                </a:lnTo>
                <a:lnTo>
                  <a:pt x="73" y="188"/>
                </a:lnTo>
                <a:lnTo>
                  <a:pt x="73" y="188"/>
                </a:lnTo>
                <a:lnTo>
                  <a:pt x="72" y="188"/>
                </a:lnTo>
                <a:lnTo>
                  <a:pt x="72" y="188"/>
                </a:lnTo>
                <a:lnTo>
                  <a:pt x="72" y="188"/>
                </a:lnTo>
                <a:lnTo>
                  <a:pt x="72" y="188"/>
                </a:lnTo>
                <a:lnTo>
                  <a:pt x="72" y="190"/>
                </a:lnTo>
                <a:lnTo>
                  <a:pt x="72" y="190"/>
                </a:lnTo>
                <a:lnTo>
                  <a:pt x="72" y="190"/>
                </a:lnTo>
                <a:lnTo>
                  <a:pt x="72" y="190"/>
                </a:lnTo>
                <a:lnTo>
                  <a:pt x="72" y="190"/>
                </a:lnTo>
                <a:lnTo>
                  <a:pt x="72" y="191"/>
                </a:lnTo>
                <a:lnTo>
                  <a:pt x="72" y="191"/>
                </a:lnTo>
                <a:lnTo>
                  <a:pt x="72" y="191"/>
                </a:lnTo>
                <a:lnTo>
                  <a:pt x="71" y="191"/>
                </a:lnTo>
                <a:lnTo>
                  <a:pt x="71" y="191"/>
                </a:lnTo>
                <a:lnTo>
                  <a:pt x="71" y="191"/>
                </a:lnTo>
                <a:lnTo>
                  <a:pt x="71" y="192"/>
                </a:lnTo>
                <a:lnTo>
                  <a:pt x="71" y="192"/>
                </a:lnTo>
                <a:lnTo>
                  <a:pt x="71" y="192"/>
                </a:lnTo>
                <a:lnTo>
                  <a:pt x="71" y="192"/>
                </a:lnTo>
                <a:lnTo>
                  <a:pt x="71" y="192"/>
                </a:lnTo>
                <a:lnTo>
                  <a:pt x="71" y="193"/>
                </a:lnTo>
                <a:lnTo>
                  <a:pt x="71" y="193"/>
                </a:lnTo>
                <a:lnTo>
                  <a:pt x="70" y="193"/>
                </a:lnTo>
                <a:lnTo>
                  <a:pt x="70" y="193"/>
                </a:lnTo>
                <a:lnTo>
                  <a:pt x="70" y="193"/>
                </a:lnTo>
                <a:lnTo>
                  <a:pt x="70" y="193"/>
                </a:lnTo>
                <a:lnTo>
                  <a:pt x="70" y="194"/>
                </a:lnTo>
                <a:lnTo>
                  <a:pt x="70" y="194"/>
                </a:lnTo>
                <a:lnTo>
                  <a:pt x="70" y="194"/>
                </a:lnTo>
                <a:lnTo>
                  <a:pt x="70" y="194"/>
                </a:lnTo>
                <a:lnTo>
                  <a:pt x="70" y="194"/>
                </a:lnTo>
                <a:lnTo>
                  <a:pt x="69" y="194"/>
                </a:lnTo>
                <a:lnTo>
                  <a:pt x="69" y="195"/>
                </a:lnTo>
                <a:lnTo>
                  <a:pt x="69" y="195"/>
                </a:lnTo>
                <a:lnTo>
                  <a:pt x="69" y="195"/>
                </a:lnTo>
                <a:lnTo>
                  <a:pt x="69" y="195"/>
                </a:lnTo>
                <a:lnTo>
                  <a:pt x="69" y="195"/>
                </a:lnTo>
                <a:lnTo>
                  <a:pt x="69" y="195"/>
                </a:lnTo>
                <a:lnTo>
                  <a:pt x="69" y="196"/>
                </a:lnTo>
                <a:lnTo>
                  <a:pt x="69" y="196"/>
                </a:lnTo>
                <a:lnTo>
                  <a:pt x="68" y="196"/>
                </a:lnTo>
                <a:lnTo>
                  <a:pt x="68" y="196"/>
                </a:lnTo>
                <a:lnTo>
                  <a:pt x="68" y="196"/>
                </a:lnTo>
                <a:lnTo>
                  <a:pt x="68" y="196"/>
                </a:lnTo>
                <a:lnTo>
                  <a:pt x="68" y="196"/>
                </a:lnTo>
                <a:lnTo>
                  <a:pt x="68" y="197"/>
                </a:lnTo>
                <a:lnTo>
                  <a:pt x="68" y="197"/>
                </a:lnTo>
                <a:lnTo>
                  <a:pt x="67" y="197"/>
                </a:lnTo>
                <a:lnTo>
                  <a:pt x="67" y="197"/>
                </a:lnTo>
                <a:lnTo>
                  <a:pt x="67" y="197"/>
                </a:lnTo>
                <a:lnTo>
                  <a:pt x="67" y="197"/>
                </a:lnTo>
                <a:lnTo>
                  <a:pt x="67" y="199"/>
                </a:lnTo>
                <a:lnTo>
                  <a:pt x="67" y="199"/>
                </a:lnTo>
                <a:lnTo>
                  <a:pt x="67" y="199"/>
                </a:lnTo>
                <a:lnTo>
                  <a:pt x="67" y="199"/>
                </a:lnTo>
                <a:lnTo>
                  <a:pt x="66" y="199"/>
                </a:lnTo>
                <a:lnTo>
                  <a:pt x="66" y="199"/>
                </a:lnTo>
                <a:lnTo>
                  <a:pt x="66" y="199"/>
                </a:lnTo>
                <a:lnTo>
                  <a:pt x="66" y="200"/>
                </a:lnTo>
                <a:lnTo>
                  <a:pt x="66" y="200"/>
                </a:lnTo>
                <a:lnTo>
                  <a:pt x="66" y="200"/>
                </a:lnTo>
                <a:lnTo>
                  <a:pt x="66" y="200"/>
                </a:lnTo>
                <a:lnTo>
                  <a:pt x="64" y="200"/>
                </a:lnTo>
                <a:lnTo>
                  <a:pt x="64" y="200"/>
                </a:lnTo>
                <a:lnTo>
                  <a:pt x="64" y="200"/>
                </a:lnTo>
                <a:lnTo>
                  <a:pt x="64" y="201"/>
                </a:lnTo>
                <a:lnTo>
                  <a:pt x="64" y="201"/>
                </a:lnTo>
                <a:lnTo>
                  <a:pt x="64" y="201"/>
                </a:lnTo>
                <a:lnTo>
                  <a:pt x="64" y="201"/>
                </a:lnTo>
                <a:lnTo>
                  <a:pt x="63" y="201"/>
                </a:lnTo>
                <a:lnTo>
                  <a:pt x="63" y="201"/>
                </a:lnTo>
                <a:lnTo>
                  <a:pt x="63" y="201"/>
                </a:lnTo>
                <a:lnTo>
                  <a:pt x="63" y="202"/>
                </a:lnTo>
                <a:lnTo>
                  <a:pt x="63" y="202"/>
                </a:lnTo>
                <a:lnTo>
                  <a:pt x="63" y="202"/>
                </a:lnTo>
                <a:lnTo>
                  <a:pt x="63" y="202"/>
                </a:lnTo>
                <a:lnTo>
                  <a:pt x="62" y="202"/>
                </a:lnTo>
                <a:lnTo>
                  <a:pt x="62" y="202"/>
                </a:lnTo>
                <a:lnTo>
                  <a:pt x="62" y="202"/>
                </a:lnTo>
                <a:lnTo>
                  <a:pt x="62" y="202"/>
                </a:lnTo>
                <a:lnTo>
                  <a:pt x="62" y="203"/>
                </a:lnTo>
                <a:lnTo>
                  <a:pt x="62" y="203"/>
                </a:lnTo>
                <a:lnTo>
                  <a:pt x="61" y="203"/>
                </a:lnTo>
                <a:lnTo>
                  <a:pt x="61" y="203"/>
                </a:lnTo>
                <a:lnTo>
                  <a:pt x="61" y="203"/>
                </a:lnTo>
                <a:lnTo>
                  <a:pt x="61" y="203"/>
                </a:lnTo>
                <a:lnTo>
                  <a:pt x="61" y="203"/>
                </a:lnTo>
                <a:lnTo>
                  <a:pt x="61" y="203"/>
                </a:lnTo>
                <a:lnTo>
                  <a:pt x="61" y="204"/>
                </a:lnTo>
                <a:lnTo>
                  <a:pt x="60" y="204"/>
                </a:lnTo>
                <a:lnTo>
                  <a:pt x="60" y="204"/>
                </a:lnTo>
                <a:lnTo>
                  <a:pt x="60" y="204"/>
                </a:lnTo>
                <a:lnTo>
                  <a:pt x="60" y="204"/>
                </a:lnTo>
                <a:lnTo>
                  <a:pt x="60" y="204"/>
                </a:lnTo>
                <a:lnTo>
                  <a:pt x="60" y="204"/>
                </a:lnTo>
                <a:lnTo>
                  <a:pt x="59" y="204"/>
                </a:lnTo>
                <a:lnTo>
                  <a:pt x="59" y="204"/>
                </a:lnTo>
                <a:lnTo>
                  <a:pt x="59" y="205"/>
                </a:lnTo>
                <a:lnTo>
                  <a:pt x="59" y="205"/>
                </a:lnTo>
                <a:lnTo>
                  <a:pt x="59" y="205"/>
                </a:lnTo>
                <a:lnTo>
                  <a:pt x="59" y="205"/>
                </a:lnTo>
                <a:lnTo>
                  <a:pt x="58" y="205"/>
                </a:lnTo>
                <a:lnTo>
                  <a:pt x="58" y="205"/>
                </a:lnTo>
                <a:lnTo>
                  <a:pt x="58" y="205"/>
                </a:lnTo>
                <a:lnTo>
                  <a:pt x="58" y="205"/>
                </a:lnTo>
                <a:lnTo>
                  <a:pt x="58" y="205"/>
                </a:lnTo>
                <a:lnTo>
                  <a:pt x="57" y="206"/>
                </a:lnTo>
                <a:lnTo>
                  <a:pt x="57" y="206"/>
                </a:lnTo>
                <a:lnTo>
                  <a:pt x="57" y="206"/>
                </a:lnTo>
                <a:lnTo>
                  <a:pt x="57" y="206"/>
                </a:lnTo>
                <a:lnTo>
                  <a:pt x="57" y="206"/>
                </a:lnTo>
                <a:lnTo>
                  <a:pt x="57" y="206"/>
                </a:lnTo>
                <a:lnTo>
                  <a:pt x="55" y="206"/>
                </a:lnTo>
                <a:lnTo>
                  <a:pt x="55" y="206"/>
                </a:lnTo>
                <a:lnTo>
                  <a:pt x="55" y="206"/>
                </a:lnTo>
                <a:lnTo>
                  <a:pt x="55" y="206"/>
                </a:lnTo>
                <a:lnTo>
                  <a:pt x="55" y="206"/>
                </a:lnTo>
                <a:lnTo>
                  <a:pt x="55" y="208"/>
                </a:lnTo>
                <a:lnTo>
                  <a:pt x="54" y="208"/>
                </a:lnTo>
                <a:lnTo>
                  <a:pt x="54" y="208"/>
                </a:lnTo>
                <a:lnTo>
                  <a:pt x="54" y="208"/>
                </a:lnTo>
                <a:lnTo>
                  <a:pt x="54" y="208"/>
                </a:lnTo>
                <a:lnTo>
                  <a:pt x="54" y="208"/>
                </a:lnTo>
                <a:lnTo>
                  <a:pt x="53" y="208"/>
                </a:lnTo>
                <a:lnTo>
                  <a:pt x="53" y="208"/>
                </a:lnTo>
                <a:lnTo>
                  <a:pt x="53" y="208"/>
                </a:lnTo>
                <a:lnTo>
                  <a:pt x="53" y="208"/>
                </a:lnTo>
                <a:lnTo>
                  <a:pt x="53" y="208"/>
                </a:lnTo>
                <a:lnTo>
                  <a:pt x="52" y="208"/>
                </a:lnTo>
                <a:lnTo>
                  <a:pt x="52" y="209"/>
                </a:lnTo>
                <a:lnTo>
                  <a:pt x="52" y="209"/>
                </a:lnTo>
                <a:lnTo>
                  <a:pt x="52" y="209"/>
                </a:lnTo>
                <a:lnTo>
                  <a:pt x="52" y="209"/>
                </a:lnTo>
                <a:lnTo>
                  <a:pt x="52" y="209"/>
                </a:lnTo>
                <a:lnTo>
                  <a:pt x="51" y="209"/>
                </a:lnTo>
                <a:lnTo>
                  <a:pt x="51" y="209"/>
                </a:lnTo>
                <a:lnTo>
                  <a:pt x="51" y="209"/>
                </a:lnTo>
                <a:lnTo>
                  <a:pt x="51" y="209"/>
                </a:lnTo>
                <a:lnTo>
                  <a:pt x="51" y="209"/>
                </a:lnTo>
                <a:lnTo>
                  <a:pt x="50" y="209"/>
                </a:lnTo>
                <a:lnTo>
                  <a:pt x="50" y="209"/>
                </a:lnTo>
                <a:lnTo>
                  <a:pt x="50" y="209"/>
                </a:lnTo>
                <a:lnTo>
                  <a:pt x="50" y="209"/>
                </a:lnTo>
                <a:lnTo>
                  <a:pt x="50" y="209"/>
                </a:lnTo>
                <a:lnTo>
                  <a:pt x="49" y="210"/>
                </a:lnTo>
                <a:lnTo>
                  <a:pt x="49" y="210"/>
                </a:lnTo>
                <a:lnTo>
                  <a:pt x="49" y="210"/>
                </a:lnTo>
                <a:lnTo>
                  <a:pt x="49" y="210"/>
                </a:lnTo>
                <a:lnTo>
                  <a:pt x="49" y="210"/>
                </a:lnTo>
                <a:lnTo>
                  <a:pt x="48" y="210"/>
                </a:lnTo>
                <a:lnTo>
                  <a:pt x="48" y="210"/>
                </a:lnTo>
                <a:lnTo>
                  <a:pt x="48" y="210"/>
                </a:lnTo>
                <a:lnTo>
                  <a:pt x="48" y="210"/>
                </a:lnTo>
                <a:lnTo>
                  <a:pt x="48" y="210"/>
                </a:lnTo>
                <a:lnTo>
                  <a:pt x="46" y="210"/>
                </a:lnTo>
                <a:lnTo>
                  <a:pt x="46" y="210"/>
                </a:lnTo>
                <a:lnTo>
                  <a:pt x="46" y="210"/>
                </a:lnTo>
                <a:lnTo>
                  <a:pt x="46" y="210"/>
                </a:lnTo>
                <a:lnTo>
                  <a:pt x="46" y="210"/>
                </a:lnTo>
                <a:lnTo>
                  <a:pt x="45" y="210"/>
                </a:lnTo>
                <a:lnTo>
                  <a:pt x="45" y="210"/>
                </a:lnTo>
                <a:lnTo>
                  <a:pt x="45" y="210"/>
                </a:lnTo>
                <a:lnTo>
                  <a:pt x="45" y="210"/>
                </a:lnTo>
                <a:lnTo>
                  <a:pt x="45" y="210"/>
                </a:lnTo>
                <a:lnTo>
                  <a:pt x="44" y="210"/>
                </a:lnTo>
                <a:lnTo>
                  <a:pt x="44" y="211"/>
                </a:lnTo>
                <a:lnTo>
                  <a:pt x="44" y="211"/>
                </a:lnTo>
                <a:lnTo>
                  <a:pt x="44" y="211"/>
                </a:lnTo>
                <a:lnTo>
                  <a:pt x="44" y="211"/>
                </a:lnTo>
                <a:lnTo>
                  <a:pt x="43" y="211"/>
                </a:lnTo>
                <a:lnTo>
                  <a:pt x="43" y="211"/>
                </a:lnTo>
                <a:lnTo>
                  <a:pt x="43" y="211"/>
                </a:lnTo>
                <a:lnTo>
                  <a:pt x="43" y="211"/>
                </a:lnTo>
                <a:lnTo>
                  <a:pt x="42" y="211"/>
                </a:lnTo>
                <a:lnTo>
                  <a:pt x="42" y="211"/>
                </a:lnTo>
                <a:lnTo>
                  <a:pt x="42" y="211"/>
                </a:lnTo>
                <a:lnTo>
                  <a:pt x="42" y="211"/>
                </a:lnTo>
                <a:lnTo>
                  <a:pt x="42" y="211"/>
                </a:lnTo>
                <a:lnTo>
                  <a:pt x="41" y="211"/>
                </a:lnTo>
                <a:lnTo>
                  <a:pt x="41" y="211"/>
                </a:lnTo>
                <a:lnTo>
                  <a:pt x="41" y="211"/>
                </a:lnTo>
                <a:lnTo>
                  <a:pt x="41" y="211"/>
                </a:lnTo>
                <a:lnTo>
                  <a:pt x="41" y="211"/>
                </a:lnTo>
                <a:lnTo>
                  <a:pt x="40" y="211"/>
                </a:lnTo>
                <a:lnTo>
                  <a:pt x="40" y="211"/>
                </a:lnTo>
                <a:lnTo>
                  <a:pt x="40" y="211"/>
                </a:lnTo>
                <a:lnTo>
                  <a:pt x="40" y="211"/>
                </a:lnTo>
                <a:lnTo>
                  <a:pt x="40" y="211"/>
                </a:lnTo>
                <a:lnTo>
                  <a:pt x="39" y="211"/>
                </a:lnTo>
                <a:lnTo>
                  <a:pt x="39" y="211"/>
                </a:lnTo>
                <a:lnTo>
                  <a:pt x="39" y="211"/>
                </a:lnTo>
                <a:lnTo>
                  <a:pt x="39" y="211"/>
                </a:lnTo>
                <a:lnTo>
                  <a:pt x="37" y="211"/>
                </a:lnTo>
                <a:lnTo>
                  <a:pt x="37" y="211"/>
                </a:lnTo>
                <a:lnTo>
                  <a:pt x="37" y="211"/>
                </a:lnTo>
                <a:lnTo>
                  <a:pt x="37" y="211"/>
                </a:lnTo>
                <a:lnTo>
                  <a:pt x="37" y="211"/>
                </a:lnTo>
                <a:lnTo>
                  <a:pt x="36" y="211"/>
                </a:lnTo>
                <a:lnTo>
                  <a:pt x="36" y="211"/>
                </a:lnTo>
                <a:lnTo>
                  <a:pt x="36" y="211"/>
                </a:lnTo>
                <a:lnTo>
                  <a:pt x="36" y="211"/>
                </a:lnTo>
                <a:lnTo>
                  <a:pt x="36" y="211"/>
                </a:lnTo>
                <a:lnTo>
                  <a:pt x="35" y="211"/>
                </a:lnTo>
                <a:lnTo>
                  <a:pt x="35" y="211"/>
                </a:lnTo>
                <a:lnTo>
                  <a:pt x="35" y="211"/>
                </a:lnTo>
                <a:lnTo>
                  <a:pt x="35" y="211"/>
                </a:lnTo>
                <a:lnTo>
                  <a:pt x="34" y="211"/>
                </a:lnTo>
                <a:lnTo>
                  <a:pt x="34" y="211"/>
                </a:lnTo>
                <a:lnTo>
                  <a:pt x="34" y="211"/>
                </a:lnTo>
                <a:lnTo>
                  <a:pt x="34" y="211"/>
                </a:lnTo>
                <a:lnTo>
                  <a:pt x="34" y="211"/>
                </a:lnTo>
                <a:lnTo>
                  <a:pt x="33" y="211"/>
                </a:lnTo>
                <a:lnTo>
                  <a:pt x="33" y="211"/>
                </a:lnTo>
                <a:lnTo>
                  <a:pt x="33" y="211"/>
                </a:lnTo>
                <a:lnTo>
                  <a:pt x="33" y="211"/>
                </a:lnTo>
                <a:lnTo>
                  <a:pt x="33" y="211"/>
                </a:lnTo>
                <a:lnTo>
                  <a:pt x="32" y="210"/>
                </a:lnTo>
                <a:lnTo>
                  <a:pt x="32" y="210"/>
                </a:lnTo>
                <a:lnTo>
                  <a:pt x="32" y="210"/>
                </a:lnTo>
                <a:lnTo>
                  <a:pt x="32" y="210"/>
                </a:lnTo>
                <a:lnTo>
                  <a:pt x="32" y="210"/>
                </a:lnTo>
                <a:lnTo>
                  <a:pt x="31" y="210"/>
                </a:lnTo>
                <a:lnTo>
                  <a:pt x="31" y="210"/>
                </a:lnTo>
                <a:lnTo>
                  <a:pt x="31" y="210"/>
                </a:lnTo>
                <a:lnTo>
                  <a:pt x="31" y="210"/>
                </a:lnTo>
                <a:lnTo>
                  <a:pt x="31" y="210"/>
                </a:lnTo>
                <a:lnTo>
                  <a:pt x="30" y="210"/>
                </a:lnTo>
                <a:lnTo>
                  <a:pt x="30" y="210"/>
                </a:lnTo>
                <a:lnTo>
                  <a:pt x="30" y="210"/>
                </a:lnTo>
                <a:lnTo>
                  <a:pt x="30" y="210"/>
                </a:lnTo>
                <a:lnTo>
                  <a:pt x="30" y="210"/>
                </a:lnTo>
                <a:lnTo>
                  <a:pt x="28" y="210"/>
                </a:lnTo>
                <a:lnTo>
                  <a:pt x="28" y="210"/>
                </a:lnTo>
                <a:lnTo>
                  <a:pt x="28" y="210"/>
                </a:lnTo>
                <a:lnTo>
                  <a:pt x="28" y="210"/>
                </a:lnTo>
                <a:lnTo>
                  <a:pt x="28" y="210"/>
                </a:lnTo>
                <a:lnTo>
                  <a:pt x="27" y="210"/>
                </a:lnTo>
                <a:lnTo>
                  <a:pt x="27" y="209"/>
                </a:lnTo>
                <a:lnTo>
                  <a:pt x="27" y="209"/>
                </a:lnTo>
                <a:lnTo>
                  <a:pt x="27" y="209"/>
                </a:lnTo>
                <a:lnTo>
                  <a:pt x="27" y="209"/>
                </a:lnTo>
                <a:lnTo>
                  <a:pt x="26" y="209"/>
                </a:lnTo>
                <a:lnTo>
                  <a:pt x="26" y="209"/>
                </a:lnTo>
                <a:lnTo>
                  <a:pt x="26" y="209"/>
                </a:lnTo>
                <a:lnTo>
                  <a:pt x="26" y="209"/>
                </a:lnTo>
                <a:lnTo>
                  <a:pt x="26" y="209"/>
                </a:lnTo>
                <a:lnTo>
                  <a:pt x="25" y="209"/>
                </a:lnTo>
                <a:lnTo>
                  <a:pt x="25" y="209"/>
                </a:lnTo>
                <a:lnTo>
                  <a:pt x="25" y="209"/>
                </a:lnTo>
                <a:lnTo>
                  <a:pt x="25" y="209"/>
                </a:lnTo>
                <a:lnTo>
                  <a:pt x="25" y="209"/>
                </a:lnTo>
                <a:lnTo>
                  <a:pt x="24" y="209"/>
                </a:lnTo>
                <a:lnTo>
                  <a:pt x="24" y="208"/>
                </a:lnTo>
                <a:lnTo>
                  <a:pt x="24" y="208"/>
                </a:lnTo>
                <a:lnTo>
                  <a:pt x="24" y="208"/>
                </a:lnTo>
                <a:lnTo>
                  <a:pt x="24" y="208"/>
                </a:lnTo>
                <a:lnTo>
                  <a:pt x="24" y="208"/>
                </a:lnTo>
                <a:lnTo>
                  <a:pt x="23" y="208"/>
                </a:lnTo>
                <a:lnTo>
                  <a:pt x="23" y="208"/>
                </a:lnTo>
                <a:lnTo>
                  <a:pt x="23" y="208"/>
                </a:lnTo>
                <a:lnTo>
                  <a:pt x="23" y="208"/>
                </a:lnTo>
                <a:lnTo>
                  <a:pt x="23" y="208"/>
                </a:lnTo>
                <a:lnTo>
                  <a:pt x="22" y="208"/>
                </a:lnTo>
                <a:lnTo>
                  <a:pt x="22" y="208"/>
                </a:lnTo>
                <a:lnTo>
                  <a:pt x="22" y="206"/>
                </a:lnTo>
                <a:lnTo>
                  <a:pt x="22" y="206"/>
                </a:lnTo>
                <a:lnTo>
                  <a:pt x="22" y="206"/>
                </a:lnTo>
                <a:lnTo>
                  <a:pt x="22" y="206"/>
                </a:lnTo>
                <a:lnTo>
                  <a:pt x="21" y="206"/>
                </a:lnTo>
                <a:lnTo>
                  <a:pt x="21" y="206"/>
                </a:lnTo>
                <a:lnTo>
                  <a:pt x="21" y="206"/>
                </a:lnTo>
                <a:lnTo>
                  <a:pt x="21" y="206"/>
                </a:lnTo>
                <a:lnTo>
                  <a:pt x="21" y="206"/>
                </a:lnTo>
                <a:lnTo>
                  <a:pt x="19" y="206"/>
                </a:lnTo>
                <a:lnTo>
                  <a:pt x="19" y="206"/>
                </a:lnTo>
                <a:lnTo>
                  <a:pt x="19" y="205"/>
                </a:lnTo>
                <a:lnTo>
                  <a:pt x="19" y="205"/>
                </a:lnTo>
                <a:lnTo>
                  <a:pt x="19" y="205"/>
                </a:lnTo>
                <a:lnTo>
                  <a:pt x="19" y="205"/>
                </a:lnTo>
                <a:lnTo>
                  <a:pt x="18" y="205"/>
                </a:lnTo>
                <a:lnTo>
                  <a:pt x="18" y="205"/>
                </a:lnTo>
                <a:lnTo>
                  <a:pt x="18" y="205"/>
                </a:lnTo>
                <a:lnTo>
                  <a:pt x="18" y="205"/>
                </a:lnTo>
                <a:lnTo>
                  <a:pt x="18" y="205"/>
                </a:lnTo>
                <a:lnTo>
                  <a:pt x="18" y="204"/>
                </a:lnTo>
                <a:lnTo>
                  <a:pt x="17" y="204"/>
                </a:lnTo>
                <a:lnTo>
                  <a:pt x="17" y="204"/>
                </a:lnTo>
                <a:lnTo>
                  <a:pt x="17" y="204"/>
                </a:lnTo>
                <a:lnTo>
                  <a:pt x="17" y="204"/>
                </a:lnTo>
                <a:lnTo>
                  <a:pt x="17" y="204"/>
                </a:lnTo>
                <a:lnTo>
                  <a:pt x="17" y="204"/>
                </a:lnTo>
                <a:lnTo>
                  <a:pt x="16" y="204"/>
                </a:lnTo>
                <a:lnTo>
                  <a:pt x="16" y="204"/>
                </a:lnTo>
                <a:lnTo>
                  <a:pt x="16" y="203"/>
                </a:lnTo>
                <a:lnTo>
                  <a:pt x="16" y="203"/>
                </a:lnTo>
                <a:lnTo>
                  <a:pt x="16" y="203"/>
                </a:lnTo>
                <a:lnTo>
                  <a:pt x="16" y="203"/>
                </a:lnTo>
                <a:lnTo>
                  <a:pt x="15" y="203"/>
                </a:lnTo>
                <a:lnTo>
                  <a:pt x="15" y="203"/>
                </a:lnTo>
                <a:lnTo>
                  <a:pt x="15" y="203"/>
                </a:lnTo>
                <a:lnTo>
                  <a:pt x="15" y="203"/>
                </a:lnTo>
                <a:lnTo>
                  <a:pt x="15" y="202"/>
                </a:lnTo>
                <a:lnTo>
                  <a:pt x="15" y="202"/>
                </a:lnTo>
                <a:lnTo>
                  <a:pt x="14" y="202"/>
                </a:lnTo>
                <a:lnTo>
                  <a:pt x="14" y="202"/>
                </a:lnTo>
                <a:lnTo>
                  <a:pt x="14" y="202"/>
                </a:lnTo>
                <a:lnTo>
                  <a:pt x="14" y="202"/>
                </a:lnTo>
                <a:lnTo>
                  <a:pt x="14" y="202"/>
                </a:lnTo>
                <a:lnTo>
                  <a:pt x="14" y="202"/>
                </a:lnTo>
                <a:lnTo>
                  <a:pt x="14" y="201"/>
                </a:lnTo>
                <a:lnTo>
                  <a:pt x="13" y="201"/>
                </a:lnTo>
                <a:lnTo>
                  <a:pt x="13" y="201"/>
                </a:lnTo>
                <a:lnTo>
                  <a:pt x="13" y="201"/>
                </a:lnTo>
                <a:lnTo>
                  <a:pt x="13" y="201"/>
                </a:lnTo>
                <a:lnTo>
                  <a:pt x="13" y="201"/>
                </a:lnTo>
                <a:lnTo>
                  <a:pt x="13" y="201"/>
                </a:lnTo>
                <a:lnTo>
                  <a:pt x="13" y="200"/>
                </a:lnTo>
                <a:lnTo>
                  <a:pt x="12" y="200"/>
                </a:lnTo>
                <a:lnTo>
                  <a:pt x="12" y="200"/>
                </a:lnTo>
                <a:lnTo>
                  <a:pt x="12" y="200"/>
                </a:lnTo>
                <a:lnTo>
                  <a:pt x="12" y="200"/>
                </a:lnTo>
                <a:lnTo>
                  <a:pt x="12" y="200"/>
                </a:lnTo>
                <a:lnTo>
                  <a:pt x="12" y="200"/>
                </a:lnTo>
                <a:lnTo>
                  <a:pt x="12" y="199"/>
                </a:lnTo>
                <a:lnTo>
                  <a:pt x="10" y="199"/>
                </a:lnTo>
                <a:lnTo>
                  <a:pt x="10" y="199"/>
                </a:lnTo>
                <a:lnTo>
                  <a:pt x="10" y="199"/>
                </a:lnTo>
                <a:lnTo>
                  <a:pt x="10" y="199"/>
                </a:lnTo>
                <a:lnTo>
                  <a:pt x="10" y="199"/>
                </a:lnTo>
                <a:lnTo>
                  <a:pt x="10" y="199"/>
                </a:lnTo>
                <a:lnTo>
                  <a:pt x="10" y="197"/>
                </a:lnTo>
                <a:lnTo>
                  <a:pt x="10" y="197"/>
                </a:lnTo>
                <a:lnTo>
                  <a:pt x="9" y="197"/>
                </a:lnTo>
                <a:lnTo>
                  <a:pt x="9" y="197"/>
                </a:lnTo>
                <a:lnTo>
                  <a:pt x="9" y="197"/>
                </a:lnTo>
                <a:lnTo>
                  <a:pt x="9" y="197"/>
                </a:lnTo>
                <a:lnTo>
                  <a:pt x="9" y="196"/>
                </a:lnTo>
                <a:lnTo>
                  <a:pt x="9" y="196"/>
                </a:lnTo>
                <a:lnTo>
                  <a:pt x="9" y="196"/>
                </a:lnTo>
                <a:lnTo>
                  <a:pt x="8" y="196"/>
                </a:lnTo>
                <a:lnTo>
                  <a:pt x="8" y="196"/>
                </a:lnTo>
                <a:lnTo>
                  <a:pt x="8" y="196"/>
                </a:lnTo>
                <a:lnTo>
                  <a:pt x="8" y="196"/>
                </a:lnTo>
                <a:lnTo>
                  <a:pt x="8" y="195"/>
                </a:lnTo>
                <a:lnTo>
                  <a:pt x="8" y="195"/>
                </a:lnTo>
                <a:lnTo>
                  <a:pt x="8" y="195"/>
                </a:lnTo>
                <a:lnTo>
                  <a:pt x="8" y="195"/>
                </a:lnTo>
                <a:lnTo>
                  <a:pt x="8" y="195"/>
                </a:lnTo>
                <a:lnTo>
                  <a:pt x="7" y="195"/>
                </a:lnTo>
                <a:lnTo>
                  <a:pt x="7" y="194"/>
                </a:lnTo>
                <a:lnTo>
                  <a:pt x="7" y="194"/>
                </a:lnTo>
                <a:lnTo>
                  <a:pt x="7" y="194"/>
                </a:lnTo>
                <a:lnTo>
                  <a:pt x="7" y="194"/>
                </a:lnTo>
                <a:lnTo>
                  <a:pt x="7" y="194"/>
                </a:lnTo>
                <a:lnTo>
                  <a:pt x="7" y="194"/>
                </a:lnTo>
                <a:lnTo>
                  <a:pt x="7" y="193"/>
                </a:lnTo>
                <a:lnTo>
                  <a:pt x="7" y="193"/>
                </a:lnTo>
                <a:lnTo>
                  <a:pt x="6" y="193"/>
                </a:lnTo>
                <a:lnTo>
                  <a:pt x="6" y="193"/>
                </a:lnTo>
                <a:lnTo>
                  <a:pt x="6" y="193"/>
                </a:lnTo>
                <a:lnTo>
                  <a:pt x="6" y="193"/>
                </a:lnTo>
                <a:lnTo>
                  <a:pt x="6" y="192"/>
                </a:lnTo>
                <a:lnTo>
                  <a:pt x="6" y="192"/>
                </a:lnTo>
                <a:lnTo>
                  <a:pt x="6" y="192"/>
                </a:lnTo>
                <a:lnTo>
                  <a:pt x="6" y="192"/>
                </a:lnTo>
                <a:lnTo>
                  <a:pt x="6" y="192"/>
                </a:lnTo>
                <a:lnTo>
                  <a:pt x="6" y="191"/>
                </a:lnTo>
                <a:lnTo>
                  <a:pt x="5" y="191"/>
                </a:lnTo>
                <a:lnTo>
                  <a:pt x="5" y="191"/>
                </a:lnTo>
                <a:lnTo>
                  <a:pt x="5" y="191"/>
                </a:lnTo>
                <a:lnTo>
                  <a:pt x="5" y="191"/>
                </a:lnTo>
                <a:lnTo>
                  <a:pt x="5" y="191"/>
                </a:lnTo>
                <a:lnTo>
                  <a:pt x="5" y="190"/>
                </a:lnTo>
                <a:lnTo>
                  <a:pt x="5" y="190"/>
                </a:lnTo>
                <a:lnTo>
                  <a:pt x="5" y="190"/>
                </a:lnTo>
                <a:lnTo>
                  <a:pt x="5" y="190"/>
                </a:lnTo>
                <a:lnTo>
                  <a:pt x="5" y="190"/>
                </a:lnTo>
                <a:lnTo>
                  <a:pt x="5" y="188"/>
                </a:lnTo>
                <a:lnTo>
                  <a:pt x="4" y="188"/>
                </a:lnTo>
                <a:lnTo>
                  <a:pt x="4" y="188"/>
                </a:lnTo>
                <a:lnTo>
                  <a:pt x="4" y="188"/>
                </a:lnTo>
                <a:lnTo>
                  <a:pt x="4" y="188"/>
                </a:lnTo>
                <a:lnTo>
                  <a:pt x="4" y="188"/>
                </a:lnTo>
                <a:lnTo>
                  <a:pt x="4" y="187"/>
                </a:lnTo>
                <a:lnTo>
                  <a:pt x="4" y="187"/>
                </a:lnTo>
                <a:lnTo>
                  <a:pt x="4" y="187"/>
                </a:lnTo>
                <a:lnTo>
                  <a:pt x="4" y="187"/>
                </a:lnTo>
                <a:lnTo>
                  <a:pt x="4" y="187"/>
                </a:lnTo>
                <a:lnTo>
                  <a:pt x="4" y="186"/>
                </a:lnTo>
                <a:lnTo>
                  <a:pt x="4" y="186"/>
                </a:lnTo>
                <a:lnTo>
                  <a:pt x="4" y="186"/>
                </a:lnTo>
                <a:lnTo>
                  <a:pt x="3" y="186"/>
                </a:lnTo>
                <a:lnTo>
                  <a:pt x="3" y="186"/>
                </a:lnTo>
                <a:lnTo>
                  <a:pt x="3" y="185"/>
                </a:lnTo>
                <a:lnTo>
                  <a:pt x="3" y="185"/>
                </a:lnTo>
                <a:lnTo>
                  <a:pt x="3" y="185"/>
                </a:lnTo>
                <a:lnTo>
                  <a:pt x="3" y="185"/>
                </a:lnTo>
                <a:lnTo>
                  <a:pt x="3" y="185"/>
                </a:lnTo>
                <a:lnTo>
                  <a:pt x="3" y="184"/>
                </a:lnTo>
                <a:lnTo>
                  <a:pt x="3" y="184"/>
                </a:lnTo>
                <a:lnTo>
                  <a:pt x="3" y="184"/>
                </a:lnTo>
                <a:lnTo>
                  <a:pt x="3" y="184"/>
                </a:lnTo>
                <a:lnTo>
                  <a:pt x="3" y="184"/>
                </a:lnTo>
                <a:lnTo>
                  <a:pt x="3" y="183"/>
                </a:lnTo>
                <a:lnTo>
                  <a:pt x="3" y="183"/>
                </a:lnTo>
                <a:lnTo>
                  <a:pt x="3" y="183"/>
                </a:lnTo>
                <a:lnTo>
                  <a:pt x="3" y="183"/>
                </a:lnTo>
                <a:lnTo>
                  <a:pt x="1" y="183"/>
                </a:lnTo>
                <a:lnTo>
                  <a:pt x="1" y="182"/>
                </a:lnTo>
                <a:lnTo>
                  <a:pt x="1" y="182"/>
                </a:lnTo>
                <a:lnTo>
                  <a:pt x="1" y="182"/>
                </a:lnTo>
                <a:lnTo>
                  <a:pt x="1" y="182"/>
                </a:lnTo>
                <a:lnTo>
                  <a:pt x="1" y="182"/>
                </a:lnTo>
                <a:lnTo>
                  <a:pt x="1" y="181"/>
                </a:lnTo>
                <a:lnTo>
                  <a:pt x="1" y="181"/>
                </a:lnTo>
                <a:lnTo>
                  <a:pt x="1" y="181"/>
                </a:lnTo>
                <a:lnTo>
                  <a:pt x="1" y="181"/>
                </a:lnTo>
                <a:lnTo>
                  <a:pt x="1" y="181"/>
                </a:lnTo>
                <a:lnTo>
                  <a:pt x="1" y="179"/>
                </a:lnTo>
                <a:lnTo>
                  <a:pt x="1" y="179"/>
                </a:lnTo>
                <a:lnTo>
                  <a:pt x="1" y="179"/>
                </a:lnTo>
                <a:lnTo>
                  <a:pt x="1" y="179"/>
                </a:lnTo>
                <a:lnTo>
                  <a:pt x="1" y="179"/>
                </a:lnTo>
                <a:lnTo>
                  <a:pt x="1" y="178"/>
                </a:lnTo>
                <a:lnTo>
                  <a:pt x="1" y="178"/>
                </a:lnTo>
                <a:lnTo>
                  <a:pt x="1" y="178"/>
                </a:lnTo>
                <a:lnTo>
                  <a:pt x="1" y="178"/>
                </a:lnTo>
                <a:lnTo>
                  <a:pt x="1" y="178"/>
                </a:lnTo>
                <a:lnTo>
                  <a:pt x="1" y="177"/>
                </a:lnTo>
                <a:lnTo>
                  <a:pt x="1" y="177"/>
                </a:lnTo>
                <a:lnTo>
                  <a:pt x="1" y="177"/>
                </a:lnTo>
                <a:lnTo>
                  <a:pt x="1" y="177"/>
                </a:lnTo>
                <a:lnTo>
                  <a:pt x="1" y="177"/>
                </a:lnTo>
                <a:lnTo>
                  <a:pt x="1" y="176"/>
                </a:lnTo>
                <a:lnTo>
                  <a:pt x="1" y="176"/>
                </a:lnTo>
                <a:lnTo>
                  <a:pt x="1" y="176"/>
                </a:lnTo>
                <a:lnTo>
                  <a:pt x="1" y="176"/>
                </a:lnTo>
                <a:lnTo>
                  <a:pt x="1" y="175"/>
                </a:lnTo>
                <a:lnTo>
                  <a:pt x="1" y="175"/>
                </a:lnTo>
                <a:lnTo>
                  <a:pt x="0" y="175"/>
                </a:lnTo>
                <a:lnTo>
                  <a:pt x="0" y="175"/>
                </a:lnTo>
                <a:lnTo>
                  <a:pt x="0" y="175"/>
                </a:lnTo>
                <a:lnTo>
                  <a:pt x="0" y="174"/>
                </a:lnTo>
                <a:lnTo>
                  <a:pt x="0" y="174"/>
                </a:lnTo>
                <a:lnTo>
                  <a:pt x="0" y="174"/>
                </a:lnTo>
                <a:lnTo>
                  <a:pt x="0" y="174"/>
                </a:lnTo>
                <a:lnTo>
                  <a:pt x="0" y="174"/>
                </a:lnTo>
                <a:lnTo>
                  <a:pt x="0" y="173"/>
                </a:lnTo>
                <a:lnTo>
                  <a:pt x="0" y="173"/>
                </a:lnTo>
                <a:lnTo>
                  <a:pt x="0" y="173"/>
                </a:lnTo>
                <a:lnTo>
                  <a:pt x="0" y="173"/>
                </a:lnTo>
                <a:lnTo>
                  <a:pt x="0" y="171"/>
                </a:lnTo>
                <a:lnTo>
                  <a:pt x="0" y="171"/>
                </a:lnTo>
                <a:lnTo>
                  <a:pt x="0" y="171"/>
                </a:lnTo>
                <a:lnTo>
                  <a:pt x="1" y="171"/>
                </a:lnTo>
                <a:lnTo>
                  <a:pt x="1" y="171"/>
                </a:lnTo>
                <a:lnTo>
                  <a:pt x="1" y="170"/>
                </a:lnTo>
                <a:lnTo>
                  <a:pt x="1" y="170"/>
                </a:lnTo>
                <a:lnTo>
                  <a:pt x="1" y="170"/>
                </a:lnTo>
                <a:lnTo>
                  <a:pt x="1" y="170"/>
                </a:lnTo>
                <a:lnTo>
                  <a:pt x="1" y="170"/>
                </a:lnTo>
                <a:lnTo>
                  <a:pt x="1" y="169"/>
                </a:lnTo>
                <a:lnTo>
                  <a:pt x="1" y="169"/>
                </a:lnTo>
                <a:lnTo>
                  <a:pt x="1" y="169"/>
                </a:lnTo>
                <a:lnTo>
                  <a:pt x="1" y="169"/>
                </a:lnTo>
                <a:lnTo>
                  <a:pt x="1" y="168"/>
                </a:lnTo>
                <a:lnTo>
                  <a:pt x="1" y="168"/>
                </a:lnTo>
                <a:lnTo>
                  <a:pt x="1" y="168"/>
                </a:lnTo>
                <a:lnTo>
                  <a:pt x="1" y="168"/>
                </a:lnTo>
                <a:lnTo>
                  <a:pt x="1" y="168"/>
                </a:lnTo>
                <a:lnTo>
                  <a:pt x="1" y="167"/>
                </a:lnTo>
                <a:lnTo>
                  <a:pt x="1" y="167"/>
                </a:lnTo>
                <a:lnTo>
                  <a:pt x="1" y="167"/>
                </a:lnTo>
                <a:lnTo>
                  <a:pt x="1" y="167"/>
                </a:lnTo>
                <a:lnTo>
                  <a:pt x="1" y="167"/>
                </a:lnTo>
                <a:lnTo>
                  <a:pt x="1" y="166"/>
                </a:lnTo>
                <a:lnTo>
                  <a:pt x="1" y="166"/>
                </a:lnTo>
                <a:lnTo>
                  <a:pt x="1" y="166"/>
                </a:lnTo>
                <a:lnTo>
                  <a:pt x="1" y="166"/>
                </a:lnTo>
                <a:lnTo>
                  <a:pt x="1" y="166"/>
                </a:lnTo>
                <a:lnTo>
                  <a:pt x="1" y="165"/>
                </a:lnTo>
                <a:lnTo>
                  <a:pt x="1" y="165"/>
                </a:lnTo>
                <a:lnTo>
                  <a:pt x="1" y="165"/>
                </a:lnTo>
                <a:lnTo>
                  <a:pt x="1" y="165"/>
                </a:lnTo>
                <a:lnTo>
                  <a:pt x="1" y="165"/>
                </a:lnTo>
                <a:lnTo>
                  <a:pt x="1" y="164"/>
                </a:lnTo>
                <a:lnTo>
                  <a:pt x="3" y="164"/>
                </a:lnTo>
                <a:lnTo>
                  <a:pt x="3" y="164"/>
                </a:lnTo>
                <a:lnTo>
                  <a:pt x="3" y="164"/>
                </a:lnTo>
                <a:lnTo>
                  <a:pt x="3" y="164"/>
                </a:lnTo>
                <a:lnTo>
                  <a:pt x="3" y="162"/>
                </a:lnTo>
                <a:lnTo>
                  <a:pt x="3" y="162"/>
                </a:lnTo>
                <a:lnTo>
                  <a:pt x="3" y="162"/>
                </a:lnTo>
                <a:lnTo>
                  <a:pt x="3" y="162"/>
                </a:lnTo>
                <a:lnTo>
                  <a:pt x="3" y="162"/>
                </a:lnTo>
                <a:lnTo>
                  <a:pt x="3" y="161"/>
                </a:lnTo>
                <a:lnTo>
                  <a:pt x="3" y="161"/>
                </a:lnTo>
                <a:lnTo>
                  <a:pt x="3" y="161"/>
                </a:lnTo>
                <a:lnTo>
                  <a:pt x="3" y="161"/>
                </a:lnTo>
                <a:lnTo>
                  <a:pt x="3" y="161"/>
                </a:lnTo>
                <a:lnTo>
                  <a:pt x="3" y="160"/>
                </a:lnTo>
                <a:lnTo>
                  <a:pt x="3" y="160"/>
                </a:lnTo>
                <a:lnTo>
                  <a:pt x="4" y="160"/>
                </a:lnTo>
                <a:lnTo>
                  <a:pt x="4" y="160"/>
                </a:lnTo>
                <a:lnTo>
                  <a:pt x="4" y="160"/>
                </a:lnTo>
                <a:lnTo>
                  <a:pt x="4" y="159"/>
                </a:lnTo>
                <a:lnTo>
                  <a:pt x="4" y="159"/>
                </a:lnTo>
                <a:lnTo>
                  <a:pt x="4" y="159"/>
                </a:lnTo>
                <a:lnTo>
                  <a:pt x="4" y="159"/>
                </a:lnTo>
                <a:lnTo>
                  <a:pt x="4" y="159"/>
                </a:lnTo>
                <a:lnTo>
                  <a:pt x="4" y="159"/>
                </a:lnTo>
                <a:lnTo>
                  <a:pt x="4" y="158"/>
                </a:lnTo>
                <a:lnTo>
                  <a:pt x="4" y="158"/>
                </a:lnTo>
                <a:lnTo>
                  <a:pt x="4" y="158"/>
                </a:lnTo>
                <a:lnTo>
                  <a:pt x="4" y="158"/>
                </a:lnTo>
                <a:lnTo>
                  <a:pt x="5" y="158"/>
                </a:lnTo>
                <a:lnTo>
                  <a:pt x="5" y="157"/>
                </a:lnTo>
                <a:lnTo>
                  <a:pt x="5" y="157"/>
                </a:lnTo>
                <a:lnTo>
                  <a:pt x="5" y="157"/>
                </a:lnTo>
                <a:lnTo>
                  <a:pt x="5" y="157"/>
                </a:lnTo>
                <a:lnTo>
                  <a:pt x="5" y="157"/>
                </a:lnTo>
                <a:lnTo>
                  <a:pt x="5" y="157"/>
                </a:lnTo>
                <a:lnTo>
                  <a:pt x="5" y="156"/>
                </a:lnTo>
                <a:lnTo>
                  <a:pt x="5" y="156"/>
                </a:lnTo>
                <a:lnTo>
                  <a:pt x="5" y="156"/>
                </a:lnTo>
                <a:lnTo>
                  <a:pt x="5" y="156"/>
                </a:lnTo>
                <a:lnTo>
                  <a:pt x="6" y="156"/>
                </a:lnTo>
                <a:lnTo>
                  <a:pt x="6" y="155"/>
                </a:lnTo>
                <a:lnTo>
                  <a:pt x="6" y="155"/>
                </a:lnTo>
                <a:lnTo>
                  <a:pt x="6" y="155"/>
                </a:lnTo>
                <a:lnTo>
                  <a:pt x="6" y="155"/>
                </a:lnTo>
                <a:lnTo>
                  <a:pt x="6" y="155"/>
                </a:lnTo>
                <a:lnTo>
                  <a:pt x="6" y="155"/>
                </a:lnTo>
                <a:lnTo>
                  <a:pt x="6" y="153"/>
                </a:lnTo>
                <a:lnTo>
                  <a:pt x="6" y="153"/>
                </a:lnTo>
                <a:lnTo>
                  <a:pt x="6" y="153"/>
                </a:lnTo>
                <a:lnTo>
                  <a:pt x="7" y="153"/>
                </a:lnTo>
                <a:lnTo>
                  <a:pt x="7" y="153"/>
                </a:lnTo>
                <a:lnTo>
                  <a:pt x="7" y="153"/>
                </a:lnTo>
                <a:lnTo>
                  <a:pt x="7" y="152"/>
                </a:lnTo>
                <a:lnTo>
                  <a:pt x="7" y="152"/>
                </a:lnTo>
                <a:lnTo>
                  <a:pt x="7" y="152"/>
                </a:lnTo>
                <a:lnTo>
                  <a:pt x="7" y="152"/>
                </a:lnTo>
                <a:lnTo>
                  <a:pt x="7" y="152"/>
                </a:lnTo>
                <a:lnTo>
                  <a:pt x="7" y="152"/>
                </a:lnTo>
                <a:lnTo>
                  <a:pt x="8" y="151"/>
                </a:lnTo>
                <a:lnTo>
                  <a:pt x="8" y="151"/>
                </a:lnTo>
                <a:lnTo>
                  <a:pt x="8" y="151"/>
                </a:lnTo>
                <a:lnTo>
                  <a:pt x="8" y="151"/>
                </a:lnTo>
                <a:lnTo>
                  <a:pt x="8" y="151"/>
                </a:lnTo>
                <a:lnTo>
                  <a:pt x="8" y="151"/>
                </a:lnTo>
                <a:lnTo>
                  <a:pt x="8" y="150"/>
                </a:lnTo>
                <a:lnTo>
                  <a:pt x="8" y="150"/>
                </a:lnTo>
                <a:lnTo>
                  <a:pt x="8" y="150"/>
                </a:lnTo>
                <a:lnTo>
                  <a:pt x="9" y="150"/>
                </a:lnTo>
                <a:lnTo>
                  <a:pt x="9" y="150"/>
                </a:lnTo>
                <a:lnTo>
                  <a:pt x="9" y="150"/>
                </a:lnTo>
                <a:lnTo>
                  <a:pt x="9" y="149"/>
                </a:lnTo>
                <a:lnTo>
                  <a:pt x="9" y="149"/>
                </a:lnTo>
                <a:lnTo>
                  <a:pt x="9" y="149"/>
                </a:lnTo>
                <a:lnTo>
                  <a:pt x="9" y="149"/>
                </a:lnTo>
                <a:lnTo>
                  <a:pt x="10" y="149"/>
                </a:lnTo>
                <a:lnTo>
                  <a:pt x="10" y="149"/>
                </a:lnTo>
                <a:lnTo>
                  <a:pt x="10" y="149"/>
                </a:lnTo>
                <a:lnTo>
                  <a:pt x="10" y="148"/>
                </a:lnTo>
                <a:lnTo>
                  <a:pt x="10" y="148"/>
                </a:lnTo>
                <a:lnTo>
                  <a:pt x="10" y="148"/>
                </a:lnTo>
                <a:lnTo>
                  <a:pt x="10" y="148"/>
                </a:lnTo>
                <a:lnTo>
                  <a:pt x="10" y="148"/>
                </a:lnTo>
                <a:lnTo>
                  <a:pt x="12" y="148"/>
                </a:lnTo>
                <a:lnTo>
                  <a:pt x="12" y="148"/>
                </a:lnTo>
                <a:lnTo>
                  <a:pt x="12" y="147"/>
                </a:lnTo>
                <a:lnTo>
                  <a:pt x="12" y="147"/>
                </a:lnTo>
                <a:lnTo>
                  <a:pt x="12" y="147"/>
                </a:lnTo>
                <a:lnTo>
                  <a:pt x="12" y="147"/>
                </a:lnTo>
                <a:lnTo>
                  <a:pt x="12" y="147"/>
                </a:lnTo>
                <a:lnTo>
                  <a:pt x="13" y="147"/>
                </a:lnTo>
                <a:lnTo>
                  <a:pt x="13" y="147"/>
                </a:lnTo>
                <a:lnTo>
                  <a:pt x="13" y="146"/>
                </a:lnTo>
                <a:lnTo>
                  <a:pt x="13" y="146"/>
                </a:lnTo>
                <a:lnTo>
                  <a:pt x="13" y="146"/>
                </a:lnTo>
                <a:lnTo>
                  <a:pt x="13" y="146"/>
                </a:lnTo>
                <a:lnTo>
                  <a:pt x="13" y="146"/>
                </a:lnTo>
                <a:lnTo>
                  <a:pt x="14" y="146"/>
                </a:lnTo>
                <a:lnTo>
                  <a:pt x="14" y="146"/>
                </a:lnTo>
                <a:lnTo>
                  <a:pt x="14" y="144"/>
                </a:lnTo>
                <a:lnTo>
                  <a:pt x="14" y="144"/>
                </a:lnTo>
                <a:lnTo>
                  <a:pt x="14" y="144"/>
                </a:lnTo>
                <a:lnTo>
                  <a:pt x="14" y="144"/>
                </a:lnTo>
                <a:lnTo>
                  <a:pt x="14" y="144"/>
                </a:lnTo>
                <a:lnTo>
                  <a:pt x="15" y="144"/>
                </a:lnTo>
                <a:lnTo>
                  <a:pt x="15" y="144"/>
                </a:lnTo>
                <a:lnTo>
                  <a:pt x="15" y="144"/>
                </a:lnTo>
                <a:lnTo>
                  <a:pt x="15" y="143"/>
                </a:lnTo>
                <a:lnTo>
                  <a:pt x="15" y="143"/>
                </a:lnTo>
                <a:lnTo>
                  <a:pt x="15" y="143"/>
                </a:lnTo>
                <a:lnTo>
                  <a:pt x="16" y="143"/>
                </a:lnTo>
                <a:lnTo>
                  <a:pt x="16" y="143"/>
                </a:lnTo>
                <a:lnTo>
                  <a:pt x="16" y="143"/>
                </a:lnTo>
                <a:lnTo>
                  <a:pt x="16" y="143"/>
                </a:lnTo>
                <a:lnTo>
                  <a:pt x="16" y="143"/>
                </a:lnTo>
                <a:lnTo>
                  <a:pt x="16" y="142"/>
                </a:lnTo>
                <a:lnTo>
                  <a:pt x="17" y="142"/>
                </a:lnTo>
                <a:lnTo>
                  <a:pt x="17" y="142"/>
                </a:lnTo>
                <a:lnTo>
                  <a:pt x="17" y="142"/>
                </a:lnTo>
                <a:lnTo>
                  <a:pt x="17" y="142"/>
                </a:lnTo>
                <a:lnTo>
                  <a:pt x="17" y="142"/>
                </a:lnTo>
                <a:lnTo>
                  <a:pt x="17" y="142"/>
                </a:lnTo>
                <a:lnTo>
                  <a:pt x="18" y="142"/>
                </a:lnTo>
                <a:lnTo>
                  <a:pt x="18" y="142"/>
                </a:lnTo>
                <a:lnTo>
                  <a:pt x="18" y="141"/>
                </a:lnTo>
                <a:lnTo>
                  <a:pt x="18" y="141"/>
                </a:lnTo>
                <a:lnTo>
                  <a:pt x="18" y="141"/>
                </a:lnTo>
                <a:lnTo>
                  <a:pt x="18" y="141"/>
                </a:lnTo>
                <a:lnTo>
                  <a:pt x="19" y="141"/>
                </a:lnTo>
                <a:lnTo>
                  <a:pt x="19" y="141"/>
                </a:lnTo>
                <a:lnTo>
                  <a:pt x="19" y="141"/>
                </a:lnTo>
                <a:lnTo>
                  <a:pt x="19" y="141"/>
                </a:lnTo>
                <a:lnTo>
                  <a:pt x="19" y="141"/>
                </a:lnTo>
                <a:lnTo>
                  <a:pt x="19" y="140"/>
                </a:lnTo>
                <a:lnTo>
                  <a:pt x="21" y="140"/>
                </a:lnTo>
                <a:lnTo>
                  <a:pt x="21" y="140"/>
                </a:lnTo>
                <a:lnTo>
                  <a:pt x="21" y="140"/>
                </a:lnTo>
                <a:lnTo>
                  <a:pt x="21" y="140"/>
                </a:lnTo>
                <a:lnTo>
                  <a:pt x="21" y="140"/>
                </a:lnTo>
                <a:lnTo>
                  <a:pt x="22" y="140"/>
                </a:lnTo>
                <a:lnTo>
                  <a:pt x="22" y="140"/>
                </a:lnTo>
                <a:lnTo>
                  <a:pt x="22" y="140"/>
                </a:lnTo>
                <a:lnTo>
                  <a:pt x="22" y="140"/>
                </a:lnTo>
                <a:lnTo>
                  <a:pt x="22" y="140"/>
                </a:lnTo>
                <a:lnTo>
                  <a:pt x="22" y="139"/>
                </a:lnTo>
                <a:lnTo>
                  <a:pt x="23" y="139"/>
                </a:lnTo>
                <a:lnTo>
                  <a:pt x="23" y="139"/>
                </a:lnTo>
                <a:lnTo>
                  <a:pt x="23" y="139"/>
                </a:lnTo>
                <a:lnTo>
                  <a:pt x="23" y="139"/>
                </a:lnTo>
                <a:lnTo>
                  <a:pt x="23" y="139"/>
                </a:lnTo>
                <a:lnTo>
                  <a:pt x="24" y="139"/>
                </a:lnTo>
                <a:lnTo>
                  <a:pt x="24" y="139"/>
                </a:lnTo>
                <a:lnTo>
                  <a:pt x="24" y="139"/>
                </a:lnTo>
                <a:lnTo>
                  <a:pt x="24" y="139"/>
                </a:lnTo>
                <a:lnTo>
                  <a:pt x="24" y="139"/>
                </a:lnTo>
                <a:lnTo>
                  <a:pt x="24" y="139"/>
                </a:lnTo>
                <a:lnTo>
                  <a:pt x="25" y="138"/>
                </a:lnTo>
                <a:lnTo>
                  <a:pt x="25" y="138"/>
                </a:lnTo>
                <a:lnTo>
                  <a:pt x="25" y="138"/>
                </a:lnTo>
                <a:lnTo>
                  <a:pt x="25" y="138"/>
                </a:lnTo>
                <a:lnTo>
                  <a:pt x="25" y="138"/>
                </a:lnTo>
                <a:lnTo>
                  <a:pt x="26" y="138"/>
                </a:lnTo>
                <a:lnTo>
                  <a:pt x="26" y="138"/>
                </a:lnTo>
                <a:lnTo>
                  <a:pt x="26" y="138"/>
                </a:lnTo>
                <a:lnTo>
                  <a:pt x="26" y="138"/>
                </a:lnTo>
                <a:lnTo>
                  <a:pt x="26" y="138"/>
                </a:lnTo>
                <a:lnTo>
                  <a:pt x="27" y="138"/>
                </a:lnTo>
                <a:lnTo>
                  <a:pt x="27" y="138"/>
                </a:lnTo>
                <a:lnTo>
                  <a:pt x="27" y="138"/>
                </a:lnTo>
                <a:lnTo>
                  <a:pt x="27" y="138"/>
                </a:lnTo>
                <a:lnTo>
                  <a:pt x="27" y="138"/>
                </a:lnTo>
                <a:lnTo>
                  <a:pt x="28" y="137"/>
                </a:lnTo>
                <a:lnTo>
                  <a:pt x="28" y="137"/>
                </a:lnTo>
                <a:lnTo>
                  <a:pt x="28" y="137"/>
                </a:lnTo>
                <a:lnTo>
                  <a:pt x="28" y="137"/>
                </a:lnTo>
                <a:lnTo>
                  <a:pt x="28" y="137"/>
                </a:lnTo>
                <a:lnTo>
                  <a:pt x="30" y="137"/>
                </a:lnTo>
                <a:lnTo>
                  <a:pt x="30" y="137"/>
                </a:lnTo>
                <a:lnTo>
                  <a:pt x="30" y="137"/>
                </a:lnTo>
                <a:lnTo>
                  <a:pt x="30" y="137"/>
                </a:lnTo>
                <a:lnTo>
                  <a:pt x="30" y="137"/>
                </a:lnTo>
                <a:lnTo>
                  <a:pt x="31" y="137"/>
                </a:lnTo>
                <a:lnTo>
                  <a:pt x="31" y="137"/>
                </a:lnTo>
                <a:lnTo>
                  <a:pt x="31" y="137"/>
                </a:lnTo>
                <a:lnTo>
                  <a:pt x="31" y="137"/>
                </a:lnTo>
                <a:lnTo>
                  <a:pt x="31" y="137"/>
                </a:lnTo>
                <a:lnTo>
                  <a:pt x="32" y="137"/>
                </a:lnTo>
                <a:lnTo>
                  <a:pt x="32" y="137"/>
                </a:lnTo>
                <a:lnTo>
                  <a:pt x="32" y="137"/>
                </a:lnTo>
                <a:lnTo>
                  <a:pt x="32" y="137"/>
                </a:lnTo>
                <a:lnTo>
                  <a:pt x="32" y="137"/>
                </a:lnTo>
                <a:lnTo>
                  <a:pt x="33" y="137"/>
                </a:lnTo>
                <a:lnTo>
                  <a:pt x="33" y="137"/>
                </a:lnTo>
                <a:lnTo>
                  <a:pt x="33" y="135"/>
                </a:lnTo>
                <a:lnTo>
                  <a:pt x="33" y="135"/>
                </a:lnTo>
                <a:lnTo>
                  <a:pt x="33" y="135"/>
                </a:lnTo>
                <a:lnTo>
                  <a:pt x="34" y="135"/>
                </a:lnTo>
                <a:lnTo>
                  <a:pt x="34" y="135"/>
                </a:lnTo>
                <a:lnTo>
                  <a:pt x="34" y="135"/>
                </a:lnTo>
                <a:lnTo>
                  <a:pt x="34" y="135"/>
                </a:lnTo>
                <a:lnTo>
                  <a:pt x="34" y="135"/>
                </a:lnTo>
                <a:lnTo>
                  <a:pt x="35" y="135"/>
                </a:lnTo>
                <a:lnTo>
                  <a:pt x="35" y="135"/>
                </a:lnTo>
                <a:lnTo>
                  <a:pt x="35" y="135"/>
                </a:lnTo>
                <a:lnTo>
                  <a:pt x="35" y="135"/>
                </a:lnTo>
                <a:lnTo>
                  <a:pt x="36" y="135"/>
                </a:lnTo>
                <a:lnTo>
                  <a:pt x="36" y="135"/>
                </a:lnTo>
                <a:lnTo>
                  <a:pt x="36" y="135"/>
                </a:lnTo>
                <a:lnTo>
                  <a:pt x="36" y="135"/>
                </a:lnTo>
                <a:lnTo>
                  <a:pt x="36" y="135"/>
                </a:lnTo>
                <a:lnTo>
                  <a:pt x="37" y="135"/>
                </a:lnTo>
                <a:lnTo>
                  <a:pt x="37" y="135"/>
                </a:lnTo>
                <a:lnTo>
                  <a:pt x="37" y="135"/>
                </a:lnTo>
                <a:lnTo>
                  <a:pt x="37" y="135"/>
                </a:lnTo>
                <a:lnTo>
                  <a:pt x="37" y="135"/>
                </a:lnTo>
                <a:lnTo>
                  <a:pt x="39" y="135"/>
                </a:lnTo>
                <a:lnTo>
                  <a:pt x="39" y="135"/>
                </a:lnTo>
                <a:lnTo>
                  <a:pt x="39" y="135"/>
                </a:lnTo>
                <a:lnTo>
                  <a:pt x="39" y="135"/>
                </a:lnTo>
                <a:lnTo>
                  <a:pt x="40" y="135"/>
                </a:lnTo>
                <a:lnTo>
                  <a:pt x="40" y="135"/>
                </a:lnTo>
                <a:lnTo>
                  <a:pt x="40" y="135"/>
                </a:lnTo>
                <a:lnTo>
                  <a:pt x="40" y="135"/>
                </a:lnTo>
                <a:lnTo>
                  <a:pt x="40" y="135"/>
                </a:lnTo>
                <a:lnTo>
                  <a:pt x="41" y="135"/>
                </a:lnTo>
                <a:lnTo>
                  <a:pt x="41" y="135"/>
                </a:lnTo>
                <a:lnTo>
                  <a:pt x="41" y="135"/>
                </a:lnTo>
                <a:lnTo>
                  <a:pt x="41" y="135"/>
                </a:lnTo>
                <a:lnTo>
                  <a:pt x="41" y="135"/>
                </a:lnTo>
                <a:lnTo>
                  <a:pt x="42" y="135"/>
                </a:lnTo>
                <a:lnTo>
                  <a:pt x="42" y="135"/>
                </a:lnTo>
                <a:lnTo>
                  <a:pt x="42" y="135"/>
                </a:lnTo>
                <a:lnTo>
                  <a:pt x="42" y="135"/>
                </a:lnTo>
                <a:lnTo>
                  <a:pt x="42" y="135"/>
                </a:lnTo>
                <a:lnTo>
                  <a:pt x="43" y="135"/>
                </a:lnTo>
                <a:lnTo>
                  <a:pt x="43" y="135"/>
                </a:lnTo>
                <a:lnTo>
                  <a:pt x="43" y="135"/>
                </a:lnTo>
                <a:lnTo>
                  <a:pt x="43" y="135"/>
                </a:lnTo>
                <a:lnTo>
                  <a:pt x="44" y="135"/>
                </a:lnTo>
                <a:lnTo>
                  <a:pt x="44" y="135"/>
                </a:lnTo>
                <a:lnTo>
                  <a:pt x="44" y="137"/>
                </a:lnTo>
                <a:lnTo>
                  <a:pt x="44" y="137"/>
                </a:lnTo>
                <a:lnTo>
                  <a:pt x="44" y="137"/>
                </a:lnTo>
                <a:lnTo>
                  <a:pt x="45" y="137"/>
                </a:lnTo>
                <a:lnTo>
                  <a:pt x="45" y="137"/>
                </a:lnTo>
                <a:lnTo>
                  <a:pt x="45" y="137"/>
                </a:lnTo>
                <a:lnTo>
                  <a:pt x="45" y="137"/>
                </a:lnTo>
                <a:lnTo>
                  <a:pt x="45" y="137"/>
                </a:lnTo>
                <a:lnTo>
                  <a:pt x="46" y="137"/>
                </a:lnTo>
                <a:lnTo>
                  <a:pt x="46" y="137"/>
                </a:lnTo>
                <a:lnTo>
                  <a:pt x="46" y="137"/>
                </a:lnTo>
                <a:lnTo>
                  <a:pt x="46" y="137"/>
                </a:lnTo>
                <a:lnTo>
                  <a:pt x="46" y="137"/>
                </a:lnTo>
                <a:lnTo>
                  <a:pt x="48" y="137"/>
                </a:lnTo>
                <a:lnTo>
                  <a:pt x="48" y="137"/>
                </a:lnTo>
                <a:lnTo>
                  <a:pt x="48" y="137"/>
                </a:lnTo>
                <a:lnTo>
                  <a:pt x="48" y="137"/>
                </a:lnTo>
                <a:lnTo>
                  <a:pt x="48" y="137"/>
                </a:lnTo>
                <a:lnTo>
                  <a:pt x="49" y="137"/>
                </a:lnTo>
                <a:lnTo>
                  <a:pt x="49" y="137"/>
                </a:lnTo>
                <a:lnTo>
                  <a:pt x="49" y="137"/>
                </a:lnTo>
                <a:lnTo>
                  <a:pt x="49" y="137"/>
                </a:lnTo>
                <a:lnTo>
                  <a:pt x="49" y="138"/>
                </a:lnTo>
                <a:lnTo>
                  <a:pt x="50" y="138"/>
                </a:lnTo>
                <a:lnTo>
                  <a:pt x="50" y="138"/>
                </a:lnTo>
                <a:lnTo>
                  <a:pt x="50" y="138"/>
                </a:lnTo>
                <a:lnTo>
                  <a:pt x="50" y="138"/>
                </a:lnTo>
                <a:lnTo>
                  <a:pt x="50" y="138"/>
                </a:lnTo>
                <a:lnTo>
                  <a:pt x="51" y="138"/>
                </a:lnTo>
                <a:lnTo>
                  <a:pt x="51" y="138"/>
                </a:lnTo>
                <a:lnTo>
                  <a:pt x="51" y="138"/>
                </a:lnTo>
                <a:lnTo>
                  <a:pt x="51" y="138"/>
                </a:lnTo>
                <a:lnTo>
                  <a:pt x="51" y="138"/>
                </a:lnTo>
                <a:lnTo>
                  <a:pt x="52" y="138"/>
                </a:lnTo>
                <a:lnTo>
                  <a:pt x="52" y="138"/>
                </a:lnTo>
                <a:lnTo>
                  <a:pt x="52" y="138"/>
                </a:lnTo>
                <a:lnTo>
                  <a:pt x="52" y="138"/>
                </a:lnTo>
                <a:lnTo>
                  <a:pt x="52" y="139"/>
                </a:lnTo>
                <a:lnTo>
                  <a:pt x="52" y="139"/>
                </a:lnTo>
                <a:lnTo>
                  <a:pt x="53" y="139"/>
                </a:lnTo>
                <a:lnTo>
                  <a:pt x="53" y="139"/>
                </a:lnTo>
                <a:lnTo>
                  <a:pt x="53" y="139"/>
                </a:lnTo>
                <a:lnTo>
                  <a:pt x="53" y="139"/>
                </a:lnTo>
                <a:lnTo>
                  <a:pt x="53" y="139"/>
                </a:lnTo>
                <a:lnTo>
                  <a:pt x="54" y="139"/>
                </a:lnTo>
                <a:lnTo>
                  <a:pt x="54" y="139"/>
                </a:lnTo>
                <a:lnTo>
                  <a:pt x="54" y="139"/>
                </a:lnTo>
                <a:lnTo>
                  <a:pt x="54" y="139"/>
                </a:lnTo>
                <a:lnTo>
                  <a:pt x="54" y="139"/>
                </a:lnTo>
                <a:lnTo>
                  <a:pt x="55" y="140"/>
                </a:lnTo>
                <a:lnTo>
                  <a:pt x="55" y="140"/>
                </a:lnTo>
                <a:lnTo>
                  <a:pt x="55" y="140"/>
                </a:lnTo>
                <a:lnTo>
                  <a:pt x="55" y="140"/>
                </a:lnTo>
                <a:lnTo>
                  <a:pt x="55" y="140"/>
                </a:lnTo>
                <a:lnTo>
                  <a:pt x="55" y="140"/>
                </a:lnTo>
                <a:lnTo>
                  <a:pt x="57" y="140"/>
                </a:lnTo>
                <a:lnTo>
                  <a:pt x="57" y="140"/>
                </a:lnTo>
                <a:lnTo>
                  <a:pt x="57" y="140"/>
                </a:lnTo>
                <a:lnTo>
                  <a:pt x="57" y="140"/>
                </a:lnTo>
                <a:lnTo>
                  <a:pt x="57" y="140"/>
                </a:lnTo>
                <a:lnTo>
                  <a:pt x="57" y="141"/>
                </a:lnTo>
                <a:lnTo>
                  <a:pt x="58" y="141"/>
                </a:lnTo>
                <a:lnTo>
                  <a:pt x="58" y="141"/>
                </a:lnTo>
                <a:lnTo>
                  <a:pt x="58" y="141"/>
                </a:lnTo>
                <a:lnTo>
                  <a:pt x="58" y="141"/>
                </a:lnTo>
                <a:lnTo>
                  <a:pt x="58" y="141"/>
                </a:lnTo>
                <a:lnTo>
                  <a:pt x="59" y="141"/>
                </a:lnTo>
                <a:lnTo>
                  <a:pt x="59" y="141"/>
                </a:lnTo>
                <a:lnTo>
                  <a:pt x="59" y="141"/>
                </a:lnTo>
                <a:lnTo>
                  <a:pt x="59" y="142"/>
                </a:lnTo>
                <a:lnTo>
                  <a:pt x="59" y="142"/>
                </a:lnTo>
                <a:lnTo>
                  <a:pt x="59" y="142"/>
                </a:lnTo>
                <a:lnTo>
                  <a:pt x="60" y="142"/>
                </a:lnTo>
                <a:lnTo>
                  <a:pt x="60" y="142"/>
                </a:lnTo>
                <a:lnTo>
                  <a:pt x="60" y="142"/>
                </a:lnTo>
                <a:lnTo>
                  <a:pt x="60" y="142"/>
                </a:lnTo>
                <a:lnTo>
                  <a:pt x="60" y="142"/>
                </a:lnTo>
                <a:lnTo>
                  <a:pt x="60" y="142"/>
                </a:lnTo>
                <a:lnTo>
                  <a:pt x="61" y="143"/>
                </a:lnTo>
                <a:lnTo>
                  <a:pt x="61" y="143"/>
                </a:lnTo>
                <a:lnTo>
                  <a:pt x="61" y="143"/>
                </a:lnTo>
                <a:lnTo>
                  <a:pt x="61" y="143"/>
                </a:lnTo>
                <a:lnTo>
                  <a:pt x="61" y="143"/>
                </a:lnTo>
                <a:lnTo>
                  <a:pt x="61" y="143"/>
                </a:lnTo>
                <a:lnTo>
                  <a:pt x="61" y="143"/>
                </a:lnTo>
                <a:lnTo>
                  <a:pt x="62" y="143"/>
                </a:lnTo>
                <a:lnTo>
                  <a:pt x="62" y="144"/>
                </a:lnTo>
                <a:lnTo>
                  <a:pt x="62" y="144"/>
                </a:lnTo>
                <a:lnTo>
                  <a:pt x="62" y="144"/>
                </a:lnTo>
                <a:lnTo>
                  <a:pt x="62" y="144"/>
                </a:lnTo>
                <a:lnTo>
                  <a:pt x="62" y="144"/>
                </a:lnTo>
                <a:lnTo>
                  <a:pt x="63" y="144"/>
                </a:lnTo>
                <a:lnTo>
                  <a:pt x="63" y="144"/>
                </a:lnTo>
                <a:lnTo>
                  <a:pt x="63" y="144"/>
                </a:lnTo>
                <a:lnTo>
                  <a:pt x="63" y="146"/>
                </a:lnTo>
                <a:lnTo>
                  <a:pt x="63" y="146"/>
                </a:lnTo>
                <a:lnTo>
                  <a:pt x="63" y="146"/>
                </a:lnTo>
                <a:lnTo>
                  <a:pt x="63" y="146"/>
                </a:lnTo>
                <a:lnTo>
                  <a:pt x="64" y="146"/>
                </a:lnTo>
                <a:lnTo>
                  <a:pt x="64" y="146"/>
                </a:lnTo>
                <a:lnTo>
                  <a:pt x="64" y="146"/>
                </a:lnTo>
                <a:lnTo>
                  <a:pt x="64" y="147"/>
                </a:lnTo>
                <a:lnTo>
                  <a:pt x="64" y="147"/>
                </a:lnTo>
                <a:lnTo>
                  <a:pt x="64" y="147"/>
                </a:lnTo>
                <a:lnTo>
                  <a:pt x="64" y="147"/>
                </a:lnTo>
                <a:lnTo>
                  <a:pt x="66" y="147"/>
                </a:lnTo>
                <a:lnTo>
                  <a:pt x="66" y="147"/>
                </a:lnTo>
                <a:lnTo>
                  <a:pt x="66" y="147"/>
                </a:lnTo>
                <a:lnTo>
                  <a:pt x="66" y="148"/>
                </a:lnTo>
                <a:lnTo>
                  <a:pt x="66" y="148"/>
                </a:lnTo>
                <a:lnTo>
                  <a:pt x="66" y="148"/>
                </a:lnTo>
                <a:lnTo>
                  <a:pt x="66" y="148"/>
                </a:lnTo>
                <a:lnTo>
                  <a:pt x="67" y="148"/>
                </a:lnTo>
                <a:lnTo>
                  <a:pt x="67" y="148"/>
                </a:lnTo>
                <a:lnTo>
                  <a:pt x="67" y="148"/>
                </a:lnTo>
                <a:lnTo>
                  <a:pt x="67" y="149"/>
                </a:lnTo>
                <a:lnTo>
                  <a:pt x="67" y="149"/>
                </a:lnTo>
                <a:lnTo>
                  <a:pt x="67" y="149"/>
                </a:lnTo>
                <a:lnTo>
                  <a:pt x="67" y="149"/>
                </a:lnTo>
                <a:lnTo>
                  <a:pt x="67" y="149"/>
                </a:lnTo>
                <a:lnTo>
                  <a:pt x="68" y="149"/>
                </a:lnTo>
                <a:lnTo>
                  <a:pt x="68" y="149"/>
                </a:lnTo>
                <a:lnTo>
                  <a:pt x="68" y="150"/>
                </a:lnTo>
                <a:lnTo>
                  <a:pt x="68" y="150"/>
                </a:lnTo>
                <a:lnTo>
                  <a:pt x="68" y="150"/>
                </a:lnTo>
                <a:lnTo>
                  <a:pt x="68" y="150"/>
                </a:lnTo>
                <a:lnTo>
                  <a:pt x="68" y="150"/>
                </a:lnTo>
                <a:lnTo>
                  <a:pt x="68" y="150"/>
                </a:lnTo>
                <a:lnTo>
                  <a:pt x="69" y="151"/>
                </a:lnTo>
                <a:lnTo>
                  <a:pt x="69" y="151"/>
                </a:lnTo>
                <a:lnTo>
                  <a:pt x="69" y="151"/>
                </a:lnTo>
                <a:lnTo>
                  <a:pt x="69" y="151"/>
                </a:lnTo>
                <a:lnTo>
                  <a:pt x="69" y="151"/>
                </a:lnTo>
                <a:lnTo>
                  <a:pt x="69" y="151"/>
                </a:lnTo>
                <a:lnTo>
                  <a:pt x="69" y="152"/>
                </a:lnTo>
                <a:lnTo>
                  <a:pt x="69" y="152"/>
                </a:lnTo>
                <a:lnTo>
                  <a:pt x="70" y="152"/>
                </a:lnTo>
                <a:lnTo>
                  <a:pt x="70" y="152"/>
                </a:lnTo>
                <a:lnTo>
                  <a:pt x="70" y="152"/>
                </a:lnTo>
                <a:lnTo>
                  <a:pt x="70" y="152"/>
                </a:lnTo>
                <a:lnTo>
                  <a:pt x="70" y="153"/>
                </a:lnTo>
                <a:lnTo>
                  <a:pt x="70" y="153"/>
                </a:lnTo>
                <a:lnTo>
                  <a:pt x="70" y="153"/>
                </a:lnTo>
                <a:lnTo>
                  <a:pt x="70" y="153"/>
                </a:lnTo>
                <a:lnTo>
                  <a:pt x="70" y="153"/>
                </a:lnTo>
                <a:lnTo>
                  <a:pt x="71" y="153"/>
                </a:lnTo>
                <a:lnTo>
                  <a:pt x="71" y="155"/>
                </a:lnTo>
                <a:lnTo>
                  <a:pt x="71" y="155"/>
                </a:lnTo>
                <a:lnTo>
                  <a:pt x="71" y="155"/>
                </a:lnTo>
                <a:lnTo>
                  <a:pt x="71" y="155"/>
                </a:lnTo>
                <a:lnTo>
                  <a:pt x="71" y="155"/>
                </a:lnTo>
                <a:lnTo>
                  <a:pt x="71" y="155"/>
                </a:lnTo>
                <a:lnTo>
                  <a:pt x="71" y="156"/>
                </a:lnTo>
                <a:lnTo>
                  <a:pt x="71" y="156"/>
                </a:lnTo>
                <a:lnTo>
                  <a:pt x="71" y="156"/>
                </a:lnTo>
                <a:lnTo>
                  <a:pt x="72" y="156"/>
                </a:lnTo>
                <a:lnTo>
                  <a:pt x="72" y="156"/>
                </a:lnTo>
                <a:lnTo>
                  <a:pt x="72" y="157"/>
                </a:lnTo>
                <a:lnTo>
                  <a:pt x="72" y="157"/>
                </a:lnTo>
                <a:lnTo>
                  <a:pt x="72" y="157"/>
                </a:lnTo>
                <a:lnTo>
                  <a:pt x="72" y="157"/>
                </a:lnTo>
                <a:lnTo>
                  <a:pt x="72" y="157"/>
                </a:lnTo>
                <a:lnTo>
                  <a:pt x="72" y="157"/>
                </a:lnTo>
                <a:lnTo>
                  <a:pt x="72" y="158"/>
                </a:lnTo>
                <a:lnTo>
                  <a:pt x="72" y="158"/>
                </a:lnTo>
                <a:lnTo>
                  <a:pt x="72" y="158"/>
                </a:lnTo>
                <a:lnTo>
                  <a:pt x="72" y="158"/>
                </a:lnTo>
                <a:lnTo>
                  <a:pt x="73" y="158"/>
                </a:lnTo>
                <a:lnTo>
                  <a:pt x="73" y="159"/>
                </a:lnTo>
                <a:lnTo>
                  <a:pt x="73" y="159"/>
                </a:lnTo>
                <a:lnTo>
                  <a:pt x="73" y="159"/>
                </a:lnTo>
                <a:lnTo>
                  <a:pt x="73" y="159"/>
                </a:lnTo>
                <a:lnTo>
                  <a:pt x="73" y="159"/>
                </a:lnTo>
                <a:lnTo>
                  <a:pt x="73" y="159"/>
                </a:lnTo>
                <a:lnTo>
                  <a:pt x="73" y="160"/>
                </a:lnTo>
                <a:lnTo>
                  <a:pt x="73" y="160"/>
                </a:lnTo>
                <a:lnTo>
                  <a:pt x="73" y="160"/>
                </a:lnTo>
                <a:lnTo>
                  <a:pt x="73" y="160"/>
                </a:lnTo>
                <a:lnTo>
                  <a:pt x="73" y="160"/>
                </a:lnTo>
                <a:lnTo>
                  <a:pt x="73" y="161"/>
                </a:lnTo>
                <a:lnTo>
                  <a:pt x="75" y="161"/>
                </a:lnTo>
                <a:lnTo>
                  <a:pt x="75" y="161"/>
                </a:lnTo>
                <a:lnTo>
                  <a:pt x="75" y="161"/>
                </a:lnTo>
                <a:lnTo>
                  <a:pt x="75" y="161"/>
                </a:lnTo>
                <a:lnTo>
                  <a:pt x="75" y="162"/>
                </a:lnTo>
                <a:lnTo>
                  <a:pt x="75" y="162"/>
                </a:lnTo>
                <a:lnTo>
                  <a:pt x="75" y="162"/>
                </a:lnTo>
                <a:lnTo>
                  <a:pt x="75" y="162"/>
                </a:lnTo>
                <a:lnTo>
                  <a:pt x="75" y="162"/>
                </a:lnTo>
                <a:lnTo>
                  <a:pt x="75" y="164"/>
                </a:lnTo>
                <a:lnTo>
                  <a:pt x="75" y="164"/>
                </a:lnTo>
                <a:lnTo>
                  <a:pt x="75" y="164"/>
                </a:lnTo>
                <a:lnTo>
                  <a:pt x="75" y="164"/>
                </a:lnTo>
                <a:lnTo>
                  <a:pt x="75" y="164"/>
                </a:lnTo>
                <a:lnTo>
                  <a:pt x="75" y="165"/>
                </a:lnTo>
                <a:lnTo>
                  <a:pt x="75" y="165"/>
                </a:lnTo>
                <a:lnTo>
                  <a:pt x="75" y="165"/>
                </a:lnTo>
                <a:lnTo>
                  <a:pt x="75" y="165"/>
                </a:lnTo>
                <a:lnTo>
                  <a:pt x="75" y="165"/>
                </a:lnTo>
                <a:lnTo>
                  <a:pt x="76" y="166"/>
                </a:lnTo>
                <a:lnTo>
                  <a:pt x="76" y="166"/>
                </a:lnTo>
                <a:lnTo>
                  <a:pt x="76" y="166"/>
                </a:lnTo>
                <a:lnTo>
                  <a:pt x="76" y="166"/>
                </a:lnTo>
                <a:lnTo>
                  <a:pt x="76" y="166"/>
                </a:lnTo>
                <a:lnTo>
                  <a:pt x="76" y="167"/>
                </a:lnTo>
                <a:lnTo>
                  <a:pt x="76" y="167"/>
                </a:lnTo>
                <a:lnTo>
                  <a:pt x="76" y="167"/>
                </a:lnTo>
                <a:lnTo>
                  <a:pt x="76" y="167"/>
                </a:lnTo>
                <a:lnTo>
                  <a:pt x="76" y="167"/>
                </a:lnTo>
                <a:lnTo>
                  <a:pt x="76" y="168"/>
                </a:lnTo>
                <a:lnTo>
                  <a:pt x="76" y="168"/>
                </a:lnTo>
                <a:lnTo>
                  <a:pt x="76" y="168"/>
                </a:lnTo>
                <a:lnTo>
                  <a:pt x="76" y="168"/>
                </a:lnTo>
                <a:lnTo>
                  <a:pt x="76" y="168"/>
                </a:lnTo>
                <a:lnTo>
                  <a:pt x="76" y="169"/>
                </a:lnTo>
                <a:lnTo>
                  <a:pt x="76" y="169"/>
                </a:lnTo>
                <a:lnTo>
                  <a:pt x="76" y="169"/>
                </a:lnTo>
                <a:lnTo>
                  <a:pt x="76" y="169"/>
                </a:lnTo>
                <a:lnTo>
                  <a:pt x="76" y="170"/>
                </a:lnTo>
                <a:lnTo>
                  <a:pt x="76" y="170"/>
                </a:lnTo>
                <a:lnTo>
                  <a:pt x="76" y="170"/>
                </a:lnTo>
                <a:lnTo>
                  <a:pt x="76" y="170"/>
                </a:lnTo>
                <a:lnTo>
                  <a:pt x="76" y="170"/>
                </a:lnTo>
                <a:lnTo>
                  <a:pt x="76" y="171"/>
                </a:lnTo>
                <a:lnTo>
                  <a:pt x="76" y="171"/>
                </a:lnTo>
                <a:lnTo>
                  <a:pt x="76" y="171"/>
                </a:lnTo>
                <a:lnTo>
                  <a:pt x="76" y="171"/>
                </a:lnTo>
                <a:lnTo>
                  <a:pt x="76" y="171"/>
                </a:lnTo>
                <a:lnTo>
                  <a:pt x="76" y="173"/>
                </a:lnTo>
                <a:lnTo>
                  <a:pt x="76" y="173"/>
                </a:lnTo>
                <a:lnTo>
                  <a:pt x="76" y="173"/>
                </a:lnTo>
                <a:lnTo>
                  <a:pt x="76" y="173"/>
                </a:lnTo>
                <a:lnTo>
                  <a:pt x="76" y="174"/>
                </a:lnTo>
                <a:lnTo>
                  <a:pt x="76" y="174"/>
                </a:lnTo>
                <a:close/>
                <a:moveTo>
                  <a:pt x="79" y="177"/>
                </a:moveTo>
                <a:lnTo>
                  <a:pt x="79" y="169"/>
                </a:lnTo>
                <a:lnTo>
                  <a:pt x="95" y="169"/>
                </a:lnTo>
                <a:lnTo>
                  <a:pt x="95" y="177"/>
                </a:lnTo>
                <a:lnTo>
                  <a:pt x="79" y="177"/>
                </a:lnTo>
                <a:lnTo>
                  <a:pt x="79" y="177"/>
                </a:lnTo>
                <a:close/>
                <a:moveTo>
                  <a:pt x="126" y="177"/>
                </a:moveTo>
                <a:lnTo>
                  <a:pt x="126" y="169"/>
                </a:lnTo>
                <a:lnTo>
                  <a:pt x="142" y="169"/>
                </a:lnTo>
                <a:lnTo>
                  <a:pt x="142" y="177"/>
                </a:lnTo>
                <a:lnTo>
                  <a:pt x="126" y="177"/>
                </a:lnTo>
                <a:lnTo>
                  <a:pt x="126" y="177"/>
                </a:lnTo>
                <a:close/>
                <a:moveTo>
                  <a:pt x="173" y="177"/>
                </a:moveTo>
                <a:lnTo>
                  <a:pt x="173" y="169"/>
                </a:lnTo>
                <a:lnTo>
                  <a:pt x="188" y="169"/>
                </a:lnTo>
                <a:lnTo>
                  <a:pt x="188" y="177"/>
                </a:lnTo>
                <a:lnTo>
                  <a:pt x="173" y="177"/>
                </a:lnTo>
                <a:lnTo>
                  <a:pt x="173" y="177"/>
                </a:lnTo>
                <a:close/>
                <a:moveTo>
                  <a:pt x="220" y="177"/>
                </a:moveTo>
                <a:lnTo>
                  <a:pt x="220" y="169"/>
                </a:lnTo>
                <a:lnTo>
                  <a:pt x="236" y="169"/>
                </a:lnTo>
                <a:lnTo>
                  <a:pt x="236" y="177"/>
                </a:lnTo>
                <a:lnTo>
                  <a:pt x="220" y="177"/>
                </a:lnTo>
                <a:lnTo>
                  <a:pt x="220" y="177"/>
                </a:lnTo>
                <a:close/>
                <a:moveTo>
                  <a:pt x="267" y="177"/>
                </a:moveTo>
                <a:lnTo>
                  <a:pt x="267" y="169"/>
                </a:lnTo>
                <a:lnTo>
                  <a:pt x="283" y="169"/>
                </a:lnTo>
                <a:lnTo>
                  <a:pt x="283" y="177"/>
                </a:lnTo>
                <a:lnTo>
                  <a:pt x="267" y="177"/>
                </a:lnTo>
                <a:lnTo>
                  <a:pt x="267" y="177"/>
                </a:lnTo>
                <a:close/>
                <a:moveTo>
                  <a:pt x="314" y="177"/>
                </a:moveTo>
                <a:lnTo>
                  <a:pt x="314" y="169"/>
                </a:lnTo>
                <a:lnTo>
                  <a:pt x="330" y="169"/>
                </a:lnTo>
                <a:lnTo>
                  <a:pt x="330" y="177"/>
                </a:lnTo>
                <a:lnTo>
                  <a:pt x="314" y="177"/>
                </a:lnTo>
                <a:lnTo>
                  <a:pt x="314" y="177"/>
                </a:lnTo>
                <a:close/>
                <a:moveTo>
                  <a:pt x="362" y="177"/>
                </a:moveTo>
                <a:lnTo>
                  <a:pt x="362" y="169"/>
                </a:lnTo>
                <a:lnTo>
                  <a:pt x="377" y="169"/>
                </a:lnTo>
                <a:lnTo>
                  <a:pt x="377" y="177"/>
                </a:lnTo>
                <a:lnTo>
                  <a:pt x="362" y="177"/>
                </a:lnTo>
                <a:lnTo>
                  <a:pt x="362" y="177"/>
                </a:lnTo>
                <a:close/>
                <a:moveTo>
                  <a:pt x="409" y="177"/>
                </a:moveTo>
                <a:lnTo>
                  <a:pt x="409" y="169"/>
                </a:lnTo>
                <a:lnTo>
                  <a:pt x="425" y="169"/>
                </a:lnTo>
                <a:lnTo>
                  <a:pt x="425" y="177"/>
                </a:lnTo>
                <a:lnTo>
                  <a:pt x="409" y="177"/>
                </a:lnTo>
                <a:lnTo>
                  <a:pt x="409" y="177"/>
                </a:lnTo>
                <a:close/>
                <a:moveTo>
                  <a:pt x="456" y="177"/>
                </a:moveTo>
                <a:lnTo>
                  <a:pt x="456" y="169"/>
                </a:lnTo>
                <a:lnTo>
                  <a:pt x="472" y="169"/>
                </a:lnTo>
                <a:lnTo>
                  <a:pt x="472" y="177"/>
                </a:lnTo>
                <a:lnTo>
                  <a:pt x="456" y="177"/>
                </a:lnTo>
                <a:lnTo>
                  <a:pt x="456" y="177"/>
                </a:lnTo>
                <a:close/>
                <a:moveTo>
                  <a:pt x="502" y="177"/>
                </a:moveTo>
                <a:lnTo>
                  <a:pt x="502" y="169"/>
                </a:lnTo>
                <a:lnTo>
                  <a:pt x="510" y="169"/>
                </a:lnTo>
                <a:lnTo>
                  <a:pt x="510" y="169"/>
                </a:lnTo>
                <a:lnTo>
                  <a:pt x="511" y="169"/>
                </a:lnTo>
                <a:lnTo>
                  <a:pt x="519" y="171"/>
                </a:lnTo>
                <a:lnTo>
                  <a:pt x="518" y="178"/>
                </a:lnTo>
                <a:lnTo>
                  <a:pt x="510" y="177"/>
                </a:lnTo>
                <a:lnTo>
                  <a:pt x="502" y="177"/>
                </a:lnTo>
                <a:lnTo>
                  <a:pt x="502" y="177"/>
                </a:lnTo>
                <a:close/>
                <a:moveTo>
                  <a:pt x="534" y="158"/>
                </a:moveTo>
                <a:lnTo>
                  <a:pt x="526" y="158"/>
                </a:lnTo>
                <a:lnTo>
                  <a:pt x="526" y="142"/>
                </a:lnTo>
                <a:lnTo>
                  <a:pt x="534" y="142"/>
                </a:lnTo>
                <a:lnTo>
                  <a:pt x="534" y="158"/>
                </a:lnTo>
                <a:lnTo>
                  <a:pt x="534" y="158"/>
                </a:lnTo>
                <a:close/>
                <a:moveTo>
                  <a:pt x="534" y="111"/>
                </a:moveTo>
                <a:lnTo>
                  <a:pt x="526" y="111"/>
                </a:lnTo>
                <a:lnTo>
                  <a:pt x="526" y="95"/>
                </a:lnTo>
                <a:lnTo>
                  <a:pt x="534" y="95"/>
                </a:lnTo>
                <a:lnTo>
                  <a:pt x="534" y="111"/>
                </a:lnTo>
                <a:lnTo>
                  <a:pt x="534" y="111"/>
                </a:lnTo>
                <a:close/>
                <a:moveTo>
                  <a:pt x="534" y="63"/>
                </a:moveTo>
                <a:lnTo>
                  <a:pt x="526" y="63"/>
                </a:lnTo>
                <a:lnTo>
                  <a:pt x="526" y="48"/>
                </a:lnTo>
                <a:lnTo>
                  <a:pt x="534" y="48"/>
                </a:lnTo>
                <a:lnTo>
                  <a:pt x="534" y="63"/>
                </a:lnTo>
                <a:close/>
              </a:path>
            </a:pathLst>
          </a:custGeom>
          <a:solidFill>
            <a:srgbClr val="8497B0"/>
          </a:solidFill>
          <a:ln>
            <a:solidFill>
              <a:srgbClr val="FFC000"/>
            </a:solidFill>
          </a:ln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1013"/>
          </a:p>
        </p:txBody>
      </p:sp>
      <p:sp>
        <p:nvSpPr>
          <p:cNvPr id="139" name="Freeform 80">
            <a:extLst>
              <a:ext uri="{FF2B5EF4-FFF2-40B4-BE49-F238E27FC236}">
                <a16:creationId xmlns:a16="http://schemas.microsoft.com/office/drawing/2014/main" id="{DC457F00-600A-4041-8F4E-1CD1006B173C}"/>
              </a:ext>
            </a:extLst>
          </p:cNvPr>
          <p:cNvSpPr>
            <a:spLocks noEditPoints="1"/>
          </p:cNvSpPr>
          <p:nvPr/>
        </p:nvSpPr>
        <p:spPr bwMode="auto">
          <a:xfrm flipV="1">
            <a:off x="1879442" y="4551086"/>
            <a:ext cx="382559" cy="114675"/>
          </a:xfrm>
          <a:custGeom>
            <a:avLst/>
            <a:gdLst>
              <a:gd name="T0" fmla="*/ 471 w 514"/>
              <a:gd name="T1" fmla="*/ 9 h 76"/>
              <a:gd name="T2" fmla="*/ 465 w 514"/>
              <a:gd name="T3" fmla="*/ 10 h 76"/>
              <a:gd name="T4" fmla="*/ 461 w 514"/>
              <a:gd name="T5" fmla="*/ 12 h 76"/>
              <a:gd name="T6" fmla="*/ 456 w 514"/>
              <a:gd name="T7" fmla="*/ 17 h 76"/>
              <a:gd name="T8" fmla="*/ 452 w 514"/>
              <a:gd name="T9" fmla="*/ 21 h 76"/>
              <a:gd name="T10" fmla="*/ 449 w 514"/>
              <a:gd name="T11" fmla="*/ 26 h 76"/>
              <a:gd name="T12" fmla="*/ 447 w 514"/>
              <a:gd name="T13" fmla="*/ 32 h 76"/>
              <a:gd name="T14" fmla="*/ 446 w 514"/>
              <a:gd name="T15" fmla="*/ 38 h 76"/>
              <a:gd name="T16" fmla="*/ 447 w 514"/>
              <a:gd name="T17" fmla="*/ 44 h 76"/>
              <a:gd name="T18" fmla="*/ 449 w 514"/>
              <a:gd name="T19" fmla="*/ 50 h 76"/>
              <a:gd name="T20" fmla="*/ 452 w 514"/>
              <a:gd name="T21" fmla="*/ 55 h 76"/>
              <a:gd name="T22" fmla="*/ 456 w 514"/>
              <a:gd name="T23" fmla="*/ 60 h 76"/>
              <a:gd name="T24" fmla="*/ 461 w 514"/>
              <a:gd name="T25" fmla="*/ 63 h 76"/>
              <a:gd name="T26" fmla="*/ 466 w 514"/>
              <a:gd name="T27" fmla="*/ 65 h 76"/>
              <a:gd name="T28" fmla="*/ 472 w 514"/>
              <a:gd name="T29" fmla="*/ 68 h 76"/>
              <a:gd name="T30" fmla="*/ 478 w 514"/>
              <a:gd name="T31" fmla="*/ 68 h 76"/>
              <a:gd name="T32" fmla="*/ 484 w 514"/>
              <a:gd name="T33" fmla="*/ 66 h 76"/>
              <a:gd name="T34" fmla="*/ 490 w 514"/>
              <a:gd name="T35" fmla="*/ 64 h 76"/>
              <a:gd name="T36" fmla="*/ 494 w 514"/>
              <a:gd name="T37" fmla="*/ 61 h 76"/>
              <a:gd name="T38" fmla="*/ 499 w 514"/>
              <a:gd name="T39" fmla="*/ 57 h 76"/>
              <a:gd name="T40" fmla="*/ 502 w 514"/>
              <a:gd name="T41" fmla="*/ 52 h 76"/>
              <a:gd name="T42" fmla="*/ 505 w 514"/>
              <a:gd name="T43" fmla="*/ 47 h 76"/>
              <a:gd name="T44" fmla="*/ 506 w 514"/>
              <a:gd name="T45" fmla="*/ 41 h 76"/>
              <a:gd name="T46" fmla="*/ 506 w 514"/>
              <a:gd name="T47" fmla="*/ 35 h 76"/>
              <a:gd name="T48" fmla="*/ 505 w 514"/>
              <a:gd name="T49" fmla="*/ 28 h 76"/>
              <a:gd name="T50" fmla="*/ 502 w 514"/>
              <a:gd name="T51" fmla="*/ 24 h 76"/>
              <a:gd name="T52" fmla="*/ 499 w 514"/>
              <a:gd name="T53" fmla="*/ 18 h 76"/>
              <a:gd name="T54" fmla="*/ 494 w 514"/>
              <a:gd name="T55" fmla="*/ 15 h 76"/>
              <a:gd name="T56" fmla="*/ 489 w 514"/>
              <a:gd name="T57" fmla="*/ 11 h 76"/>
              <a:gd name="T58" fmla="*/ 484 w 514"/>
              <a:gd name="T59" fmla="*/ 9 h 76"/>
              <a:gd name="T60" fmla="*/ 478 w 514"/>
              <a:gd name="T61" fmla="*/ 8 h 76"/>
              <a:gd name="T62" fmla="*/ 439 w 514"/>
              <a:gd name="T63" fmla="*/ 28 h 76"/>
              <a:gd name="T64" fmla="*/ 443 w 514"/>
              <a:gd name="T65" fmla="*/ 21 h 76"/>
              <a:gd name="T66" fmla="*/ 446 w 514"/>
              <a:gd name="T67" fmla="*/ 15 h 76"/>
              <a:gd name="T68" fmla="*/ 452 w 514"/>
              <a:gd name="T69" fmla="*/ 10 h 76"/>
              <a:gd name="T70" fmla="*/ 457 w 514"/>
              <a:gd name="T71" fmla="*/ 6 h 76"/>
              <a:gd name="T72" fmla="*/ 464 w 514"/>
              <a:gd name="T73" fmla="*/ 2 h 76"/>
              <a:gd name="T74" fmla="*/ 472 w 514"/>
              <a:gd name="T75" fmla="*/ 0 h 76"/>
              <a:gd name="T76" fmla="*/ 480 w 514"/>
              <a:gd name="T77" fmla="*/ 0 h 76"/>
              <a:gd name="T78" fmla="*/ 488 w 514"/>
              <a:gd name="T79" fmla="*/ 2 h 76"/>
              <a:gd name="T80" fmla="*/ 494 w 514"/>
              <a:gd name="T81" fmla="*/ 5 h 76"/>
              <a:gd name="T82" fmla="*/ 500 w 514"/>
              <a:gd name="T83" fmla="*/ 9 h 76"/>
              <a:gd name="T84" fmla="*/ 506 w 514"/>
              <a:gd name="T85" fmla="*/ 15 h 76"/>
              <a:gd name="T86" fmla="*/ 509 w 514"/>
              <a:gd name="T87" fmla="*/ 20 h 76"/>
              <a:gd name="T88" fmla="*/ 512 w 514"/>
              <a:gd name="T89" fmla="*/ 27 h 76"/>
              <a:gd name="T90" fmla="*/ 514 w 514"/>
              <a:gd name="T91" fmla="*/ 35 h 76"/>
              <a:gd name="T92" fmla="*/ 514 w 514"/>
              <a:gd name="T93" fmla="*/ 43 h 76"/>
              <a:gd name="T94" fmla="*/ 511 w 514"/>
              <a:gd name="T95" fmla="*/ 51 h 76"/>
              <a:gd name="T96" fmla="*/ 508 w 514"/>
              <a:gd name="T97" fmla="*/ 57 h 76"/>
              <a:gd name="T98" fmla="*/ 503 w 514"/>
              <a:gd name="T99" fmla="*/ 63 h 76"/>
              <a:gd name="T100" fmla="*/ 498 w 514"/>
              <a:gd name="T101" fmla="*/ 69 h 76"/>
              <a:gd name="T102" fmla="*/ 492 w 514"/>
              <a:gd name="T103" fmla="*/ 72 h 76"/>
              <a:gd name="T104" fmla="*/ 484 w 514"/>
              <a:gd name="T105" fmla="*/ 74 h 76"/>
              <a:gd name="T106" fmla="*/ 476 w 514"/>
              <a:gd name="T107" fmla="*/ 76 h 76"/>
              <a:gd name="T108" fmla="*/ 469 w 514"/>
              <a:gd name="T109" fmla="*/ 74 h 76"/>
              <a:gd name="T110" fmla="*/ 462 w 514"/>
              <a:gd name="T111" fmla="*/ 72 h 76"/>
              <a:gd name="T112" fmla="*/ 455 w 514"/>
              <a:gd name="T113" fmla="*/ 69 h 76"/>
              <a:gd name="T114" fmla="*/ 449 w 514"/>
              <a:gd name="T115" fmla="*/ 64 h 76"/>
              <a:gd name="T116" fmla="*/ 445 w 514"/>
              <a:gd name="T117" fmla="*/ 59 h 76"/>
              <a:gd name="T118" fmla="*/ 441 w 514"/>
              <a:gd name="T119" fmla="*/ 52 h 76"/>
              <a:gd name="T120" fmla="*/ 439 w 514"/>
              <a:gd name="T121" fmla="*/ 44 h 76"/>
              <a:gd name="T122" fmla="*/ 299 w 514"/>
              <a:gd name="T123" fmla="*/ 34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14" h="76">
                <a:moveTo>
                  <a:pt x="16" y="34"/>
                </a:moveTo>
                <a:lnTo>
                  <a:pt x="16" y="42"/>
                </a:lnTo>
                <a:lnTo>
                  <a:pt x="0" y="42"/>
                </a:lnTo>
                <a:lnTo>
                  <a:pt x="0" y="34"/>
                </a:lnTo>
                <a:lnTo>
                  <a:pt x="16" y="34"/>
                </a:lnTo>
                <a:lnTo>
                  <a:pt x="16" y="34"/>
                </a:lnTo>
                <a:close/>
                <a:moveTo>
                  <a:pt x="476" y="8"/>
                </a:moveTo>
                <a:lnTo>
                  <a:pt x="476" y="8"/>
                </a:lnTo>
                <a:lnTo>
                  <a:pt x="475" y="8"/>
                </a:lnTo>
                <a:lnTo>
                  <a:pt x="475" y="8"/>
                </a:lnTo>
                <a:lnTo>
                  <a:pt x="475" y="8"/>
                </a:lnTo>
                <a:lnTo>
                  <a:pt x="475" y="8"/>
                </a:lnTo>
                <a:lnTo>
                  <a:pt x="475" y="8"/>
                </a:lnTo>
                <a:lnTo>
                  <a:pt x="475" y="8"/>
                </a:lnTo>
                <a:lnTo>
                  <a:pt x="474" y="8"/>
                </a:lnTo>
                <a:lnTo>
                  <a:pt x="474" y="8"/>
                </a:lnTo>
                <a:lnTo>
                  <a:pt x="474" y="8"/>
                </a:lnTo>
                <a:lnTo>
                  <a:pt x="474" y="8"/>
                </a:lnTo>
                <a:lnTo>
                  <a:pt x="474" y="8"/>
                </a:lnTo>
                <a:lnTo>
                  <a:pt x="474" y="8"/>
                </a:lnTo>
                <a:lnTo>
                  <a:pt x="473" y="8"/>
                </a:lnTo>
                <a:lnTo>
                  <a:pt x="473" y="8"/>
                </a:lnTo>
                <a:lnTo>
                  <a:pt x="473" y="8"/>
                </a:lnTo>
                <a:lnTo>
                  <a:pt x="473" y="8"/>
                </a:lnTo>
                <a:lnTo>
                  <a:pt x="473" y="8"/>
                </a:lnTo>
                <a:lnTo>
                  <a:pt x="473" y="8"/>
                </a:lnTo>
                <a:lnTo>
                  <a:pt x="472" y="8"/>
                </a:lnTo>
                <a:lnTo>
                  <a:pt x="472" y="8"/>
                </a:lnTo>
                <a:lnTo>
                  <a:pt x="472" y="8"/>
                </a:lnTo>
                <a:lnTo>
                  <a:pt x="472" y="8"/>
                </a:lnTo>
                <a:lnTo>
                  <a:pt x="472" y="8"/>
                </a:lnTo>
                <a:lnTo>
                  <a:pt x="472" y="9"/>
                </a:lnTo>
                <a:lnTo>
                  <a:pt x="471" y="9"/>
                </a:lnTo>
                <a:lnTo>
                  <a:pt x="471" y="9"/>
                </a:lnTo>
                <a:lnTo>
                  <a:pt x="471" y="9"/>
                </a:lnTo>
                <a:lnTo>
                  <a:pt x="471" y="9"/>
                </a:lnTo>
                <a:lnTo>
                  <a:pt x="471" y="9"/>
                </a:lnTo>
                <a:lnTo>
                  <a:pt x="471" y="9"/>
                </a:lnTo>
                <a:lnTo>
                  <a:pt x="470" y="9"/>
                </a:lnTo>
                <a:lnTo>
                  <a:pt x="470" y="9"/>
                </a:lnTo>
                <a:lnTo>
                  <a:pt x="470" y="9"/>
                </a:lnTo>
                <a:lnTo>
                  <a:pt x="470" y="9"/>
                </a:lnTo>
                <a:lnTo>
                  <a:pt x="470" y="9"/>
                </a:lnTo>
                <a:lnTo>
                  <a:pt x="470" y="9"/>
                </a:lnTo>
                <a:lnTo>
                  <a:pt x="470" y="9"/>
                </a:lnTo>
                <a:lnTo>
                  <a:pt x="469" y="9"/>
                </a:lnTo>
                <a:lnTo>
                  <a:pt x="469" y="9"/>
                </a:lnTo>
                <a:lnTo>
                  <a:pt x="469" y="9"/>
                </a:lnTo>
                <a:lnTo>
                  <a:pt x="469" y="9"/>
                </a:lnTo>
                <a:lnTo>
                  <a:pt x="469" y="9"/>
                </a:lnTo>
                <a:lnTo>
                  <a:pt x="469" y="9"/>
                </a:lnTo>
                <a:lnTo>
                  <a:pt x="467" y="9"/>
                </a:lnTo>
                <a:lnTo>
                  <a:pt x="467" y="9"/>
                </a:lnTo>
                <a:lnTo>
                  <a:pt x="467" y="9"/>
                </a:lnTo>
                <a:lnTo>
                  <a:pt x="467" y="9"/>
                </a:lnTo>
                <a:lnTo>
                  <a:pt x="467" y="9"/>
                </a:lnTo>
                <a:lnTo>
                  <a:pt x="467" y="9"/>
                </a:lnTo>
                <a:lnTo>
                  <a:pt x="467" y="10"/>
                </a:lnTo>
                <a:lnTo>
                  <a:pt x="466" y="10"/>
                </a:lnTo>
                <a:lnTo>
                  <a:pt x="466" y="10"/>
                </a:lnTo>
                <a:lnTo>
                  <a:pt x="466" y="10"/>
                </a:lnTo>
                <a:lnTo>
                  <a:pt x="466" y="10"/>
                </a:lnTo>
                <a:lnTo>
                  <a:pt x="466" y="10"/>
                </a:lnTo>
                <a:lnTo>
                  <a:pt x="466" y="10"/>
                </a:lnTo>
                <a:lnTo>
                  <a:pt x="465" y="10"/>
                </a:lnTo>
                <a:lnTo>
                  <a:pt x="465" y="10"/>
                </a:lnTo>
                <a:lnTo>
                  <a:pt x="465" y="10"/>
                </a:lnTo>
                <a:lnTo>
                  <a:pt x="465" y="10"/>
                </a:lnTo>
                <a:lnTo>
                  <a:pt x="465" y="10"/>
                </a:lnTo>
                <a:lnTo>
                  <a:pt x="465" y="10"/>
                </a:lnTo>
                <a:lnTo>
                  <a:pt x="465" y="10"/>
                </a:lnTo>
                <a:lnTo>
                  <a:pt x="464" y="10"/>
                </a:lnTo>
                <a:lnTo>
                  <a:pt x="464" y="10"/>
                </a:lnTo>
                <a:lnTo>
                  <a:pt x="464" y="10"/>
                </a:lnTo>
                <a:lnTo>
                  <a:pt x="464" y="11"/>
                </a:lnTo>
                <a:lnTo>
                  <a:pt x="464" y="11"/>
                </a:lnTo>
                <a:lnTo>
                  <a:pt x="464" y="11"/>
                </a:lnTo>
                <a:lnTo>
                  <a:pt x="464" y="11"/>
                </a:lnTo>
                <a:lnTo>
                  <a:pt x="463" y="11"/>
                </a:lnTo>
                <a:lnTo>
                  <a:pt x="463" y="11"/>
                </a:lnTo>
                <a:lnTo>
                  <a:pt x="463" y="11"/>
                </a:lnTo>
                <a:lnTo>
                  <a:pt x="463" y="11"/>
                </a:lnTo>
                <a:lnTo>
                  <a:pt x="463" y="11"/>
                </a:lnTo>
                <a:lnTo>
                  <a:pt x="463" y="11"/>
                </a:lnTo>
                <a:lnTo>
                  <a:pt x="463" y="11"/>
                </a:lnTo>
                <a:lnTo>
                  <a:pt x="462" y="11"/>
                </a:lnTo>
                <a:lnTo>
                  <a:pt x="462" y="11"/>
                </a:lnTo>
                <a:lnTo>
                  <a:pt x="462" y="11"/>
                </a:lnTo>
                <a:lnTo>
                  <a:pt x="462" y="12"/>
                </a:lnTo>
                <a:lnTo>
                  <a:pt x="462" y="12"/>
                </a:lnTo>
                <a:lnTo>
                  <a:pt x="462" y="12"/>
                </a:lnTo>
                <a:lnTo>
                  <a:pt x="462" y="12"/>
                </a:lnTo>
                <a:lnTo>
                  <a:pt x="461" y="12"/>
                </a:lnTo>
                <a:lnTo>
                  <a:pt x="461" y="12"/>
                </a:lnTo>
                <a:lnTo>
                  <a:pt x="461" y="12"/>
                </a:lnTo>
                <a:lnTo>
                  <a:pt x="461" y="12"/>
                </a:lnTo>
                <a:lnTo>
                  <a:pt x="461" y="12"/>
                </a:lnTo>
                <a:lnTo>
                  <a:pt x="461" y="12"/>
                </a:lnTo>
                <a:lnTo>
                  <a:pt x="461" y="12"/>
                </a:lnTo>
                <a:lnTo>
                  <a:pt x="459" y="12"/>
                </a:lnTo>
                <a:lnTo>
                  <a:pt x="459" y="14"/>
                </a:lnTo>
                <a:lnTo>
                  <a:pt x="459" y="14"/>
                </a:lnTo>
                <a:lnTo>
                  <a:pt x="459" y="14"/>
                </a:lnTo>
                <a:lnTo>
                  <a:pt x="459" y="14"/>
                </a:lnTo>
                <a:lnTo>
                  <a:pt x="459" y="14"/>
                </a:lnTo>
                <a:lnTo>
                  <a:pt x="459" y="14"/>
                </a:lnTo>
                <a:lnTo>
                  <a:pt x="459" y="14"/>
                </a:lnTo>
                <a:lnTo>
                  <a:pt x="458" y="14"/>
                </a:lnTo>
                <a:lnTo>
                  <a:pt x="458" y="14"/>
                </a:lnTo>
                <a:lnTo>
                  <a:pt x="458" y="14"/>
                </a:lnTo>
                <a:lnTo>
                  <a:pt x="458" y="14"/>
                </a:lnTo>
                <a:lnTo>
                  <a:pt x="458" y="15"/>
                </a:lnTo>
                <a:lnTo>
                  <a:pt x="458" y="15"/>
                </a:lnTo>
                <a:lnTo>
                  <a:pt x="458" y="15"/>
                </a:lnTo>
                <a:lnTo>
                  <a:pt x="458" y="15"/>
                </a:lnTo>
                <a:lnTo>
                  <a:pt x="457" y="15"/>
                </a:lnTo>
                <a:lnTo>
                  <a:pt x="457" y="15"/>
                </a:lnTo>
                <a:lnTo>
                  <a:pt x="457" y="15"/>
                </a:lnTo>
                <a:lnTo>
                  <a:pt x="457" y="15"/>
                </a:lnTo>
                <a:lnTo>
                  <a:pt x="457" y="15"/>
                </a:lnTo>
                <a:lnTo>
                  <a:pt x="457" y="15"/>
                </a:lnTo>
                <a:lnTo>
                  <a:pt x="457" y="16"/>
                </a:lnTo>
                <a:lnTo>
                  <a:pt x="457" y="16"/>
                </a:lnTo>
                <a:lnTo>
                  <a:pt x="456" y="16"/>
                </a:lnTo>
                <a:lnTo>
                  <a:pt x="456" y="16"/>
                </a:lnTo>
                <a:lnTo>
                  <a:pt x="456" y="16"/>
                </a:lnTo>
                <a:lnTo>
                  <a:pt x="456" y="16"/>
                </a:lnTo>
                <a:lnTo>
                  <a:pt x="456" y="16"/>
                </a:lnTo>
                <a:lnTo>
                  <a:pt x="456" y="16"/>
                </a:lnTo>
                <a:lnTo>
                  <a:pt x="456" y="16"/>
                </a:lnTo>
                <a:lnTo>
                  <a:pt x="456" y="16"/>
                </a:lnTo>
                <a:lnTo>
                  <a:pt x="456" y="17"/>
                </a:lnTo>
                <a:lnTo>
                  <a:pt x="455" y="17"/>
                </a:lnTo>
                <a:lnTo>
                  <a:pt x="455" y="17"/>
                </a:lnTo>
                <a:lnTo>
                  <a:pt x="455" y="17"/>
                </a:lnTo>
                <a:lnTo>
                  <a:pt x="455" y="17"/>
                </a:lnTo>
                <a:lnTo>
                  <a:pt x="455" y="17"/>
                </a:lnTo>
                <a:lnTo>
                  <a:pt x="455" y="17"/>
                </a:lnTo>
                <a:lnTo>
                  <a:pt x="455" y="17"/>
                </a:lnTo>
                <a:lnTo>
                  <a:pt x="455" y="17"/>
                </a:lnTo>
                <a:lnTo>
                  <a:pt x="455" y="18"/>
                </a:lnTo>
                <a:lnTo>
                  <a:pt x="454" y="18"/>
                </a:lnTo>
                <a:lnTo>
                  <a:pt x="454" y="18"/>
                </a:lnTo>
                <a:lnTo>
                  <a:pt x="454" y="18"/>
                </a:lnTo>
                <a:lnTo>
                  <a:pt x="454" y="18"/>
                </a:lnTo>
                <a:lnTo>
                  <a:pt x="454" y="18"/>
                </a:lnTo>
                <a:lnTo>
                  <a:pt x="454" y="18"/>
                </a:lnTo>
                <a:lnTo>
                  <a:pt x="454" y="18"/>
                </a:lnTo>
                <a:lnTo>
                  <a:pt x="454" y="19"/>
                </a:lnTo>
                <a:lnTo>
                  <a:pt x="454" y="19"/>
                </a:lnTo>
                <a:lnTo>
                  <a:pt x="453" y="19"/>
                </a:lnTo>
                <a:lnTo>
                  <a:pt x="453" y="19"/>
                </a:lnTo>
                <a:lnTo>
                  <a:pt x="453" y="19"/>
                </a:lnTo>
                <a:lnTo>
                  <a:pt x="453" y="19"/>
                </a:lnTo>
                <a:lnTo>
                  <a:pt x="453" y="19"/>
                </a:lnTo>
                <a:lnTo>
                  <a:pt x="453" y="19"/>
                </a:lnTo>
                <a:lnTo>
                  <a:pt x="453" y="20"/>
                </a:lnTo>
                <a:lnTo>
                  <a:pt x="453" y="20"/>
                </a:lnTo>
                <a:lnTo>
                  <a:pt x="453" y="20"/>
                </a:lnTo>
                <a:lnTo>
                  <a:pt x="453" y="20"/>
                </a:lnTo>
                <a:lnTo>
                  <a:pt x="452" y="20"/>
                </a:lnTo>
                <a:lnTo>
                  <a:pt x="452" y="20"/>
                </a:lnTo>
                <a:lnTo>
                  <a:pt x="452" y="20"/>
                </a:lnTo>
                <a:lnTo>
                  <a:pt x="452" y="20"/>
                </a:lnTo>
                <a:lnTo>
                  <a:pt x="452" y="21"/>
                </a:lnTo>
                <a:lnTo>
                  <a:pt x="452" y="21"/>
                </a:lnTo>
                <a:lnTo>
                  <a:pt x="452" y="21"/>
                </a:lnTo>
                <a:lnTo>
                  <a:pt x="452" y="21"/>
                </a:lnTo>
                <a:lnTo>
                  <a:pt x="452" y="21"/>
                </a:lnTo>
                <a:lnTo>
                  <a:pt x="452" y="21"/>
                </a:lnTo>
                <a:lnTo>
                  <a:pt x="452" y="21"/>
                </a:lnTo>
                <a:lnTo>
                  <a:pt x="452" y="21"/>
                </a:lnTo>
                <a:lnTo>
                  <a:pt x="450" y="23"/>
                </a:lnTo>
                <a:lnTo>
                  <a:pt x="450" y="23"/>
                </a:lnTo>
                <a:lnTo>
                  <a:pt x="450" y="23"/>
                </a:lnTo>
                <a:lnTo>
                  <a:pt x="450" y="23"/>
                </a:lnTo>
                <a:lnTo>
                  <a:pt x="450" y="23"/>
                </a:lnTo>
                <a:lnTo>
                  <a:pt x="450" y="23"/>
                </a:lnTo>
                <a:lnTo>
                  <a:pt x="450" y="23"/>
                </a:lnTo>
                <a:lnTo>
                  <a:pt x="450" y="24"/>
                </a:lnTo>
                <a:lnTo>
                  <a:pt x="450" y="24"/>
                </a:lnTo>
                <a:lnTo>
                  <a:pt x="450" y="24"/>
                </a:lnTo>
                <a:lnTo>
                  <a:pt x="450" y="24"/>
                </a:lnTo>
                <a:lnTo>
                  <a:pt x="450" y="24"/>
                </a:lnTo>
                <a:lnTo>
                  <a:pt x="449" y="24"/>
                </a:lnTo>
                <a:lnTo>
                  <a:pt x="449" y="24"/>
                </a:lnTo>
                <a:lnTo>
                  <a:pt x="449" y="25"/>
                </a:lnTo>
                <a:lnTo>
                  <a:pt x="449" y="25"/>
                </a:lnTo>
                <a:lnTo>
                  <a:pt x="449" y="25"/>
                </a:lnTo>
                <a:lnTo>
                  <a:pt x="449" y="25"/>
                </a:lnTo>
                <a:lnTo>
                  <a:pt x="449" y="25"/>
                </a:lnTo>
                <a:lnTo>
                  <a:pt x="449" y="25"/>
                </a:lnTo>
                <a:lnTo>
                  <a:pt x="449" y="25"/>
                </a:lnTo>
                <a:lnTo>
                  <a:pt x="449" y="26"/>
                </a:lnTo>
                <a:lnTo>
                  <a:pt x="449" y="26"/>
                </a:lnTo>
                <a:lnTo>
                  <a:pt x="449" y="26"/>
                </a:lnTo>
                <a:lnTo>
                  <a:pt x="449" y="26"/>
                </a:lnTo>
                <a:lnTo>
                  <a:pt x="449" y="26"/>
                </a:lnTo>
                <a:lnTo>
                  <a:pt x="449" y="26"/>
                </a:lnTo>
                <a:lnTo>
                  <a:pt x="448" y="26"/>
                </a:lnTo>
                <a:lnTo>
                  <a:pt x="448" y="27"/>
                </a:lnTo>
                <a:lnTo>
                  <a:pt x="448" y="27"/>
                </a:lnTo>
                <a:lnTo>
                  <a:pt x="448" y="27"/>
                </a:lnTo>
                <a:lnTo>
                  <a:pt x="448" y="27"/>
                </a:lnTo>
                <a:lnTo>
                  <a:pt x="448" y="27"/>
                </a:lnTo>
                <a:lnTo>
                  <a:pt x="448" y="27"/>
                </a:lnTo>
                <a:lnTo>
                  <a:pt x="448" y="27"/>
                </a:lnTo>
                <a:lnTo>
                  <a:pt x="448" y="28"/>
                </a:lnTo>
                <a:lnTo>
                  <a:pt x="448" y="28"/>
                </a:lnTo>
                <a:lnTo>
                  <a:pt x="448" y="28"/>
                </a:lnTo>
                <a:lnTo>
                  <a:pt x="448" y="28"/>
                </a:lnTo>
                <a:lnTo>
                  <a:pt x="448" y="28"/>
                </a:lnTo>
                <a:lnTo>
                  <a:pt x="448" y="28"/>
                </a:lnTo>
                <a:lnTo>
                  <a:pt x="448" y="29"/>
                </a:lnTo>
                <a:lnTo>
                  <a:pt x="448" y="29"/>
                </a:lnTo>
                <a:lnTo>
                  <a:pt x="448" y="29"/>
                </a:lnTo>
                <a:lnTo>
                  <a:pt x="448" y="29"/>
                </a:lnTo>
                <a:lnTo>
                  <a:pt x="447" y="29"/>
                </a:lnTo>
                <a:lnTo>
                  <a:pt x="447" y="29"/>
                </a:lnTo>
                <a:lnTo>
                  <a:pt x="447" y="30"/>
                </a:lnTo>
                <a:lnTo>
                  <a:pt x="447" y="30"/>
                </a:lnTo>
                <a:lnTo>
                  <a:pt x="447" y="30"/>
                </a:lnTo>
                <a:lnTo>
                  <a:pt x="447" y="30"/>
                </a:lnTo>
                <a:lnTo>
                  <a:pt x="447" y="30"/>
                </a:lnTo>
                <a:lnTo>
                  <a:pt x="447" y="30"/>
                </a:lnTo>
                <a:lnTo>
                  <a:pt x="447" y="30"/>
                </a:lnTo>
                <a:lnTo>
                  <a:pt x="447" y="32"/>
                </a:lnTo>
                <a:lnTo>
                  <a:pt x="447" y="32"/>
                </a:lnTo>
                <a:lnTo>
                  <a:pt x="447" y="32"/>
                </a:lnTo>
                <a:lnTo>
                  <a:pt x="447" y="32"/>
                </a:lnTo>
                <a:lnTo>
                  <a:pt x="447" y="32"/>
                </a:lnTo>
                <a:lnTo>
                  <a:pt x="447" y="32"/>
                </a:lnTo>
                <a:lnTo>
                  <a:pt x="447" y="33"/>
                </a:lnTo>
                <a:lnTo>
                  <a:pt x="447" y="33"/>
                </a:lnTo>
                <a:lnTo>
                  <a:pt x="447" y="33"/>
                </a:lnTo>
                <a:lnTo>
                  <a:pt x="447" y="33"/>
                </a:lnTo>
                <a:lnTo>
                  <a:pt x="447" y="33"/>
                </a:lnTo>
                <a:lnTo>
                  <a:pt x="447" y="33"/>
                </a:lnTo>
                <a:lnTo>
                  <a:pt x="447" y="34"/>
                </a:lnTo>
                <a:lnTo>
                  <a:pt x="447" y="34"/>
                </a:lnTo>
                <a:lnTo>
                  <a:pt x="447" y="34"/>
                </a:lnTo>
                <a:lnTo>
                  <a:pt x="447" y="34"/>
                </a:lnTo>
                <a:lnTo>
                  <a:pt x="447" y="34"/>
                </a:lnTo>
                <a:lnTo>
                  <a:pt x="447" y="34"/>
                </a:lnTo>
                <a:lnTo>
                  <a:pt x="447" y="35"/>
                </a:lnTo>
                <a:lnTo>
                  <a:pt x="447" y="35"/>
                </a:lnTo>
                <a:lnTo>
                  <a:pt x="447" y="35"/>
                </a:lnTo>
                <a:lnTo>
                  <a:pt x="447" y="35"/>
                </a:lnTo>
                <a:lnTo>
                  <a:pt x="447" y="35"/>
                </a:lnTo>
                <a:lnTo>
                  <a:pt x="447" y="35"/>
                </a:lnTo>
                <a:lnTo>
                  <a:pt x="447" y="36"/>
                </a:lnTo>
                <a:lnTo>
                  <a:pt x="446" y="36"/>
                </a:lnTo>
                <a:lnTo>
                  <a:pt x="446" y="36"/>
                </a:lnTo>
                <a:lnTo>
                  <a:pt x="446" y="36"/>
                </a:lnTo>
                <a:lnTo>
                  <a:pt x="446" y="36"/>
                </a:lnTo>
                <a:lnTo>
                  <a:pt x="446" y="36"/>
                </a:lnTo>
                <a:lnTo>
                  <a:pt x="446" y="37"/>
                </a:lnTo>
                <a:lnTo>
                  <a:pt x="446" y="37"/>
                </a:lnTo>
                <a:lnTo>
                  <a:pt x="446" y="37"/>
                </a:lnTo>
                <a:lnTo>
                  <a:pt x="446" y="37"/>
                </a:lnTo>
                <a:lnTo>
                  <a:pt x="446" y="37"/>
                </a:lnTo>
                <a:lnTo>
                  <a:pt x="446" y="37"/>
                </a:lnTo>
                <a:lnTo>
                  <a:pt x="446" y="38"/>
                </a:lnTo>
                <a:lnTo>
                  <a:pt x="446" y="38"/>
                </a:lnTo>
                <a:lnTo>
                  <a:pt x="446" y="38"/>
                </a:lnTo>
                <a:lnTo>
                  <a:pt x="446" y="38"/>
                </a:lnTo>
                <a:lnTo>
                  <a:pt x="446" y="38"/>
                </a:lnTo>
                <a:lnTo>
                  <a:pt x="446" y="38"/>
                </a:lnTo>
                <a:lnTo>
                  <a:pt x="446" y="39"/>
                </a:lnTo>
                <a:lnTo>
                  <a:pt x="446" y="39"/>
                </a:lnTo>
                <a:lnTo>
                  <a:pt x="446" y="39"/>
                </a:lnTo>
                <a:lnTo>
                  <a:pt x="446" y="39"/>
                </a:lnTo>
                <a:lnTo>
                  <a:pt x="446" y="39"/>
                </a:lnTo>
                <a:lnTo>
                  <a:pt x="446" y="39"/>
                </a:lnTo>
                <a:lnTo>
                  <a:pt x="447" y="41"/>
                </a:lnTo>
                <a:lnTo>
                  <a:pt x="447" y="41"/>
                </a:lnTo>
                <a:lnTo>
                  <a:pt x="447" y="41"/>
                </a:lnTo>
                <a:lnTo>
                  <a:pt x="447" y="41"/>
                </a:lnTo>
                <a:lnTo>
                  <a:pt x="447" y="41"/>
                </a:lnTo>
                <a:lnTo>
                  <a:pt x="447" y="41"/>
                </a:lnTo>
                <a:lnTo>
                  <a:pt x="447" y="42"/>
                </a:lnTo>
                <a:lnTo>
                  <a:pt x="447" y="42"/>
                </a:lnTo>
                <a:lnTo>
                  <a:pt x="447" y="42"/>
                </a:lnTo>
                <a:lnTo>
                  <a:pt x="447" y="42"/>
                </a:lnTo>
                <a:lnTo>
                  <a:pt x="447" y="42"/>
                </a:lnTo>
                <a:lnTo>
                  <a:pt x="447" y="42"/>
                </a:lnTo>
                <a:lnTo>
                  <a:pt x="447" y="43"/>
                </a:lnTo>
                <a:lnTo>
                  <a:pt x="447" y="43"/>
                </a:lnTo>
                <a:lnTo>
                  <a:pt x="447" y="43"/>
                </a:lnTo>
                <a:lnTo>
                  <a:pt x="447" y="43"/>
                </a:lnTo>
                <a:lnTo>
                  <a:pt x="447" y="43"/>
                </a:lnTo>
                <a:lnTo>
                  <a:pt x="447" y="43"/>
                </a:lnTo>
                <a:lnTo>
                  <a:pt x="447" y="44"/>
                </a:lnTo>
                <a:lnTo>
                  <a:pt x="447" y="44"/>
                </a:lnTo>
                <a:lnTo>
                  <a:pt x="447" y="44"/>
                </a:lnTo>
                <a:lnTo>
                  <a:pt x="447" y="44"/>
                </a:lnTo>
                <a:lnTo>
                  <a:pt x="447" y="44"/>
                </a:lnTo>
                <a:lnTo>
                  <a:pt x="447" y="44"/>
                </a:lnTo>
                <a:lnTo>
                  <a:pt x="447" y="44"/>
                </a:lnTo>
                <a:lnTo>
                  <a:pt x="447" y="45"/>
                </a:lnTo>
                <a:lnTo>
                  <a:pt x="447" y="45"/>
                </a:lnTo>
                <a:lnTo>
                  <a:pt x="447" y="45"/>
                </a:lnTo>
                <a:lnTo>
                  <a:pt x="447" y="45"/>
                </a:lnTo>
                <a:lnTo>
                  <a:pt x="447" y="45"/>
                </a:lnTo>
                <a:lnTo>
                  <a:pt x="447" y="45"/>
                </a:lnTo>
                <a:lnTo>
                  <a:pt x="447" y="46"/>
                </a:lnTo>
                <a:lnTo>
                  <a:pt x="447" y="46"/>
                </a:lnTo>
                <a:lnTo>
                  <a:pt x="447" y="46"/>
                </a:lnTo>
                <a:lnTo>
                  <a:pt x="448" y="46"/>
                </a:lnTo>
                <a:lnTo>
                  <a:pt x="448" y="46"/>
                </a:lnTo>
                <a:lnTo>
                  <a:pt x="448" y="46"/>
                </a:lnTo>
                <a:lnTo>
                  <a:pt x="448" y="47"/>
                </a:lnTo>
                <a:lnTo>
                  <a:pt x="448" y="47"/>
                </a:lnTo>
                <a:lnTo>
                  <a:pt x="448" y="47"/>
                </a:lnTo>
                <a:lnTo>
                  <a:pt x="448" y="47"/>
                </a:lnTo>
                <a:lnTo>
                  <a:pt x="448" y="47"/>
                </a:lnTo>
                <a:lnTo>
                  <a:pt x="448" y="47"/>
                </a:lnTo>
                <a:lnTo>
                  <a:pt x="448" y="47"/>
                </a:lnTo>
                <a:lnTo>
                  <a:pt x="448" y="48"/>
                </a:lnTo>
                <a:lnTo>
                  <a:pt x="448" y="48"/>
                </a:lnTo>
                <a:lnTo>
                  <a:pt x="448" y="48"/>
                </a:lnTo>
                <a:lnTo>
                  <a:pt x="448" y="48"/>
                </a:lnTo>
                <a:lnTo>
                  <a:pt x="448" y="48"/>
                </a:lnTo>
                <a:lnTo>
                  <a:pt x="448" y="48"/>
                </a:lnTo>
                <a:lnTo>
                  <a:pt x="448" y="48"/>
                </a:lnTo>
                <a:lnTo>
                  <a:pt x="448" y="50"/>
                </a:lnTo>
                <a:lnTo>
                  <a:pt x="449" y="50"/>
                </a:lnTo>
                <a:lnTo>
                  <a:pt x="449" y="50"/>
                </a:lnTo>
                <a:lnTo>
                  <a:pt x="449" y="50"/>
                </a:lnTo>
                <a:lnTo>
                  <a:pt x="449" y="50"/>
                </a:lnTo>
                <a:lnTo>
                  <a:pt x="449" y="50"/>
                </a:lnTo>
                <a:lnTo>
                  <a:pt x="449" y="51"/>
                </a:lnTo>
                <a:lnTo>
                  <a:pt x="449" y="51"/>
                </a:lnTo>
                <a:lnTo>
                  <a:pt x="449" y="51"/>
                </a:lnTo>
                <a:lnTo>
                  <a:pt x="449" y="51"/>
                </a:lnTo>
                <a:lnTo>
                  <a:pt x="449" y="51"/>
                </a:lnTo>
                <a:lnTo>
                  <a:pt x="449" y="51"/>
                </a:lnTo>
                <a:lnTo>
                  <a:pt x="449" y="51"/>
                </a:lnTo>
                <a:lnTo>
                  <a:pt x="449" y="52"/>
                </a:lnTo>
                <a:lnTo>
                  <a:pt x="449" y="52"/>
                </a:lnTo>
                <a:lnTo>
                  <a:pt x="449" y="52"/>
                </a:lnTo>
                <a:lnTo>
                  <a:pt x="450" y="52"/>
                </a:lnTo>
                <a:lnTo>
                  <a:pt x="450" y="52"/>
                </a:lnTo>
                <a:lnTo>
                  <a:pt x="450" y="52"/>
                </a:lnTo>
                <a:lnTo>
                  <a:pt x="450" y="52"/>
                </a:lnTo>
                <a:lnTo>
                  <a:pt x="450" y="53"/>
                </a:lnTo>
                <a:lnTo>
                  <a:pt x="450" y="53"/>
                </a:lnTo>
                <a:lnTo>
                  <a:pt x="450" y="53"/>
                </a:lnTo>
                <a:lnTo>
                  <a:pt x="450" y="53"/>
                </a:lnTo>
                <a:lnTo>
                  <a:pt x="450" y="53"/>
                </a:lnTo>
                <a:lnTo>
                  <a:pt x="450" y="53"/>
                </a:lnTo>
                <a:lnTo>
                  <a:pt x="450" y="53"/>
                </a:lnTo>
                <a:lnTo>
                  <a:pt x="450" y="53"/>
                </a:lnTo>
                <a:lnTo>
                  <a:pt x="452" y="54"/>
                </a:lnTo>
                <a:lnTo>
                  <a:pt x="452" y="54"/>
                </a:lnTo>
                <a:lnTo>
                  <a:pt x="452" y="54"/>
                </a:lnTo>
                <a:lnTo>
                  <a:pt x="452" y="54"/>
                </a:lnTo>
                <a:lnTo>
                  <a:pt x="452" y="54"/>
                </a:lnTo>
                <a:lnTo>
                  <a:pt x="452" y="54"/>
                </a:lnTo>
                <a:lnTo>
                  <a:pt x="452" y="54"/>
                </a:lnTo>
                <a:lnTo>
                  <a:pt x="452" y="55"/>
                </a:lnTo>
                <a:lnTo>
                  <a:pt x="452" y="55"/>
                </a:lnTo>
                <a:lnTo>
                  <a:pt x="452" y="55"/>
                </a:lnTo>
                <a:lnTo>
                  <a:pt x="452" y="55"/>
                </a:lnTo>
                <a:lnTo>
                  <a:pt x="452" y="55"/>
                </a:lnTo>
                <a:lnTo>
                  <a:pt x="453" y="55"/>
                </a:lnTo>
                <a:lnTo>
                  <a:pt x="453" y="55"/>
                </a:lnTo>
                <a:lnTo>
                  <a:pt x="453" y="55"/>
                </a:lnTo>
                <a:lnTo>
                  <a:pt x="453" y="56"/>
                </a:lnTo>
                <a:lnTo>
                  <a:pt x="453" y="56"/>
                </a:lnTo>
                <a:lnTo>
                  <a:pt x="453" y="56"/>
                </a:lnTo>
                <a:lnTo>
                  <a:pt x="453" y="56"/>
                </a:lnTo>
                <a:lnTo>
                  <a:pt x="453" y="56"/>
                </a:lnTo>
                <a:lnTo>
                  <a:pt x="453" y="56"/>
                </a:lnTo>
                <a:lnTo>
                  <a:pt x="453" y="56"/>
                </a:lnTo>
                <a:lnTo>
                  <a:pt x="454" y="56"/>
                </a:lnTo>
                <a:lnTo>
                  <a:pt x="454" y="57"/>
                </a:lnTo>
                <a:lnTo>
                  <a:pt x="454" y="57"/>
                </a:lnTo>
                <a:lnTo>
                  <a:pt x="454" y="57"/>
                </a:lnTo>
                <a:lnTo>
                  <a:pt x="454" y="57"/>
                </a:lnTo>
                <a:lnTo>
                  <a:pt x="454" y="57"/>
                </a:lnTo>
                <a:lnTo>
                  <a:pt x="454" y="57"/>
                </a:lnTo>
                <a:lnTo>
                  <a:pt x="454" y="57"/>
                </a:lnTo>
                <a:lnTo>
                  <a:pt x="454" y="57"/>
                </a:lnTo>
                <a:lnTo>
                  <a:pt x="455" y="57"/>
                </a:lnTo>
                <a:lnTo>
                  <a:pt x="455" y="59"/>
                </a:lnTo>
                <a:lnTo>
                  <a:pt x="455" y="59"/>
                </a:lnTo>
                <a:lnTo>
                  <a:pt x="455" y="59"/>
                </a:lnTo>
                <a:lnTo>
                  <a:pt x="455" y="59"/>
                </a:lnTo>
                <a:lnTo>
                  <a:pt x="455" y="59"/>
                </a:lnTo>
                <a:lnTo>
                  <a:pt x="455" y="59"/>
                </a:lnTo>
                <a:lnTo>
                  <a:pt x="455" y="59"/>
                </a:lnTo>
                <a:lnTo>
                  <a:pt x="455" y="59"/>
                </a:lnTo>
                <a:lnTo>
                  <a:pt x="456" y="60"/>
                </a:lnTo>
                <a:lnTo>
                  <a:pt x="456" y="60"/>
                </a:lnTo>
                <a:lnTo>
                  <a:pt x="456" y="60"/>
                </a:lnTo>
                <a:lnTo>
                  <a:pt x="456" y="60"/>
                </a:lnTo>
                <a:lnTo>
                  <a:pt x="456" y="60"/>
                </a:lnTo>
                <a:lnTo>
                  <a:pt x="456" y="60"/>
                </a:lnTo>
                <a:lnTo>
                  <a:pt x="456" y="60"/>
                </a:lnTo>
                <a:lnTo>
                  <a:pt x="456" y="60"/>
                </a:lnTo>
                <a:lnTo>
                  <a:pt x="456" y="60"/>
                </a:lnTo>
                <a:lnTo>
                  <a:pt x="457" y="60"/>
                </a:lnTo>
                <a:lnTo>
                  <a:pt x="457" y="61"/>
                </a:lnTo>
                <a:lnTo>
                  <a:pt x="457" y="61"/>
                </a:lnTo>
                <a:lnTo>
                  <a:pt x="457" y="61"/>
                </a:lnTo>
                <a:lnTo>
                  <a:pt x="457" y="61"/>
                </a:lnTo>
                <a:lnTo>
                  <a:pt x="457" y="61"/>
                </a:lnTo>
                <a:lnTo>
                  <a:pt x="457" y="61"/>
                </a:lnTo>
                <a:lnTo>
                  <a:pt x="457" y="61"/>
                </a:lnTo>
                <a:lnTo>
                  <a:pt x="458" y="61"/>
                </a:lnTo>
                <a:lnTo>
                  <a:pt x="458" y="61"/>
                </a:lnTo>
                <a:lnTo>
                  <a:pt x="458" y="61"/>
                </a:lnTo>
                <a:lnTo>
                  <a:pt x="458" y="62"/>
                </a:lnTo>
                <a:lnTo>
                  <a:pt x="458" y="62"/>
                </a:lnTo>
                <a:lnTo>
                  <a:pt x="458" y="62"/>
                </a:lnTo>
                <a:lnTo>
                  <a:pt x="458" y="62"/>
                </a:lnTo>
                <a:lnTo>
                  <a:pt x="458" y="62"/>
                </a:lnTo>
                <a:lnTo>
                  <a:pt x="459" y="62"/>
                </a:lnTo>
                <a:lnTo>
                  <a:pt x="459" y="62"/>
                </a:lnTo>
                <a:lnTo>
                  <a:pt x="459" y="62"/>
                </a:lnTo>
                <a:lnTo>
                  <a:pt x="459" y="62"/>
                </a:lnTo>
                <a:lnTo>
                  <a:pt x="459" y="62"/>
                </a:lnTo>
                <a:lnTo>
                  <a:pt x="459" y="62"/>
                </a:lnTo>
                <a:lnTo>
                  <a:pt x="459" y="63"/>
                </a:lnTo>
                <a:lnTo>
                  <a:pt x="459" y="63"/>
                </a:lnTo>
                <a:lnTo>
                  <a:pt x="461" y="63"/>
                </a:lnTo>
                <a:lnTo>
                  <a:pt x="461" y="63"/>
                </a:lnTo>
                <a:lnTo>
                  <a:pt x="461" y="63"/>
                </a:lnTo>
                <a:lnTo>
                  <a:pt x="461" y="63"/>
                </a:lnTo>
                <a:lnTo>
                  <a:pt x="461" y="63"/>
                </a:lnTo>
                <a:lnTo>
                  <a:pt x="461" y="63"/>
                </a:lnTo>
                <a:lnTo>
                  <a:pt x="461" y="63"/>
                </a:lnTo>
                <a:lnTo>
                  <a:pt x="462" y="63"/>
                </a:lnTo>
                <a:lnTo>
                  <a:pt x="462" y="63"/>
                </a:lnTo>
                <a:lnTo>
                  <a:pt x="462" y="63"/>
                </a:lnTo>
                <a:lnTo>
                  <a:pt x="462" y="64"/>
                </a:lnTo>
                <a:lnTo>
                  <a:pt x="462" y="64"/>
                </a:lnTo>
                <a:lnTo>
                  <a:pt x="462" y="64"/>
                </a:lnTo>
                <a:lnTo>
                  <a:pt x="462" y="64"/>
                </a:lnTo>
                <a:lnTo>
                  <a:pt x="463" y="64"/>
                </a:lnTo>
                <a:lnTo>
                  <a:pt x="463" y="64"/>
                </a:lnTo>
                <a:lnTo>
                  <a:pt x="463" y="64"/>
                </a:lnTo>
                <a:lnTo>
                  <a:pt x="463" y="64"/>
                </a:lnTo>
                <a:lnTo>
                  <a:pt x="463" y="64"/>
                </a:lnTo>
                <a:lnTo>
                  <a:pt x="463" y="64"/>
                </a:lnTo>
                <a:lnTo>
                  <a:pt x="463" y="64"/>
                </a:lnTo>
                <a:lnTo>
                  <a:pt x="464" y="64"/>
                </a:lnTo>
                <a:lnTo>
                  <a:pt x="464" y="64"/>
                </a:lnTo>
                <a:lnTo>
                  <a:pt x="464" y="65"/>
                </a:lnTo>
                <a:lnTo>
                  <a:pt x="464" y="65"/>
                </a:lnTo>
                <a:lnTo>
                  <a:pt x="464" y="65"/>
                </a:lnTo>
                <a:lnTo>
                  <a:pt x="464" y="65"/>
                </a:lnTo>
                <a:lnTo>
                  <a:pt x="464" y="65"/>
                </a:lnTo>
                <a:lnTo>
                  <a:pt x="465" y="65"/>
                </a:lnTo>
                <a:lnTo>
                  <a:pt x="465" y="65"/>
                </a:lnTo>
                <a:lnTo>
                  <a:pt x="465" y="65"/>
                </a:lnTo>
                <a:lnTo>
                  <a:pt x="465" y="65"/>
                </a:lnTo>
                <a:lnTo>
                  <a:pt x="465" y="65"/>
                </a:lnTo>
                <a:lnTo>
                  <a:pt x="465" y="65"/>
                </a:lnTo>
                <a:lnTo>
                  <a:pt x="465" y="65"/>
                </a:lnTo>
                <a:lnTo>
                  <a:pt x="466" y="65"/>
                </a:lnTo>
                <a:lnTo>
                  <a:pt x="466" y="65"/>
                </a:lnTo>
                <a:lnTo>
                  <a:pt x="466" y="65"/>
                </a:lnTo>
                <a:lnTo>
                  <a:pt x="466" y="65"/>
                </a:lnTo>
                <a:lnTo>
                  <a:pt x="466" y="65"/>
                </a:lnTo>
                <a:lnTo>
                  <a:pt x="466" y="66"/>
                </a:lnTo>
                <a:lnTo>
                  <a:pt x="467" y="66"/>
                </a:lnTo>
                <a:lnTo>
                  <a:pt x="467" y="66"/>
                </a:lnTo>
                <a:lnTo>
                  <a:pt x="467" y="66"/>
                </a:lnTo>
                <a:lnTo>
                  <a:pt x="467" y="66"/>
                </a:lnTo>
                <a:lnTo>
                  <a:pt x="467" y="66"/>
                </a:lnTo>
                <a:lnTo>
                  <a:pt x="467" y="66"/>
                </a:lnTo>
                <a:lnTo>
                  <a:pt x="467" y="66"/>
                </a:lnTo>
                <a:lnTo>
                  <a:pt x="469" y="66"/>
                </a:lnTo>
                <a:lnTo>
                  <a:pt x="469" y="66"/>
                </a:lnTo>
                <a:lnTo>
                  <a:pt x="469" y="66"/>
                </a:lnTo>
                <a:lnTo>
                  <a:pt x="469" y="66"/>
                </a:lnTo>
                <a:lnTo>
                  <a:pt x="469" y="66"/>
                </a:lnTo>
                <a:lnTo>
                  <a:pt x="469" y="66"/>
                </a:lnTo>
                <a:lnTo>
                  <a:pt x="470" y="66"/>
                </a:lnTo>
                <a:lnTo>
                  <a:pt x="470" y="66"/>
                </a:lnTo>
                <a:lnTo>
                  <a:pt x="470" y="66"/>
                </a:lnTo>
                <a:lnTo>
                  <a:pt x="470" y="66"/>
                </a:lnTo>
                <a:lnTo>
                  <a:pt x="470" y="66"/>
                </a:lnTo>
                <a:lnTo>
                  <a:pt x="470" y="66"/>
                </a:lnTo>
                <a:lnTo>
                  <a:pt x="470" y="66"/>
                </a:lnTo>
                <a:lnTo>
                  <a:pt x="471" y="66"/>
                </a:lnTo>
                <a:lnTo>
                  <a:pt x="471" y="66"/>
                </a:lnTo>
                <a:lnTo>
                  <a:pt x="471" y="66"/>
                </a:lnTo>
                <a:lnTo>
                  <a:pt x="471" y="68"/>
                </a:lnTo>
                <a:lnTo>
                  <a:pt x="471" y="68"/>
                </a:lnTo>
                <a:lnTo>
                  <a:pt x="471" y="68"/>
                </a:lnTo>
                <a:lnTo>
                  <a:pt x="472" y="68"/>
                </a:lnTo>
                <a:lnTo>
                  <a:pt x="472" y="68"/>
                </a:lnTo>
                <a:lnTo>
                  <a:pt x="472" y="68"/>
                </a:lnTo>
                <a:lnTo>
                  <a:pt x="472" y="68"/>
                </a:lnTo>
                <a:lnTo>
                  <a:pt x="472" y="68"/>
                </a:lnTo>
                <a:lnTo>
                  <a:pt x="472" y="68"/>
                </a:lnTo>
                <a:lnTo>
                  <a:pt x="473" y="68"/>
                </a:lnTo>
                <a:lnTo>
                  <a:pt x="473" y="68"/>
                </a:lnTo>
                <a:lnTo>
                  <a:pt x="473" y="68"/>
                </a:lnTo>
                <a:lnTo>
                  <a:pt x="473" y="68"/>
                </a:lnTo>
                <a:lnTo>
                  <a:pt x="473" y="68"/>
                </a:lnTo>
                <a:lnTo>
                  <a:pt x="473" y="68"/>
                </a:lnTo>
                <a:lnTo>
                  <a:pt x="474" y="68"/>
                </a:lnTo>
                <a:lnTo>
                  <a:pt x="474" y="68"/>
                </a:lnTo>
                <a:lnTo>
                  <a:pt x="474" y="68"/>
                </a:lnTo>
                <a:lnTo>
                  <a:pt x="474" y="68"/>
                </a:lnTo>
                <a:lnTo>
                  <a:pt x="474" y="68"/>
                </a:lnTo>
                <a:lnTo>
                  <a:pt x="474" y="68"/>
                </a:lnTo>
                <a:lnTo>
                  <a:pt x="475" y="68"/>
                </a:lnTo>
                <a:lnTo>
                  <a:pt x="475" y="68"/>
                </a:lnTo>
                <a:lnTo>
                  <a:pt x="475" y="68"/>
                </a:lnTo>
                <a:lnTo>
                  <a:pt x="475" y="68"/>
                </a:lnTo>
                <a:lnTo>
                  <a:pt x="475" y="68"/>
                </a:lnTo>
                <a:lnTo>
                  <a:pt x="475" y="68"/>
                </a:lnTo>
                <a:lnTo>
                  <a:pt x="476" y="68"/>
                </a:lnTo>
                <a:lnTo>
                  <a:pt x="476" y="68"/>
                </a:lnTo>
                <a:lnTo>
                  <a:pt x="476" y="68"/>
                </a:lnTo>
                <a:lnTo>
                  <a:pt x="476" y="68"/>
                </a:lnTo>
                <a:lnTo>
                  <a:pt x="476" y="68"/>
                </a:lnTo>
                <a:lnTo>
                  <a:pt x="476" y="68"/>
                </a:lnTo>
                <a:lnTo>
                  <a:pt x="478" y="68"/>
                </a:lnTo>
                <a:lnTo>
                  <a:pt x="478" y="68"/>
                </a:lnTo>
                <a:lnTo>
                  <a:pt x="478" y="68"/>
                </a:lnTo>
                <a:lnTo>
                  <a:pt x="478" y="68"/>
                </a:lnTo>
                <a:lnTo>
                  <a:pt x="478" y="68"/>
                </a:lnTo>
                <a:lnTo>
                  <a:pt x="478" y="68"/>
                </a:lnTo>
                <a:lnTo>
                  <a:pt x="479" y="68"/>
                </a:lnTo>
                <a:lnTo>
                  <a:pt x="479" y="68"/>
                </a:lnTo>
                <a:lnTo>
                  <a:pt x="479" y="68"/>
                </a:lnTo>
                <a:lnTo>
                  <a:pt x="479" y="68"/>
                </a:lnTo>
                <a:lnTo>
                  <a:pt x="479" y="68"/>
                </a:lnTo>
                <a:lnTo>
                  <a:pt x="479" y="68"/>
                </a:lnTo>
                <a:lnTo>
                  <a:pt x="480" y="68"/>
                </a:lnTo>
                <a:lnTo>
                  <a:pt x="480" y="68"/>
                </a:lnTo>
                <a:lnTo>
                  <a:pt x="480" y="68"/>
                </a:lnTo>
                <a:lnTo>
                  <a:pt x="480" y="68"/>
                </a:lnTo>
                <a:lnTo>
                  <a:pt x="480" y="68"/>
                </a:lnTo>
                <a:lnTo>
                  <a:pt x="480" y="68"/>
                </a:lnTo>
                <a:lnTo>
                  <a:pt x="481" y="68"/>
                </a:lnTo>
                <a:lnTo>
                  <a:pt x="481" y="68"/>
                </a:lnTo>
                <a:lnTo>
                  <a:pt x="481" y="68"/>
                </a:lnTo>
                <a:lnTo>
                  <a:pt x="481" y="68"/>
                </a:lnTo>
                <a:lnTo>
                  <a:pt x="481" y="68"/>
                </a:lnTo>
                <a:lnTo>
                  <a:pt x="481" y="68"/>
                </a:lnTo>
                <a:lnTo>
                  <a:pt x="482" y="66"/>
                </a:lnTo>
                <a:lnTo>
                  <a:pt x="482" y="66"/>
                </a:lnTo>
                <a:lnTo>
                  <a:pt x="482" y="66"/>
                </a:lnTo>
                <a:lnTo>
                  <a:pt x="482" y="66"/>
                </a:lnTo>
                <a:lnTo>
                  <a:pt x="482" y="66"/>
                </a:lnTo>
                <a:lnTo>
                  <a:pt x="482" y="66"/>
                </a:lnTo>
                <a:lnTo>
                  <a:pt x="483" y="66"/>
                </a:lnTo>
                <a:lnTo>
                  <a:pt x="483" y="66"/>
                </a:lnTo>
                <a:lnTo>
                  <a:pt x="483" y="66"/>
                </a:lnTo>
                <a:lnTo>
                  <a:pt x="483" y="66"/>
                </a:lnTo>
                <a:lnTo>
                  <a:pt x="483" y="66"/>
                </a:lnTo>
                <a:lnTo>
                  <a:pt x="483" y="66"/>
                </a:lnTo>
                <a:lnTo>
                  <a:pt x="484" y="66"/>
                </a:lnTo>
                <a:lnTo>
                  <a:pt x="484" y="66"/>
                </a:lnTo>
                <a:lnTo>
                  <a:pt x="484" y="66"/>
                </a:lnTo>
                <a:lnTo>
                  <a:pt x="484" y="66"/>
                </a:lnTo>
                <a:lnTo>
                  <a:pt x="484" y="66"/>
                </a:lnTo>
                <a:lnTo>
                  <a:pt x="484" y="66"/>
                </a:lnTo>
                <a:lnTo>
                  <a:pt x="484" y="66"/>
                </a:lnTo>
                <a:lnTo>
                  <a:pt x="485" y="66"/>
                </a:lnTo>
                <a:lnTo>
                  <a:pt x="485" y="66"/>
                </a:lnTo>
                <a:lnTo>
                  <a:pt x="485" y="66"/>
                </a:lnTo>
                <a:lnTo>
                  <a:pt x="485" y="66"/>
                </a:lnTo>
                <a:lnTo>
                  <a:pt x="485" y="66"/>
                </a:lnTo>
                <a:lnTo>
                  <a:pt x="485" y="65"/>
                </a:lnTo>
                <a:lnTo>
                  <a:pt x="487" y="65"/>
                </a:lnTo>
                <a:lnTo>
                  <a:pt x="487" y="65"/>
                </a:lnTo>
                <a:lnTo>
                  <a:pt x="487" y="65"/>
                </a:lnTo>
                <a:lnTo>
                  <a:pt x="487" y="65"/>
                </a:lnTo>
                <a:lnTo>
                  <a:pt x="487" y="65"/>
                </a:lnTo>
                <a:lnTo>
                  <a:pt x="487" y="65"/>
                </a:lnTo>
                <a:lnTo>
                  <a:pt x="487" y="65"/>
                </a:lnTo>
                <a:lnTo>
                  <a:pt x="488" y="65"/>
                </a:lnTo>
                <a:lnTo>
                  <a:pt x="488" y="65"/>
                </a:lnTo>
                <a:lnTo>
                  <a:pt x="488" y="65"/>
                </a:lnTo>
                <a:lnTo>
                  <a:pt x="488" y="65"/>
                </a:lnTo>
                <a:lnTo>
                  <a:pt x="488" y="65"/>
                </a:lnTo>
                <a:lnTo>
                  <a:pt x="488" y="65"/>
                </a:lnTo>
                <a:lnTo>
                  <a:pt x="488" y="65"/>
                </a:lnTo>
                <a:lnTo>
                  <a:pt x="489" y="65"/>
                </a:lnTo>
                <a:lnTo>
                  <a:pt x="489" y="65"/>
                </a:lnTo>
                <a:lnTo>
                  <a:pt x="489" y="64"/>
                </a:lnTo>
                <a:lnTo>
                  <a:pt x="489" y="64"/>
                </a:lnTo>
                <a:lnTo>
                  <a:pt x="489" y="64"/>
                </a:lnTo>
                <a:lnTo>
                  <a:pt x="489" y="64"/>
                </a:lnTo>
                <a:lnTo>
                  <a:pt x="489" y="64"/>
                </a:lnTo>
                <a:lnTo>
                  <a:pt x="490" y="64"/>
                </a:lnTo>
                <a:lnTo>
                  <a:pt x="490" y="64"/>
                </a:lnTo>
                <a:lnTo>
                  <a:pt x="490" y="64"/>
                </a:lnTo>
                <a:lnTo>
                  <a:pt x="490" y="64"/>
                </a:lnTo>
                <a:lnTo>
                  <a:pt x="490" y="64"/>
                </a:lnTo>
                <a:lnTo>
                  <a:pt x="490" y="64"/>
                </a:lnTo>
                <a:lnTo>
                  <a:pt x="490" y="64"/>
                </a:lnTo>
                <a:lnTo>
                  <a:pt x="491" y="64"/>
                </a:lnTo>
                <a:lnTo>
                  <a:pt x="491" y="63"/>
                </a:lnTo>
                <a:lnTo>
                  <a:pt x="491" y="63"/>
                </a:lnTo>
                <a:lnTo>
                  <a:pt x="491" y="63"/>
                </a:lnTo>
                <a:lnTo>
                  <a:pt x="491" y="63"/>
                </a:lnTo>
                <a:lnTo>
                  <a:pt x="491" y="63"/>
                </a:lnTo>
                <a:lnTo>
                  <a:pt x="491" y="63"/>
                </a:lnTo>
                <a:lnTo>
                  <a:pt x="492" y="63"/>
                </a:lnTo>
                <a:lnTo>
                  <a:pt x="492" y="63"/>
                </a:lnTo>
                <a:lnTo>
                  <a:pt x="492" y="63"/>
                </a:lnTo>
                <a:lnTo>
                  <a:pt x="492" y="63"/>
                </a:lnTo>
                <a:lnTo>
                  <a:pt x="492" y="63"/>
                </a:lnTo>
                <a:lnTo>
                  <a:pt x="492" y="63"/>
                </a:lnTo>
                <a:lnTo>
                  <a:pt x="492" y="62"/>
                </a:lnTo>
                <a:lnTo>
                  <a:pt x="493" y="62"/>
                </a:lnTo>
                <a:lnTo>
                  <a:pt x="493" y="62"/>
                </a:lnTo>
                <a:lnTo>
                  <a:pt x="493" y="62"/>
                </a:lnTo>
                <a:lnTo>
                  <a:pt x="493" y="62"/>
                </a:lnTo>
                <a:lnTo>
                  <a:pt x="493" y="62"/>
                </a:lnTo>
                <a:lnTo>
                  <a:pt x="493" y="62"/>
                </a:lnTo>
                <a:lnTo>
                  <a:pt x="493" y="62"/>
                </a:lnTo>
                <a:lnTo>
                  <a:pt x="493" y="62"/>
                </a:lnTo>
                <a:lnTo>
                  <a:pt x="494" y="62"/>
                </a:lnTo>
                <a:lnTo>
                  <a:pt x="494" y="62"/>
                </a:lnTo>
                <a:lnTo>
                  <a:pt x="494" y="61"/>
                </a:lnTo>
                <a:lnTo>
                  <a:pt x="494" y="61"/>
                </a:lnTo>
                <a:lnTo>
                  <a:pt x="494" y="61"/>
                </a:lnTo>
                <a:lnTo>
                  <a:pt x="494" y="61"/>
                </a:lnTo>
                <a:lnTo>
                  <a:pt x="494" y="61"/>
                </a:lnTo>
                <a:lnTo>
                  <a:pt x="494" y="61"/>
                </a:lnTo>
                <a:lnTo>
                  <a:pt x="496" y="61"/>
                </a:lnTo>
                <a:lnTo>
                  <a:pt x="496" y="61"/>
                </a:lnTo>
                <a:lnTo>
                  <a:pt x="496" y="61"/>
                </a:lnTo>
                <a:lnTo>
                  <a:pt x="496" y="61"/>
                </a:lnTo>
                <a:lnTo>
                  <a:pt x="496" y="60"/>
                </a:lnTo>
                <a:lnTo>
                  <a:pt x="496" y="60"/>
                </a:lnTo>
                <a:lnTo>
                  <a:pt x="496" y="60"/>
                </a:lnTo>
                <a:lnTo>
                  <a:pt x="496" y="60"/>
                </a:lnTo>
                <a:lnTo>
                  <a:pt x="497" y="60"/>
                </a:lnTo>
                <a:lnTo>
                  <a:pt x="497" y="60"/>
                </a:lnTo>
                <a:lnTo>
                  <a:pt x="497" y="60"/>
                </a:lnTo>
                <a:lnTo>
                  <a:pt x="497" y="60"/>
                </a:lnTo>
                <a:lnTo>
                  <a:pt x="497" y="60"/>
                </a:lnTo>
                <a:lnTo>
                  <a:pt x="497" y="60"/>
                </a:lnTo>
                <a:lnTo>
                  <a:pt x="497" y="59"/>
                </a:lnTo>
                <a:lnTo>
                  <a:pt x="497" y="59"/>
                </a:lnTo>
                <a:lnTo>
                  <a:pt x="497" y="59"/>
                </a:lnTo>
                <a:lnTo>
                  <a:pt x="498" y="59"/>
                </a:lnTo>
                <a:lnTo>
                  <a:pt x="498" y="59"/>
                </a:lnTo>
                <a:lnTo>
                  <a:pt x="498" y="59"/>
                </a:lnTo>
                <a:lnTo>
                  <a:pt x="498" y="59"/>
                </a:lnTo>
                <a:lnTo>
                  <a:pt x="498" y="59"/>
                </a:lnTo>
                <a:lnTo>
                  <a:pt x="498" y="57"/>
                </a:lnTo>
                <a:lnTo>
                  <a:pt x="498" y="57"/>
                </a:lnTo>
                <a:lnTo>
                  <a:pt x="498" y="57"/>
                </a:lnTo>
                <a:lnTo>
                  <a:pt x="498" y="57"/>
                </a:lnTo>
                <a:lnTo>
                  <a:pt x="499" y="57"/>
                </a:lnTo>
                <a:lnTo>
                  <a:pt x="499" y="57"/>
                </a:lnTo>
                <a:lnTo>
                  <a:pt x="499" y="57"/>
                </a:lnTo>
                <a:lnTo>
                  <a:pt x="499" y="57"/>
                </a:lnTo>
                <a:lnTo>
                  <a:pt x="499" y="57"/>
                </a:lnTo>
                <a:lnTo>
                  <a:pt x="499" y="56"/>
                </a:lnTo>
                <a:lnTo>
                  <a:pt x="499" y="56"/>
                </a:lnTo>
                <a:lnTo>
                  <a:pt x="499" y="56"/>
                </a:lnTo>
                <a:lnTo>
                  <a:pt x="499" y="56"/>
                </a:lnTo>
                <a:lnTo>
                  <a:pt x="499" y="56"/>
                </a:lnTo>
                <a:lnTo>
                  <a:pt x="500" y="56"/>
                </a:lnTo>
                <a:lnTo>
                  <a:pt x="500" y="56"/>
                </a:lnTo>
                <a:lnTo>
                  <a:pt x="500" y="56"/>
                </a:lnTo>
                <a:lnTo>
                  <a:pt x="500" y="55"/>
                </a:lnTo>
                <a:lnTo>
                  <a:pt x="500" y="55"/>
                </a:lnTo>
                <a:lnTo>
                  <a:pt x="500" y="55"/>
                </a:lnTo>
                <a:lnTo>
                  <a:pt x="500" y="55"/>
                </a:lnTo>
                <a:lnTo>
                  <a:pt x="500" y="55"/>
                </a:lnTo>
                <a:lnTo>
                  <a:pt x="500" y="55"/>
                </a:lnTo>
                <a:lnTo>
                  <a:pt x="500" y="55"/>
                </a:lnTo>
                <a:lnTo>
                  <a:pt x="500" y="55"/>
                </a:lnTo>
                <a:lnTo>
                  <a:pt x="501" y="54"/>
                </a:lnTo>
                <a:lnTo>
                  <a:pt x="501" y="54"/>
                </a:lnTo>
                <a:lnTo>
                  <a:pt x="501" y="54"/>
                </a:lnTo>
                <a:lnTo>
                  <a:pt x="501" y="54"/>
                </a:lnTo>
                <a:lnTo>
                  <a:pt x="501" y="54"/>
                </a:lnTo>
                <a:lnTo>
                  <a:pt x="501" y="54"/>
                </a:lnTo>
                <a:lnTo>
                  <a:pt x="501" y="54"/>
                </a:lnTo>
                <a:lnTo>
                  <a:pt x="501" y="53"/>
                </a:lnTo>
                <a:lnTo>
                  <a:pt x="501" y="53"/>
                </a:lnTo>
                <a:lnTo>
                  <a:pt x="501" y="53"/>
                </a:lnTo>
                <a:lnTo>
                  <a:pt x="501" y="53"/>
                </a:lnTo>
                <a:lnTo>
                  <a:pt x="502" y="53"/>
                </a:lnTo>
                <a:lnTo>
                  <a:pt x="502" y="53"/>
                </a:lnTo>
                <a:lnTo>
                  <a:pt x="502" y="53"/>
                </a:lnTo>
                <a:lnTo>
                  <a:pt x="502" y="53"/>
                </a:lnTo>
                <a:lnTo>
                  <a:pt x="502" y="52"/>
                </a:lnTo>
                <a:lnTo>
                  <a:pt x="502" y="52"/>
                </a:lnTo>
                <a:lnTo>
                  <a:pt x="502" y="52"/>
                </a:lnTo>
                <a:lnTo>
                  <a:pt x="502" y="52"/>
                </a:lnTo>
                <a:lnTo>
                  <a:pt x="502" y="52"/>
                </a:lnTo>
                <a:lnTo>
                  <a:pt x="502" y="52"/>
                </a:lnTo>
                <a:lnTo>
                  <a:pt x="502" y="52"/>
                </a:lnTo>
                <a:lnTo>
                  <a:pt x="502" y="51"/>
                </a:lnTo>
                <a:lnTo>
                  <a:pt x="502" y="51"/>
                </a:lnTo>
                <a:lnTo>
                  <a:pt x="502" y="51"/>
                </a:lnTo>
                <a:lnTo>
                  <a:pt x="503" y="51"/>
                </a:lnTo>
                <a:lnTo>
                  <a:pt x="503" y="51"/>
                </a:lnTo>
                <a:lnTo>
                  <a:pt x="503" y="51"/>
                </a:lnTo>
                <a:lnTo>
                  <a:pt x="503" y="51"/>
                </a:lnTo>
                <a:lnTo>
                  <a:pt x="503" y="50"/>
                </a:lnTo>
                <a:lnTo>
                  <a:pt x="503" y="50"/>
                </a:lnTo>
                <a:lnTo>
                  <a:pt x="503" y="50"/>
                </a:lnTo>
                <a:lnTo>
                  <a:pt x="503" y="50"/>
                </a:lnTo>
                <a:lnTo>
                  <a:pt x="503" y="50"/>
                </a:lnTo>
                <a:lnTo>
                  <a:pt x="503" y="50"/>
                </a:lnTo>
                <a:lnTo>
                  <a:pt x="503" y="48"/>
                </a:lnTo>
                <a:lnTo>
                  <a:pt x="503" y="48"/>
                </a:lnTo>
                <a:lnTo>
                  <a:pt x="503" y="48"/>
                </a:lnTo>
                <a:lnTo>
                  <a:pt x="503" y="48"/>
                </a:lnTo>
                <a:lnTo>
                  <a:pt x="503" y="48"/>
                </a:lnTo>
                <a:lnTo>
                  <a:pt x="505" y="48"/>
                </a:lnTo>
                <a:lnTo>
                  <a:pt x="505" y="48"/>
                </a:lnTo>
                <a:lnTo>
                  <a:pt x="505" y="47"/>
                </a:lnTo>
                <a:lnTo>
                  <a:pt x="505" y="47"/>
                </a:lnTo>
                <a:lnTo>
                  <a:pt x="505" y="47"/>
                </a:lnTo>
                <a:lnTo>
                  <a:pt x="505" y="47"/>
                </a:lnTo>
                <a:lnTo>
                  <a:pt x="505" y="47"/>
                </a:lnTo>
                <a:lnTo>
                  <a:pt x="505" y="47"/>
                </a:lnTo>
                <a:lnTo>
                  <a:pt x="505" y="47"/>
                </a:lnTo>
                <a:lnTo>
                  <a:pt x="505" y="46"/>
                </a:lnTo>
                <a:lnTo>
                  <a:pt x="505" y="46"/>
                </a:lnTo>
                <a:lnTo>
                  <a:pt x="505" y="46"/>
                </a:lnTo>
                <a:lnTo>
                  <a:pt x="505" y="46"/>
                </a:lnTo>
                <a:lnTo>
                  <a:pt x="505" y="46"/>
                </a:lnTo>
                <a:lnTo>
                  <a:pt x="505" y="46"/>
                </a:lnTo>
                <a:lnTo>
                  <a:pt x="505" y="45"/>
                </a:lnTo>
                <a:lnTo>
                  <a:pt x="505" y="45"/>
                </a:lnTo>
                <a:lnTo>
                  <a:pt x="505" y="45"/>
                </a:lnTo>
                <a:lnTo>
                  <a:pt x="505" y="45"/>
                </a:lnTo>
                <a:lnTo>
                  <a:pt x="505" y="45"/>
                </a:lnTo>
                <a:lnTo>
                  <a:pt x="505" y="45"/>
                </a:lnTo>
                <a:lnTo>
                  <a:pt x="505" y="44"/>
                </a:lnTo>
                <a:lnTo>
                  <a:pt x="506" y="44"/>
                </a:lnTo>
                <a:lnTo>
                  <a:pt x="506" y="44"/>
                </a:lnTo>
                <a:lnTo>
                  <a:pt x="506" y="44"/>
                </a:lnTo>
                <a:lnTo>
                  <a:pt x="506" y="44"/>
                </a:lnTo>
                <a:lnTo>
                  <a:pt x="506" y="44"/>
                </a:lnTo>
                <a:lnTo>
                  <a:pt x="506" y="44"/>
                </a:lnTo>
                <a:lnTo>
                  <a:pt x="506" y="43"/>
                </a:lnTo>
                <a:lnTo>
                  <a:pt x="506" y="43"/>
                </a:lnTo>
                <a:lnTo>
                  <a:pt x="506" y="43"/>
                </a:lnTo>
                <a:lnTo>
                  <a:pt x="506" y="43"/>
                </a:lnTo>
                <a:lnTo>
                  <a:pt x="506" y="43"/>
                </a:lnTo>
                <a:lnTo>
                  <a:pt x="506" y="43"/>
                </a:lnTo>
                <a:lnTo>
                  <a:pt x="506" y="42"/>
                </a:lnTo>
                <a:lnTo>
                  <a:pt x="506" y="42"/>
                </a:lnTo>
                <a:lnTo>
                  <a:pt x="506" y="42"/>
                </a:lnTo>
                <a:lnTo>
                  <a:pt x="506" y="42"/>
                </a:lnTo>
                <a:lnTo>
                  <a:pt x="506" y="42"/>
                </a:lnTo>
                <a:lnTo>
                  <a:pt x="506" y="42"/>
                </a:lnTo>
                <a:lnTo>
                  <a:pt x="506" y="41"/>
                </a:lnTo>
                <a:lnTo>
                  <a:pt x="506" y="41"/>
                </a:lnTo>
                <a:lnTo>
                  <a:pt x="506" y="41"/>
                </a:lnTo>
                <a:lnTo>
                  <a:pt x="506" y="41"/>
                </a:lnTo>
                <a:lnTo>
                  <a:pt x="506" y="41"/>
                </a:lnTo>
                <a:lnTo>
                  <a:pt x="506" y="41"/>
                </a:lnTo>
                <a:lnTo>
                  <a:pt x="506" y="39"/>
                </a:lnTo>
                <a:lnTo>
                  <a:pt x="506" y="39"/>
                </a:lnTo>
                <a:lnTo>
                  <a:pt x="506" y="39"/>
                </a:lnTo>
                <a:lnTo>
                  <a:pt x="506" y="39"/>
                </a:lnTo>
                <a:lnTo>
                  <a:pt x="506" y="39"/>
                </a:lnTo>
                <a:lnTo>
                  <a:pt x="506" y="39"/>
                </a:lnTo>
                <a:lnTo>
                  <a:pt x="506" y="38"/>
                </a:lnTo>
                <a:lnTo>
                  <a:pt x="506" y="38"/>
                </a:lnTo>
                <a:lnTo>
                  <a:pt x="506" y="38"/>
                </a:lnTo>
                <a:lnTo>
                  <a:pt x="506" y="38"/>
                </a:lnTo>
                <a:lnTo>
                  <a:pt x="506" y="38"/>
                </a:lnTo>
                <a:lnTo>
                  <a:pt x="506" y="38"/>
                </a:lnTo>
                <a:lnTo>
                  <a:pt x="506" y="37"/>
                </a:lnTo>
                <a:lnTo>
                  <a:pt x="506" y="37"/>
                </a:lnTo>
                <a:lnTo>
                  <a:pt x="506" y="37"/>
                </a:lnTo>
                <a:lnTo>
                  <a:pt x="506" y="37"/>
                </a:lnTo>
                <a:lnTo>
                  <a:pt x="506" y="37"/>
                </a:lnTo>
                <a:lnTo>
                  <a:pt x="506" y="37"/>
                </a:lnTo>
                <a:lnTo>
                  <a:pt x="506" y="36"/>
                </a:lnTo>
                <a:lnTo>
                  <a:pt x="506" y="36"/>
                </a:lnTo>
                <a:lnTo>
                  <a:pt x="506" y="36"/>
                </a:lnTo>
                <a:lnTo>
                  <a:pt x="506" y="36"/>
                </a:lnTo>
                <a:lnTo>
                  <a:pt x="506" y="36"/>
                </a:lnTo>
                <a:lnTo>
                  <a:pt x="506" y="36"/>
                </a:lnTo>
                <a:lnTo>
                  <a:pt x="506" y="35"/>
                </a:lnTo>
                <a:lnTo>
                  <a:pt x="506" y="35"/>
                </a:lnTo>
                <a:lnTo>
                  <a:pt x="506" y="35"/>
                </a:lnTo>
                <a:lnTo>
                  <a:pt x="506" y="35"/>
                </a:lnTo>
                <a:lnTo>
                  <a:pt x="506" y="35"/>
                </a:lnTo>
                <a:lnTo>
                  <a:pt x="506" y="35"/>
                </a:lnTo>
                <a:lnTo>
                  <a:pt x="506" y="34"/>
                </a:lnTo>
                <a:lnTo>
                  <a:pt x="506" y="34"/>
                </a:lnTo>
                <a:lnTo>
                  <a:pt x="506" y="34"/>
                </a:lnTo>
                <a:lnTo>
                  <a:pt x="506" y="34"/>
                </a:lnTo>
                <a:lnTo>
                  <a:pt x="506" y="34"/>
                </a:lnTo>
                <a:lnTo>
                  <a:pt x="506" y="34"/>
                </a:lnTo>
                <a:lnTo>
                  <a:pt x="506" y="33"/>
                </a:lnTo>
                <a:lnTo>
                  <a:pt x="506" y="33"/>
                </a:lnTo>
                <a:lnTo>
                  <a:pt x="506" y="33"/>
                </a:lnTo>
                <a:lnTo>
                  <a:pt x="506" y="33"/>
                </a:lnTo>
                <a:lnTo>
                  <a:pt x="506" y="33"/>
                </a:lnTo>
                <a:lnTo>
                  <a:pt x="506" y="33"/>
                </a:lnTo>
                <a:lnTo>
                  <a:pt x="506" y="32"/>
                </a:lnTo>
                <a:lnTo>
                  <a:pt x="506" y="32"/>
                </a:lnTo>
                <a:lnTo>
                  <a:pt x="506" y="32"/>
                </a:lnTo>
                <a:lnTo>
                  <a:pt x="506" y="32"/>
                </a:lnTo>
                <a:lnTo>
                  <a:pt x="506" y="32"/>
                </a:lnTo>
                <a:lnTo>
                  <a:pt x="505" y="32"/>
                </a:lnTo>
                <a:lnTo>
                  <a:pt x="505" y="30"/>
                </a:lnTo>
                <a:lnTo>
                  <a:pt x="505" y="30"/>
                </a:lnTo>
                <a:lnTo>
                  <a:pt x="505" y="30"/>
                </a:lnTo>
                <a:lnTo>
                  <a:pt x="505" y="30"/>
                </a:lnTo>
                <a:lnTo>
                  <a:pt x="505" y="30"/>
                </a:lnTo>
                <a:lnTo>
                  <a:pt x="505" y="30"/>
                </a:lnTo>
                <a:lnTo>
                  <a:pt x="505" y="30"/>
                </a:lnTo>
                <a:lnTo>
                  <a:pt x="505" y="29"/>
                </a:lnTo>
                <a:lnTo>
                  <a:pt x="505" y="29"/>
                </a:lnTo>
                <a:lnTo>
                  <a:pt x="505" y="29"/>
                </a:lnTo>
                <a:lnTo>
                  <a:pt x="505" y="29"/>
                </a:lnTo>
                <a:lnTo>
                  <a:pt x="505" y="29"/>
                </a:lnTo>
                <a:lnTo>
                  <a:pt x="505" y="29"/>
                </a:lnTo>
                <a:lnTo>
                  <a:pt x="505" y="28"/>
                </a:lnTo>
                <a:lnTo>
                  <a:pt x="505" y="28"/>
                </a:lnTo>
                <a:lnTo>
                  <a:pt x="505" y="28"/>
                </a:lnTo>
                <a:lnTo>
                  <a:pt x="505" y="28"/>
                </a:lnTo>
                <a:lnTo>
                  <a:pt x="505" y="28"/>
                </a:lnTo>
                <a:lnTo>
                  <a:pt x="505" y="28"/>
                </a:lnTo>
                <a:lnTo>
                  <a:pt x="505" y="27"/>
                </a:lnTo>
                <a:lnTo>
                  <a:pt x="505" y="27"/>
                </a:lnTo>
                <a:lnTo>
                  <a:pt x="503" y="27"/>
                </a:lnTo>
                <a:lnTo>
                  <a:pt x="503" y="27"/>
                </a:lnTo>
                <a:lnTo>
                  <a:pt x="503" y="27"/>
                </a:lnTo>
                <a:lnTo>
                  <a:pt x="503" y="27"/>
                </a:lnTo>
                <a:lnTo>
                  <a:pt x="503" y="27"/>
                </a:lnTo>
                <a:lnTo>
                  <a:pt x="503" y="26"/>
                </a:lnTo>
                <a:lnTo>
                  <a:pt x="503" y="26"/>
                </a:lnTo>
                <a:lnTo>
                  <a:pt x="503" y="26"/>
                </a:lnTo>
                <a:lnTo>
                  <a:pt x="503" y="26"/>
                </a:lnTo>
                <a:lnTo>
                  <a:pt x="503" y="26"/>
                </a:lnTo>
                <a:lnTo>
                  <a:pt x="503" y="26"/>
                </a:lnTo>
                <a:lnTo>
                  <a:pt x="503" y="26"/>
                </a:lnTo>
                <a:lnTo>
                  <a:pt x="503" y="25"/>
                </a:lnTo>
                <a:lnTo>
                  <a:pt x="503" y="25"/>
                </a:lnTo>
                <a:lnTo>
                  <a:pt x="503" y="25"/>
                </a:lnTo>
                <a:lnTo>
                  <a:pt x="502" y="25"/>
                </a:lnTo>
                <a:lnTo>
                  <a:pt x="502" y="25"/>
                </a:lnTo>
                <a:lnTo>
                  <a:pt x="502" y="25"/>
                </a:lnTo>
                <a:lnTo>
                  <a:pt x="502" y="25"/>
                </a:lnTo>
                <a:lnTo>
                  <a:pt x="502" y="24"/>
                </a:lnTo>
                <a:lnTo>
                  <a:pt x="502" y="24"/>
                </a:lnTo>
                <a:lnTo>
                  <a:pt x="502" y="24"/>
                </a:lnTo>
                <a:lnTo>
                  <a:pt x="502" y="24"/>
                </a:lnTo>
                <a:lnTo>
                  <a:pt x="502" y="24"/>
                </a:lnTo>
                <a:lnTo>
                  <a:pt x="502" y="24"/>
                </a:lnTo>
                <a:lnTo>
                  <a:pt x="502" y="24"/>
                </a:lnTo>
                <a:lnTo>
                  <a:pt x="502" y="23"/>
                </a:lnTo>
                <a:lnTo>
                  <a:pt x="502" y="23"/>
                </a:lnTo>
                <a:lnTo>
                  <a:pt x="502" y="23"/>
                </a:lnTo>
                <a:lnTo>
                  <a:pt x="501" y="23"/>
                </a:lnTo>
                <a:lnTo>
                  <a:pt x="501" y="23"/>
                </a:lnTo>
                <a:lnTo>
                  <a:pt x="501" y="23"/>
                </a:lnTo>
                <a:lnTo>
                  <a:pt x="501" y="23"/>
                </a:lnTo>
                <a:lnTo>
                  <a:pt x="501" y="21"/>
                </a:lnTo>
                <a:lnTo>
                  <a:pt x="501" y="21"/>
                </a:lnTo>
                <a:lnTo>
                  <a:pt x="501" y="21"/>
                </a:lnTo>
                <a:lnTo>
                  <a:pt x="501" y="21"/>
                </a:lnTo>
                <a:lnTo>
                  <a:pt x="501" y="21"/>
                </a:lnTo>
                <a:lnTo>
                  <a:pt x="501" y="21"/>
                </a:lnTo>
                <a:lnTo>
                  <a:pt x="501" y="21"/>
                </a:lnTo>
                <a:lnTo>
                  <a:pt x="500" y="21"/>
                </a:lnTo>
                <a:lnTo>
                  <a:pt x="500" y="20"/>
                </a:lnTo>
                <a:lnTo>
                  <a:pt x="500" y="20"/>
                </a:lnTo>
                <a:lnTo>
                  <a:pt x="500" y="20"/>
                </a:lnTo>
                <a:lnTo>
                  <a:pt x="500" y="20"/>
                </a:lnTo>
                <a:lnTo>
                  <a:pt x="500" y="20"/>
                </a:lnTo>
                <a:lnTo>
                  <a:pt x="500" y="20"/>
                </a:lnTo>
                <a:lnTo>
                  <a:pt x="500" y="20"/>
                </a:lnTo>
                <a:lnTo>
                  <a:pt x="500" y="20"/>
                </a:lnTo>
                <a:lnTo>
                  <a:pt x="500" y="19"/>
                </a:lnTo>
                <a:lnTo>
                  <a:pt x="500" y="19"/>
                </a:lnTo>
                <a:lnTo>
                  <a:pt x="499" y="19"/>
                </a:lnTo>
                <a:lnTo>
                  <a:pt x="499" y="19"/>
                </a:lnTo>
                <a:lnTo>
                  <a:pt x="499" y="19"/>
                </a:lnTo>
                <a:lnTo>
                  <a:pt x="499" y="19"/>
                </a:lnTo>
                <a:lnTo>
                  <a:pt x="499" y="19"/>
                </a:lnTo>
                <a:lnTo>
                  <a:pt x="499" y="19"/>
                </a:lnTo>
                <a:lnTo>
                  <a:pt x="499" y="18"/>
                </a:lnTo>
                <a:lnTo>
                  <a:pt x="499" y="18"/>
                </a:lnTo>
                <a:lnTo>
                  <a:pt x="499" y="18"/>
                </a:lnTo>
                <a:lnTo>
                  <a:pt x="499" y="18"/>
                </a:lnTo>
                <a:lnTo>
                  <a:pt x="498" y="18"/>
                </a:lnTo>
                <a:lnTo>
                  <a:pt x="498" y="18"/>
                </a:lnTo>
                <a:lnTo>
                  <a:pt x="498" y="18"/>
                </a:lnTo>
                <a:lnTo>
                  <a:pt x="498" y="18"/>
                </a:lnTo>
                <a:lnTo>
                  <a:pt x="498" y="17"/>
                </a:lnTo>
                <a:lnTo>
                  <a:pt x="498" y="17"/>
                </a:lnTo>
                <a:lnTo>
                  <a:pt x="498" y="17"/>
                </a:lnTo>
                <a:lnTo>
                  <a:pt x="498" y="17"/>
                </a:lnTo>
                <a:lnTo>
                  <a:pt x="498" y="17"/>
                </a:lnTo>
                <a:lnTo>
                  <a:pt x="497" y="17"/>
                </a:lnTo>
                <a:lnTo>
                  <a:pt x="497" y="17"/>
                </a:lnTo>
                <a:lnTo>
                  <a:pt x="497" y="17"/>
                </a:lnTo>
                <a:lnTo>
                  <a:pt x="497" y="17"/>
                </a:lnTo>
                <a:lnTo>
                  <a:pt x="497" y="16"/>
                </a:lnTo>
                <a:lnTo>
                  <a:pt x="497" y="16"/>
                </a:lnTo>
                <a:lnTo>
                  <a:pt x="497" y="16"/>
                </a:lnTo>
                <a:lnTo>
                  <a:pt x="497" y="16"/>
                </a:lnTo>
                <a:lnTo>
                  <a:pt x="497" y="16"/>
                </a:lnTo>
                <a:lnTo>
                  <a:pt x="496" y="16"/>
                </a:lnTo>
                <a:lnTo>
                  <a:pt x="496" y="16"/>
                </a:lnTo>
                <a:lnTo>
                  <a:pt x="496" y="16"/>
                </a:lnTo>
                <a:lnTo>
                  <a:pt x="496" y="16"/>
                </a:lnTo>
                <a:lnTo>
                  <a:pt x="496" y="16"/>
                </a:lnTo>
                <a:lnTo>
                  <a:pt x="496" y="15"/>
                </a:lnTo>
                <a:lnTo>
                  <a:pt x="496" y="15"/>
                </a:lnTo>
                <a:lnTo>
                  <a:pt x="496" y="15"/>
                </a:lnTo>
                <a:lnTo>
                  <a:pt x="494" y="15"/>
                </a:lnTo>
                <a:lnTo>
                  <a:pt x="494" y="15"/>
                </a:lnTo>
                <a:lnTo>
                  <a:pt x="494" y="15"/>
                </a:lnTo>
                <a:lnTo>
                  <a:pt x="494" y="15"/>
                </a:lnTo>
                <a:lnTo>
                  <a:pt x="494" y="15"/>
                </a:lnTo>
                <a:lnTo>
                  <a:pt x="494" y="15"/>
                </a:lnTo>
                <a:lnTo>
                  <a:pt x="494" y="15"/>
                </a:lnTo>
                <a:lnTo>
                  <a:pt x="494" y="14"/>
                </a:lnTo>
                <a:lnTo>
                  <a:pt x="493" y="14"/>
                </a:lnTo>
                <a:lnTo>
                  <a:pt x="493" y="14"/>
                </a:lnTo>
                <a:lnTo>
                  <a:pt x="493" y="14"/>
                </a:lnTo>
                <a:lnTo>
                  <a:pt x="493" y="14"/>
                </a:lnTo>
                <a:lnTo>
                  <a:pt x="493" y="14"/>
                </a:lnTo>
                <a:lnTo>
                  <a:pt x="493" y="14"/>
                </a:lnTo>
                <a:lnTo>
                  <a:pt x="493" y="14"/>
                </a:lnTo>
                <a:lnTo>
                  <a:pt x="493" y="14"/>
                </a:lnTo>
                <a:lnTo>
                  <a:pt x="492" y="14"/>
                </a:lnTo>
                <a:lnTo>
                  <a:pt x="492" y="14"/>
                </a:lnTo>
                <a:lnTo>
                  <a:pt x="492" y="12"/>
                </a:lnTo>
                <a:lnTo>
                  <a:pt x="492" y="12"/>
                </a:lnTo>
                <a:lnTo>
                  <a:pt x="492" y="12"/>
                </a:lnTo>
                <a:lnTo>
                  <a:pt x="492" y="12"/>
                </a:lnTo>
                <a:lnTo>
                  <a:pt x="492" y="12"/>
                </a:lnTo>
                <a:lnTo>
                  <a:pt x="491" y="12"/>
                </a:lnTo>
                <a:lnTo>
                  <a:pt x="491" y="12"/>
                </a:lnTo>
                <a:lnTo>
                  <a:pt x="491" y="12"/>
                </a:lnTo>
                <a:lnTo>
                  <a:pt x="491" y="12"/>
                </a:lnTo>
                <a:lnTo>
                  <a:pt x="491" y="12"/>
                </a:lnTo>
                <a:lnTo>
                  <a:pt x="491" y="12"/>
                </a:lnTo>
                <a:lnTo>
                  <a:pt x="491" y="12"/>
                </a:lnTo>
                <a:lnTo>
                  <a:pt x="490" y="11"/>
                </a:lnTo>
                <a:lnTo>
                  <a:pt x="490" y="11"/>
                </a:lnTo>
                <a:lnTo>
                  <a:pt x="490" y="11"/>
                </a:lnTo>
                <a:lnTo>
                  <a:pt x="490" y="11"/>
                </a:lnTo>
                <a:lnTo>
                  <a:pt x="490" y="11"/>
                </a:lnTo>
                <a:lnTo>
                  <a:pt x="490" y="11"/>
                </a:lnTo>
                <a:lnTo>
                  <a:pt x="490" y="11"/>
                </a:lnTo>
                <a:lnTo>
                  <a:pt x="489" y="11"/>
                </a:lnTo>
                <a:lnTo>
                  <a:pt x="489" y="11"/>
                </a:lnTo>
                <a:lnTo>
                  <a:pt x="489" y="11"/>
                </a:lnTo>
                <a:lnTo>
                  <a:pt x="489" y="11"/>
                </a:lnTo>
                <a:lnTo>
                  <a:pt x="489" y="11"/>
                </a:lnTo>
                <a:lnTo>
                  <a:pt x="489" y="11"/>
                </a:lnTo>
                <a:lnTo>
                  <a:pt x="489" y="11"/>
                </a:lnTo>
                <a:lnTo>
                  <a:pt x="488" y="10"/>
                </a:lnTo>
                <a:lnTo>
                  <a:pt x="488" y="10"/>
                </a:lnTo>
                <a:lnTo>
                  <a:pt x="488" y="10"/>
                </a:lnTo>
                <a:lnTo>
                  <a:pt x="488" y="10"/>
                </a:lnTo>
                <a:lnTo>
                  <a:pt x="488" y="10"/>
                </a:lnTo>
                <a:lnTo>
                  <a:pt x="488" y="10"/>
                </a:lnTo>
                <a:lnTo>
                  <a:pt x="488" y="10"/>
                </a:lnTo>
                <a:lnTo>
                  <a:pt x="487" y="10"/>
                </a:lnTo>
                <a:lnTo>
                  <a:pt x="487" y="10"/>
                </a:lnTo>
                <a:lnTo>
                  <a:pt x="487" y="10"/>
                </a:lnTo>
                <a:lnTo>
                  <a:pt x="487" y="10"/>
                </a:lnTo>
                <a:lnTo>
                  <a:pt x="487" y="10"/>
                </a:lnTo>
                <a:lnTo>
                  <a:pt x="487" y="10"/>
                </a:lnTo>
                <a:lnTo>
                  <a:pt x="487" y="10"/>
                </a:lnTo>
                <a:lnTo>
                  <a:pt x="485" y="10"/>
                </a:lnTo>
                <a:lnTo>
                  <a:pt x="485" y="10"/>
                </a:lnTo>
                <a:lnTo>
                  <a:pt x="485" y="10"/>
                </a:lnTo>
                <a:lnTo>
                  <a:pt x="485" y="9"/>
                </a:lnTo>
                <a:lnTo>
                  <a:pt x="485" y="9"/>
                </a:lnTo>
                <a:lnTo>
                  <a:pt x="485" y="9"/>
                </a:lnTo>
                <a:lnTo>
                  <a:pt x="484" y="9"/>
                </a:lnTo>
                <a:lnTo>
                  <a:pt x="484" y="9"/>
                </a:lnTo>
                <a:lnTo>
                  <a:pt x="484" y="9"/>
                </a:lnTo>
                <a:lnTo>
                  <a:pt x="484" y="9"/>
                </a:lnTo>
                <a:lnTo>
                  <a:pt x="484" y="9"/>
                </a:lnTo>
                <a:lnTo>
                  <a:pt x="484" y="9"/>
                </a:lnTo>
                <a:lnTo>
                  <a:pt x="484" y="9"/>
                </a:lnTo>
                <a:lnTo>
                  <a:pt x="483" y="9"/>
                </a:lnTo>
                <a:lnTo>
                  <a:pt x="483" y="9"/>
                </a:lnTo>
                <a:lnTo>
                  <a:pt x="483" y="9"/>
                </a:lnTo>
                <a:lnTo>
                  <a:pt x="483" y="9"/>
                </a:lnTo>
                <a:lnTo>
                  <a:pt x="483" y="9"/>
                </a:lnTo>
                <a:lnTo>
                  <a:pt x="483" y="9"/>
                </a:lnTo>
                <a:lnTo>
                  <a:pt x="482" y="9"/>
                </a:lnTo>
                <a:lnTo>
                  <a:pt x="482" y="9"/>
                </a:lnTo>
                <a:lnTo>
                  <a:pt x="482" y="9"/>
                </a:lnTo>
                <a:lnTo>
                  <a:pt x="482" y="9"/>
                </a:lnTo>
                <a:lnTo>
                  <a:pt x="482" y="9"/>
                </a:lnTo>
                <a:lnTo>
                  <a:pt x="482" y="9"/>
                </a:lnTo>
                <a:lnTo>
                  <a:pt x="481" y="9"/>
                </a:lnTo>
                <a:lnTo>
                  <a:pt x="481" y="9"/>
                </a:lnTo>
                <a:lnTo>
                  <a:pt x="481" y="9"/>
                </a:lnTo>
                <a:lnTo>
                  <a:pt x="481" y="9"/>
                </a:lnTo>
                <a:lnTo>
                  <a:pt x="481" y="8"/>
                </a:lnTo>
                <a:lnTo>
                  <a:pt x="481" y="8"/>
                </a:lnTo>
                <a:lnTo>
                  <a:pt x="480" y="8"/>
                </a:lnTo>
                <a:lnTo>
                  <a:pt x="480" y="8"/>
                </a:lnTo>
                <a:lnTo>
                  <a:pt x="480" y="8"/>
                </a:lnTo>
                <a:lnTo>
                  <a:pt x="480" y="8"/>
                </a:lnTo>
                <a:lnTo>
                  <a:pt x="480" y="8"/>
                </a:lnTo>
                <a:lnTo>
                  <a:pt x="480" y="8"/>
                </a:lnTo>
                <a:lnTo>
                  <a:pt x="479" y="8"/>
                </a:lnTo>
                <a:lnTo>
                  <a:pt x="479" y="8"/>
                </a:lnTo>
                <a:lnTo>
                  <a:pt x="479" y="8"/>
                </a:lnTo>
                <a:lnTo>
                  <a:pt x="479" y="8"/>
                </a:lnTo>
                <a:lnTo>
                  <a:pt x="479" y="8"/>
                </a:lnTo>
                <a:lnTo>
                  <a:pt x="479" y="8"/>
                </a:lnTo>
                <a:lnTo>
                  <a:pt x="478" y="8"/>
                </a:lnTo>
                <a:lnTo>
                  <a:pt x="478" y="8"/>
                </a:lnTo>
                <a:lnTo>
                  <a:pt x="478" y="8"/>
                </a:lnTo>
                <a:lnTo>
                  <a:pt x="478" y="8"/>
                </a:lnTo>
                <a:lnTo>
                  <a:pt x="478" y="8"/>
                </a:lnTo>
                <a:lnTo>
                  <a:pt x="478" y="8"/>
                </a:lnTo>
                <a:lnTo>
                  <a:pt x="476" y="8"/>
                </a:lnTo>
                <a:lnTo>
                  <a:pt x="476" y="8"/>
                </a:lnTo>
                <a:lnTo>
                  <a:pt x="476" y="8"/>
                </a:lnTo>
                <a:lnTo>
                  <a:pt x="476" y="8"/>
                </a:lnTo>
                <a:lnTo>
                  <a:pt x="476" y="8"/>
                </a:lnTo>
                <a:lnTo>
                  <a:pt x="476" y="8"/>
                </a:lnTo>
                <a:close/>
                <a:moveTo>
                  <a:pt x="439" y="34"/>
                </a:moveTo>
                <a:lnTo>
                  <a:pt x="439" y="34"/>
                </a:lnTo>
                <a:lnTo>
                  <a:pt x="439" y="34"/>
                </a:lnTo>
                <a:lnTo>
                  <a:pt x="439" y="34"/>
                </a:lnTo>
                <a:lnTo>
                  <a:pt x="439" y="33"/>
                </a:lnTo>
                <a:lnTo>
                  <a:pt x="439" y="33"/>
                </a:lnTo>
                <a:lnTo>
                  <a:pt x="439" y="33"/>
                </a:lnTo>
                <a:lnTo>
                  <a:pt x="439" y="33"/>
                </a:lnTo>
                <a:lnTo>
                  <a:pt x="439" y="32"/>
                </a:lnTo>
                <a:lnTo>
                  <a:pt x="439" y="32"/>
                </a:lnTo>
                <a:lnTo>
                  <a:pt x="439" y="32"/>
                </a:lnTo>
                <a:lnTo>
                  <a:pt x="439" y="32"/>
                </a:lnTo>
                <a:lnTo>
                  <a:pt x="439" y="32"/>
                </a:lnTo>
                <a:lnTo>
                  <a:pt x="439" y="30"/>
                </a:lnTo>
                <a:lnTo>
                  <a:pt x="439" y="30"/>
                </a:lnTo>
                <a:lnTo>
                  <a:pt x="439" y="30"/>
                </a:lnTo>
                <a:lnTo>
                  <a:pt x="439" y="30"/>
                </a:lnTo>
                <a:lnTo>
                  <a:pt x="439" y="30"/>
                </a:lnTo>
                <a:lnTo>
                  <a:pt x="439" y="29"/>
                </a:lnTo>
                <a:lnTo>
                  <a:pt x="439" y="29"/>
                </a:lnTo>
                <a:lnTo>
                  <a:pt x="439" y="29"/>
                </a:lnTo>
                <a:lnTo>
                  <a:pt x="439" y="29"/>
                </a:lnTo>
                <a:lnTo>
                  <a:pt x="439" y="29"/>
                </a:lnTo>
                <a:lnTo>
                  <a:pt x="439" y="28"/>
                </a:lnTo>
                <a:lnTo>
                  <a:pt x="439" y="28"/>
                </a:lnTo>
                <a:lnTo>
                  <a:pt x="440" y="28"/>
                </a:lnTo>
                <a:lnTo>
                  <a:pt x="440" y="28"/>
                </a:lnTo>
                <a:lnTo>
                  <a:pt x="440" y="28"/>
                </a:lnTo>
                <a:lnTo>
                  <a:pt x="440" y="27"/>
                </a:lnTo>
                <a:lnTo>
                  <a:pt x="440" y="27"/>
                </a:lnTo>
                <a:lnTo>
                  <a:pt x="440" y="27"/>
                </a:lnTo>
                <a:lnTo>
                  <a:pt x="440" y="27"/>
                </a:lnTo>
                <a:lnTo>
                  <a:pt x="440" y="27"/>
                </a:lnTo>
                <a:lnTo>
                  <a:pt x="440" y="26"/>
                </a:lnTo>
                <a:lnTo>
                  <a:pt x="440" y="26"/>
                </a:lnTo>
                <a:lnTo>
                  <a:pt x="440" y="26"/>
                </a:lnTo>
                <a:lnTo>
                  <a:pt x="440" y="26"/>
                </a:lnTo>
                <a:lnTo>
                  <a:pt x="440" y="26"/>
                </a:lnTo>
                <a:lnTo>
                  <a:pt x="440" y="25"/>
                </a:lnTo>
                <a:lnTo>
                  <a:pt x="440" y="25"/>
                </a:lnTo>
                <a:lnTo>
                  <a:pt x="440" y="25"/>
                </a:lnTo>
                <a:lnTo>
                  <a:pt x="441" y="25"/>
                </a:lnTo>
                <a:lnTo>
                  <a:pt x="441" y="25"/>
                </a:lnTo>
                <a:lnTo>
                  <a:pt x="441" y="24"/>
                </a:lnTo>
                <a:lnTo>
                  <a:pt x="441" y="24"/>
                </a:lnTo>
                <a:lnTo>
                  <a:pt x="441" y="24"/>
                </a:lnTo>
                <a:lnTo>
                  <a:pt x="441" y="24"/>
                </a:lnTo>
                <a:lnTo>
                  <a:pt x="441" y="24"/>
                </a:lnTo>
                <a:lnTo>
                  <a:pt x="441" y="24"/>
                </a:lnTo>
                <a:lnTo>
                  <a:pt x="441" y="23"/>
                </a:lnTo>
                <a:lnTo>
                  <a:pt x="441" y="23"/>
                </a:lnTo>
                <a:lnTo>
                  <a:pt x="441" y="23"/>
                </a:lnTo>
                <a:lnTo>
                  <a:pt x="441" y="23"/>
                </a:lnTo>
                <a:lnTo>
                  <a:pt x="441" y="23"/>
                </a:lnTo>
                <a:lnTo>
                  <a:pt x="443" y="21"/>
                </a:lnTo>
                <a:lnTo>
                  <a:pt x="443" y="21"/>
                </a:lnTo>
                <a:lnTo>
                  <a:pt x="443" y="21"/>
                </a:lnTo>
                <a:lnTo>
                  <a:pt x="443" y="21"/>
                </a:lnTo>
                <a:lnTo>
                  <a:pt x="443" y="21"/>
                </a:lnTo>
                <a:lnTo>
                  <a:pt x="443" y="21"/>
                </a:lnTo>
                <a:lnTo>
                  <a:pt x="443" y="20"/>
                </a:lnTo>
                <a:lnTo>
                  <a:pt x="443" y="20"/>
                </a:lnTo>
                <a:lnTo>
                  <a:pt x="443" y="20"/>
                </a:lnTo>
                <a:lnTo>
                  <a:pt x="443" y="20"/>
                </a:lnTo>
                <a:lnTo>
                  <a:pt x="443" y="20"/>
                </a:lnTo>
                <a:lnTo>
                  <a:pt x="444" y="19"/>
                </a:lnTo>
                <a:lnTo>
                  <a:pt x="444" y="19"/>
                </a:lnTo>
                <a:lnTo>
                  <a:pt x="444" y="19"/>
                </a:lnTo>
                <a:lnTo>
                  <a:pt x="444" y="19"/>
                </a:lnTo>
                <a:lnTo>
                  <a:pt x="444" y="19"/>
                </a:lnTo>
                <a:lnTo>
                  <a:pt x="444" y="19"/>
                </a:lnTo>
                <a:lnTo>
                  <a:pt x="444" y="18"/>
                </a:lnTo>
                <a:lnTo>
                  <a:pt x="444" y="18"/>
                </a:lnTo>
                <a:lnTo>
                  <a:pt x="444" y="18"/>
                </a:lnTo>
                <a:lnTo>
                  <a:pt x="444" y="18"/>
                </a:lnTo>
                <a:lnTo>
                  <a:pt x="445" y="18"/>
                </a:lnTo>
                <a:lnTo>
                  <a:pt x="445" y="18"/>
                </a:lnTo>
                <a:lnTo>
                  <a:pt x="445" y="17"/>
                </a:lnTo>
                <a:lnTo>
                  <a:pt x="445" y="17"/>
                </a:lnTo>
                <a:lnTo>
                  <a:pt x="445" y="17"/>
                </a:lnTo>
                <a:lnTo>
                  <a:pt x="445" y="17"/>
                </a:lnTo>
                <a:lnTo>
                  <a:pt x="445" y="17"/>
                </a:lnTo>
                <a:lnTo>
                  <a:pt x="445" y="17"/>
                </a:lnTo>
                <a:lnTo>
                  <a:pt x="445" y="16"/>
                </a:lnTo>
                <a:lnTo>
                  <a:pt x="446" y="16"/>
                </a:lnTo>
                <a:lnTo>
                  <a:pt x="446" y="16"/>
                </a:lnTo>
                <a:lnTo>
                  <a:pt x="446" y="16"/>
                </a:lnTo>
                <a:lnTo>
                  <a:pt x="446" y="16"/>
                </a:lnTo>
                <a:lnTo>
                  <a:pt x="446" y="16"/>
                </a:lnTo>
                <a:lnTo>
                  <a:pt x="446" y="15"/>
                </a:lnTo>
                <a:lnTo>
                  <a:pt x="446" y="15"/>
                </a:lnTo>
                <a:lnTo>
                  <a:pt x="446" y="15"/>
                </a:lnTo>
                <a:lnTo>
                  <a:pt x="447" y="15"/>
                </a:lnTo>
                <a:lnTo>
                  <a:pt x="447" y="15"/>
                </a:lnTo>
                <a:lnTo>
                  <a:pt x="447" y="15"/>
                </a:lnTo>
                <a:lnTo>
                  <a:pt x="447" y="14"/>
                </a:lnTo>
                <a:lnTo>
                  <a:pt x="447" y="14"/>
                </a:lnTo>
                <a:lnTo>
                  <a:pt x="447" y="14"/>
                </a:lnTo>
                <a:lnTo>
                  <a:pt x="447" y="14"/>
                </a:lnTo>
                <a:lnTo>
                  <a:pt x="447" y="14"/>
                </a:lnTo>
                <a:lnTo>
                  <a:pt x="448" y="14"/>
                </a:lnTo>
                <a:lnTo>
                  <a:pt x="448" y="14"/>
                </a:lnTo>
                <a:lnTo>
                  <a:pt x="448" y="12"/>
                </a:lnTo>
                <a:lnTo>
                  <a:pt x="448" y="12"/>
                </a:lnTo>
                <a:lnTo>
                  <a:pt x="448" y="12"/>
                </a:lnTo>
                <a:lnTo>
                  <a:pt x="448" y="12"/>
                </a:lnTo>
                <a:lnTo>
                  <a:pt x="448" y="12"/>
                </a:lnTo>
                <a:lnTo>
                  <a:pt x="448" y="12"/>
                </a:lnTo>
                <a:lnTo>
                  <a:pt x="449" y="12"/>
                </a:lnTo>
                <a:lnTo>
                  <a:pt x="449" y="11"/>
                </a:lnTo>
                <a:lnTo>
                  <a:pt x="449" y="11"/>
                </a:lnTo>
                <a:lnTo>
                  <a:pt x="449" y="11"/>
                </a:lnTo>
                <a:lnTo>
                  <a:pt x="449" y="11"/>
                </a:lnTo>
                <a:lnTo>
                  <a:pt x="449" y="11"/>
                </a:lnTo>
                <a:lnTo>
                  <a:pt x="449" y="11"/>
                </a:lnTo>
                <a:lnTo>
                  <a:pt x="450" y="11"/>
                </a:lnTo>
                <a:lnTo>
                  <a:pt x="450" y="10"/>
                </a:lnTo>
                <a:lnTo>
                  <a:pt x="450" y="10"/>
                </a:lnTo>
                <a:lnTo>
                  <a:pt x="450" y="10"/>
                </a:lnTo>
                <a:lnTo>
                  <a:pt x="450" y="10"/>
                </a:lnTo>
                <a:lnTo>
                  <a:pt x="450" y="10"/>
                </a:lnTo>
                <a:lnTo>
                  <a:pt x="452" y="10"/>
                </a:lnTo>
                <a:lnTo>
                  <a:pt x="452" y="10"/>
                </a:lnTo>
                <a:lnTo>
                  <a:pt x="452" y="9"/>
                </a:lnTo>
                <a:lnTo>
                  <a:pt x="452" y="9"/>
                </a:lnTo>
                <a:lnTo>
                  <a:pt x="452" y="9"/>
                </a:lnTo>
                <a:lnTo>
                  <a:pt x="452" y="9"/>
                </a:lnTo>
                <a:lnTo>
                  <a:pt x="452" y="9"/>
                </a:lnTo>
                <a:lnTo>
                  <a:pt x="453" y="9"/>
                </a:lnTo>
                <a:lnTo>
                  <a:pt x="453" y="9"/>
                </a:lnTo>
                <a:lnTo>
                  <a:pt x="453" y="9"/>
                </a:lnTo>
                <a:lnTo>
                  <a:pt x="453" y="8"/>
                </a:lnTo>
                <a:lnTo>
                  <a:pt x="453" y="8"/>
                </a:lnTo>
                <a:lnTo>
                  <a:pt x="453" y="8"/>
                </a:lnTo>
                <a:lnTo>
                  <a:pt x="454" y="8"/>
                </a:lnTo>
                <a:lnTo>
                  <a:pt x="454" y="8"/>
                </a:lnTo>
                <a:lnTo>
                  <a:pt x="454" y="8"/>
                </a:lnTo>
                <a:lnTo>
                  <a:pt x="454" y="8"/>
                </a:lnTo>
                <a:lnTo>
                  <a:pt x="454" y="8"/>
                </a:lnTo>
                <a:lnTo>
                  <a:pt x="454" y="7"/>
                </a:lnTo>
                <a:lnTo>
                  <a:pt x="454" y="7"/>
                </a:lnTo>
                <a:lnTo>
                  <a:pt x="455" y="7"/>
                </a:lnTo>
                <a:lnTo>
                  <a:pt x="455" y="7"/>
                </a:lnTo>
                <a:lnTo>
                  <a:pt x="455" y="7"/>
                </a:lnTo>
                <a:lnTo>
                  <a:pt x="455" y="7"/>
                </a:lnTo>
                <a:lnTo>
                  <a:pt x="455" y="7"/>
                </a:lnTo>
                <a:lnTo>
                  <a:pt x="455" y="7"/>
                </a:lnTo>
                <a:lnTo>
                  <a:pt x="456" y="7"/>
                </a:lnTo>
                <a:lnTo>
                  <a:pt x="456" y="6"/>
                </a:lnTo>
                <a:lnTo>
                  <a:pt x="456" y="6"/>
                </a:lnTo>
                <a:lnTo>
                  <a:pt x="456" y="6"/>
                </a:lnTo>
                <a:lnTo>
                  <a:pt x="456" y="6"/>
                </a:lnTo>
                <a:lnTo>
                  <a:pt x="456" y="6"/>
                </a:lnTo>
                <a:lnTo>
                  <a:pt x="457" y="6"/>
                </a:lnTo>
                <a:lnTo>
                  <a:pt x="457" y="6"/>
                </a:lnTo>
                <a:lnTo>
                  <a:pt x="457" y="6"/>
                </a:lnTo>
                <a:lnTo>
                  <a:pt x="457" y="6"/>
                </a:lnTo>
                <a:lnTo>
                  <a:pt x="457" y="5"/>
                </a:lnTo>
                <a:lnTo>
                  <a:pt x="458" y="5"/>
                </a:lnTo>
                <a:lnTo>
                  <a:pt x="458" y="5"/>
                </a:lnTo>
                <a:lnTo>
                  <a:pt x="458" y="5"/>
                </a:lnTo>
                <a:lnTo>
                  <a:pt x="458" y="5"/>
                </a:lnTo>
                <a:lnTo>
                  <a:pt x="458" y="5"/>
                </a:lnTo>
                <a:lnTo>
                  <a:pt x="458" y="5"/>
                </a:lnTo>
                <a:lnTo>
                  <a:pt x="459" y="5"/>
                </a:lnTo>
                <a:lnTo>
                  <a:pt x="459" y="5"/>
                </a:lnTo>
                <a:lnTo>
                  <a:pt x="459" y="5"/>
                </a:lnTo>
                <a:lnTo>
                  <a:pt x="459" y="5"/>
                </a:lnTo>
                <a:lnTo>
                  <a:pt x="459" y="3"/>
                </a:lnTo>
                <a:lnTo>
                  <a:pt x="461" y="3"/>
                </a:lnTo>
                <a:lnTo>
                  <a:pt x="461" y="3"/>
                </a:lnTo>
                <a:lnTo>
                  <a:pt x="461" y="3"/>
                </a:lnTo>
                <a:lnTo>
                  <a:pt x="461" y="3"/>
                </a:lnTo>
                <a:lnTo>
                  <a:pt x="461" y="3"/>
                </a:lnTo>
                <a:lnTo>
                  <a:pt x="461" y="3"/>
                </a:lnTo>
                <a:lnTo>
                  <a:pt x="462" y="3"/>
                </a:lnTo>
                <a:lnTo>
                  <a:pt x="462" y="3"/>
                </a:lnTo>
                <a:lnTo>
                  <a:pt x="462" y="3"/>
                </a:lnTo>
                <a:lnTo>
                  <a:pt x="462" y="3"/>
                </a:lnTo>
                <a:lnTo>
                  <a:pt x="462" y="3"/>
                </a:lnTo>
                <a:lnTo>
                  <a:pt x="463" y="2"/>
                </a:lnTo>
                <a:lnTo>
                  <a:pt x="463" y="2"/>
                </a:lnTo>
                <a:lnTo>
                  <a:pt x="463" y="2"/>
                </a:lnTo>
                <a:lnTo>
                  <a:pt x="463" y="2"/>
                </a:lnTo>
                <a:lnTo>
                  <a:pt x="463" y="2"/>
                </a:lnTo>
                <a:lnTo>
                  <a:pt x="464" y="2"/>
                </a:lnTo>
                <a:lnTo>
                  <a:pt x="464" y="2"/>
                </a:lnTo>
                <a:lnTo>
                  <a:pt x="464" y="2"/>
                </a:lnTo>
                <a:lnTo>
                  <a:pt x="464" y="2"/>
                </a:lnTo>
                <a:lnTo>
                  <a:pt x="464" y="2"/>
                </a:lnTo>
                <a:lnTo>
                  <a:pt x="464" y="2"/>
                </a:lnTo>
                <a:lnTo>
                  <a:pt x="465" y="2"/>
                </a:lnTo>
                <a:lnTo>
                  <a:pt x="465" y="2"/>
                </a:lnTo>
                <a:lnTo>
                  <a:pt x="465" y="2"/>
                </a:lnTo>
                <a:lnTo>
                  <a:pt x="465" y="2"/>
                </a:lnTo>
                <a:lnTo>
                  <a:pt x="465" y="1"/>
                </a:lnTo>
                <a:lnTo>
                  <a:pt x="466" y="1"/>
                </a:lnTo>
                <a:lnTo>
                  <a:pt x="466" y="1"/>
                </a:lnTo>
                <a:lnTo>
                  <a:pt x="466" y="1"/>
                </a:lnTo>
                <a:lnTo>
                  <a:pt x="466" y="1"/>
                </a:lnTo>
                <a:lnTo>
                  <a:pt x="466" y="1"/>
                </a:lnTo>
                <a:lnTo>
                  <a:pt x="467" y="1"/>
                </a:lnTo>
                <a:lnTo>
                  <a:pt x="467" y="1"/>
                </a:lnTo>
                <a:lnTo>
                  <a:pt x="467" y="1"/>
                </a:lnTo>
                <a:lnTo>
                  <a:pt x="467" y="1"/>
                </a:lnTo>
                <a:lnTo>
                  <a:pt x="467" y="1"/>
                </a:lnTo>
                <a:lnTo>
                  <a:pt x="469" y="1"/>
                </a:lnTo>
                <a:lnTo>
                  <a:pt x="469" y="1"/>
                </a:lnTo>
                <a:lnTo>
                  <a:pt x="469" y="1"/>
                </a:lnTo>
                <a:lnTo>
                  <a:pt x="469" y="1"/>
                </a:lnTo>
                <a:lnTo>
                  <a:pt x="469" y="1"/>
                </a:lnTo>
                <a:lnTo>
                  <a:pt x="470" y="1"/>
                </a:lnTo>
                <a:lnTo>
                  <a:pt x="470" y="1"/>
                </a:lnTo>
                <a:lnTo>
                  <a:pt x="470" y="1"/>
                </a:lnTo>
                <a:lnTo>
                  <a:pt x="470" y="1"/>
                </a:lnTo>
                <a:lnTo>
                  <a:pt x="471" y="1"/>
                </a:lnTo>
                <a:lnTo>
                  <a:pt x="471" y="1"/>
                </a:lnTo>
                <a:lnTo>
                  <a:pt x="471" y="0"/>
                </a:lnTo>
                <a:lnTo>
                  <a:pt x="471" y="0"/>
                </a:lnTo>
                <a:lnTo>
                  <a:pt x="471" y="0"/>
                </a:lnTo>
                <a:lnTo>
                  <a:pt x="472" y="0"/>
                </a:lnTo>
                <a:lnTo>
                  <a:pt x="472" y="0"/>
                </a:lnTo>
                <a:lnTo>
                  <a:pt x="472" y="0"/>
                </a:lnTo>
                <a:lnTo>
                  <a:pt x="472" y="0"/>
                </a:lnTo>
                <a:lnTo>
                  <a:pt x="472" y="0"/>
                </a:lnTo>
                <a:lnTo>
                  <a:pt x="473" y="0"/>
                </a:lnTo>
                <a:lnTo>
                  <a:pt x="473" y="0"/>
                </a:lnTo>
                <a:lnTo>
                  <a:pt x="473" y="0"/>
                </a:lnTo>
                <a:lnTo>
                  <a:pt x="473" y="0"/>
                </a:lnTo>
                <a:lnTo>
                  <a:pt x="473" y="0"/>
                </a:lnTo>
                <a:lnTo>
                  <a:pt x="474" y="0"/>
                </a:lnTo>
                <a:lnTo>
                  <a:pt x="474" y="0"/>
                </a:lnTo>
                <a:lnTo>
                  <a:pt x="474" y="0"/>
                </a:lnTo>
                <a:lnTo>
                  <a:pt x="474" y="0"/>
                </a:lnTo>
                <a:lnTo>
                  <a:pt x="475" y="0"/>
                </a:lnTo>
                <a:lnTo>
                  <a:pt x="475" y="0"/>
                </a:lnTo>
                <a:lnTo>
                  <a:pt x="475" y="0"/>
                </a:lnTo>
                <a:lnTo>
                  <a:pt x="475" y="0"/>
                </a:lnTo>
                <a:lnTo>
                  <a:pt x="475" y="0"/>
                </a:lnTo>
                <a:lnTo>
                  <a:pt x="476" y="0"/>
                </a:lnTo>
                <a:lnTo>
                  <a:pt x="476" y="0"/>
                </a:lnTo>
                <a:lnTo>
                  <a:pt x="476" y="0"/>
                </a:lnTo>
                <a:lnTo>
                  <a:pt x="476" y="0"/>
                </a:lnTo>
                <a:lnTo>
                  <a:pt x="476" y="0"/>
                </a:lnTo>
                <a:lnTo>
                  <a:pt x="478" y="0"/>
                </a:lnTo>
                <a:lnTo>
                  <a:pt x="478" y="0"/>
                </a:lnTo>
                <a:lnTo>
                  <a:pt x="478" y="0"/>
                </a:lnTo>
                <a:lnTo>
                  <a:pt x="478" y="0"/>
                </a:lnTo>
                <a:lnTo>
                  <a:pt x="479" y="0"/>
                </a:lnTo>
                <a:lnTo>
                  <a:pt x="479" y="0"/>
                </a:lnTo>
                <a:lnTo>
                  <a:pt x="479" y="0"/>
                </a:lnTo>
                <a:lnTo>
                  <a:pt x="479" y="0"/>
                </a:lnTo>
                <a:lnTo>
                  <a:pt x="479" y="0"/>
                </a:lnTo>
                <a:lnTo>
                  <a:pt x="480" y="0"/>
                </a:lnTo>
                <a:lnTo>
                  <a:pt x="480" y="0"/>
                </a:lnTo>
                <a:lnTo>
                  <a:pt x="480" y="0"/>
                </a:lnTo>
                <a:lnTo>
                  <a:pt x="480" y="0"/>
                </a:lnTo>
                <a:lnTo>
                  <a:pt x="480" y="0"/>
                </a:lnTo>
                <a:lnTo>
                  <a:pt x="481" y="0"/>
                </a:lnTo>
                <a:lnTo>
                  <a:pt x="481" y="0"/>
                </a:lnTo>
                <a:lnTo>
                  <a:pt x="481" y="0"/>
                </a:lnTo>
                <a:lnTo>
                  <a:pt x="481" y="0"/>
                </a:lnTo>
                <a:lnTo>
                  <a:pt x="481" y="0"/>
                </a:lnTo>
                <a:lnTo>
                  <a:pt x="482" y="0"/>
                </a:lnTo>
                <a:lnTo>
                  <a:pt x="482" y="1"/>
                </a:lnTo>
                <a:lnTo>
                  <a:pt x="482" y="1"/>
                </a:lnTo>
                <a:lnTo>
                  <a:pt x="482" y="1"/>
                </a:lnTo>
                <a:lnTo>
                  <a:pt x="482" y="1"/>
                </a:lnTo>
                <a:lnTo>
                  <a:pt x="483" y="1"/>
                </a:lnTo>
                <a:lnTo>
                  <a:pt x="483" y="1"/>
                </a:lnTo>
                <a:lnTo>
                  <a:pt x="483" y="1"/>
                </a:lnTo>
                <a:lnTo>
                  <a:pt x="483" y="1"/>
                </a:lnTo>
                <a:lnTo>
                  <a:pt x="484" y="1"/>
                </a:lnTo>
                <a:lnTo>
                  <a:pt x="484" y="1"/>
                </a:lnTo>
                <a:lnTo>
                  <a:pt x="484" y="1"/>
                </a:lnTo>
                <a:lnTo>
                  <a:pt x="484" y="1"/>
                </a:lnTo>
                <a:lnTo>
                  <a:pt x="484" y="1"/>
                </a:lnTo>
                <a:lnTo>
                  <a:pt x="485" y="1"/>
                </a:lnTo>
                <a:lnTo>
                  <a:pt x="485" y="1"/>
                </a:lnTo>
                <a:lnTo>
                  <a:pt x="485" y="1"/>
                </a:lnTo>
                <a:lnTo>
                  <a:pt x="485" y="1"/>
                </a:lnTo>
                <a:lnTo>
                  <a:pt x="485" y="1"/>
                </a:lnTo>
                <a:lnTo>
                  <a:pt x="487" y="1"/>
                </a:lnTo>
                <a:lnTo>
                  <a:pt x="487" y="1"/>
                </a:lnTo>
                <a:lnTo>
                  <a:pt x="487" y="1"/>
                </a:lnTo>
                <a:lnTo>
                  <a:pt x="487" y="1"/>
                </a:lnTo>
                <a:lnTo>
                  <a:pt x="487" y="2"/>
                </a:lnTo>
                <a:lnTo>
                  <a:pt x="488" y="2"/>
                </a:lnTo>
                <a:lnTo>
                  <a:pt x="488" y="2"/>
                </a:lnTo>
                <a:lnTo>
                  <a:pt x="488" y="2"/>
                </a:lnTo>
                <a:lnTo>
                  <a:pt x="488" y="2"/>
                </a:lnTo>
                <a:lnTo>
                  <a:pt x="488" y="2"/>
                </a:lnTo>
                <a:lnTo>
                  <a:pt x="488" y="2"/>
                </a:lnTo>
                <a:lnTo>
                  <a:pt x="489" y="2"/>
                </a:lnTo>
                <a:lnTo>
                  <a:pt x="489" y="2"/>
                </a:lnTo>
                <a:lnTo>
                  <a:pt x="489" y="2"/>
                </a:lnTo>
                <a:lnTo>
                  <a:pt x="489" y="2"/>
                </a:lnTo>
                <a:lnTo>
                  <a:pt x="489" y="2"/>
                </a:lnTo>
                <a:lnTo>
                  <a:pt x="490" y="2"/>
                </a:lnTo>
                <a:lnTo>
                  <a:pt x="490" y="2"/>
                </a:lnTo>
                <a:lnTo>
                  <a:pt x="490" y="2"/>
                </a:lnTo>
                <a:lnTo>
                  <a:pt x="490" y="3"/>
                </a:lnTo>
                <a:lnTo>
                  <a:pt x="490" y="3"/>
                </a:lnTo>
                <a:lnTo>
                  <a:pt x="491" y="3"/>
                </a:lnTo>
                <a:lnTo>
                  <a:pt x="491" y="3"/>
                </a:lnTo>
                <a:lnTo>
                  <a:pt x="491" y="3"/>
                </a:lnTo>
                <a:lnTo>
                  <a:pt x="491" y="3"/>
                </a:lnTo>
                <a:lnTo>
                  <a:pt x="491" y="3"/>
                </a:lnTo>
                <a:lnTo>
                  <a:pt x="492" y="3"/>
                </a:lnTo>
                <a:lnTo>
                  <a:pt x="492" y="3"/>
                </a:lnTo>
                <a:lnTo>
                  <a:pt x="492" y="3"/>
                </a:lnTo>
                <a:lnTo>
                  <a:pt x="492" y="3"/>
                </a:lnTo>
                <a:lnTo>
                  <a:pt x="492" y="3"/>
                </a:lnTo>
                <a:lnTo>
                  <a:pt x="492" y="5"/>
                </a:lnTo>
                <a:lnTo>
                  <a:pt x="493" y="5"/>
                </a:lnTo>
                <a:lnTo>
                  <a:pt x="493" y="5"/>
                </a:lnTo>
                <a:lnTo>
                  <a:pt x="493" y="5"/>
                </a:lnTo>
                <a:lnTo>
                  <a:pt x="493" y="5"/>
                </a:lnTo>
                <a:lnTo>
                  <a:pt x="493" y="5"/>
                </a:lnTo>
                <a:lnTo>
                  <a:pt x="494" y="5"/>
                </a:lnTo>
                <a:lnTo>
                  <a:pt x="494" y="5"/>
                </a:lnTo>
                <a:lnTo>
                  <a:pt x="494" y="5"/>
                </a:lnTo>
                <a:lnTo>
                  <a:pt x="494" y="5"/>
                </a:lnTo>
                <a:lnTo>
                  <a:pt x="494" y="5"/>
                </a:lnTo>
                <a:lnTo>
                  <a:pt x="494" y="6"/>
                </a:lnTo>
                <a:lnTo>
                  <a:pt x="496" y="6"/>
                </a:lnTo>
                <a:lnTo>
                  <a:pt x="496" y="6"/>
                </a:lnTo>
                <a:lnTo>
                  <a:pt x="496" y="6"/>
                </a:lnTo>
                <a:lnTo>
                  <a:pt x="496" y="6"/>
                </a:lnTo>
                <a:lnTo>
                  <a:pt x="496" y="6"/>
                </a:lnTo>
                <a:lnTo>
                  <a:pt x="496" y="6"/>
                </a:lnTo>
                <a:lnTo>
                  <a:pt x="497" y="6"/>
                </a:lnTo>
                <a:lnTo>
                  <a:pt x="497" y="6"/>
                </a:lnTo>
                <a:lnTo>
                  <a:pt x="497" y="7"/>
                </a:lnTo>
                <a:lnTo>
                  <a:pt x="497" y="7"/>
                </a:lnTo>
                <a:lnTo>
                  <a:pt x="497" y="7"/>
                </a:lnTo>
                <a:lnTo>
                  <a:pt x="497" y="7"/>
                </a:lnTo>
                <a:lnTo>
                  <a:pt x="498" y="7"/>
                </a:lnTo>
                <a:lnTo>
                  <a:pt x="498" y="7"/>
                </a:lnTo>
                <a:lnTo>
                  <a:pt x="498" y="7"/>
                </a:lnTo>
                <a:lnTo>
                  <a:pt x="498" y="7"/>
                </a:lnTo>
                <a:lnTo>
                  <a:pt x="498" y="7"/>
                </a:lnTo>
                <a:lnTo>
                  <a:pt x="498" y="8"/>
                </a:lnTo>
                <a:lnTo>
                  <a:pt x="499" y="8"/>
                </a:lnTo>
                <a:lnTo>
                  <a:pt x="499" y="8"/>
                </a:lnTo>
                <a:lnTo>
                  <a:pt x="499" y="8"/>
                </a:lnTo>
                <a:lnTo>
                  <a:pt x="499" y="8"/>
                </a:lnTo>
                <a:lnTo>
                  <a:pt x="499" y="8"/>
                </a:lnTo>
                <a:lnTo>
                  <a:pt x="499" y="8"/>
                </a:lnTo>
                <a:lnTo>
                  <a:pt x="500" y="8"/>
                </a:lnTo>
                <a:lnTo>
                  <a:pt x="500" y="9"/>
                </a:lnTo>
                <a:lnTo>
                  <a:pt x="500" y="9"/>
                </a:lnTo>
                <a:lnTo>
                  <a:pt x="500" y="9"/>
                </a:lnTo>
                <a:lnTo>
                  <a:pt x="500" y="9"/>
                </a:lnTo>
                <a:lnTo>
                  <a:pt x="500" y="9"/>
                </a:lnTo>
                <a:lnTo>
                  <a:pt x="500" y="9"/>
                </a:lnTo>
                <a:lnTo>
                  <a:pt x="501" y="9"/>
                </a:lnTo>
                <a:lnTo>
                  <a:pt x="501" y="9"/>
                </a:lnTo>
                <a:lnTo>
                  <a:pt x="501" y="10"/>
                </a:lnTo>
                <a:lnTo>
                  <a:pt x="501" y="10"/>
                </a:lnTo>
                <a:lnTo>
                  <a:pt x="501" y="10"/>
                </a:lnTo>
                <a:lnTo>
                  <a:pt x="501" y="10"/>
                </a:lnTo>
                <a:lnTo>
                  <a:pt x="502" y="10"/>
                </a:lnTo>
                <a:lnTo>
                  <a:pt x="502" y="10"/>
                </a:lnTo>
                <a:lnTo>
                  <a:pt x="502" y="10"/>
                </a:lnTo>
                <a:lnTo>
                  <a:pt x="502" y="11"/>
                </a:lnTo>
                <a:lnTo>
                  <a:pt x="502" y="11"/>
                </a:lnTo>
                <a:lnTo>
                  <a:pt x="502" y="11"/>
                </a:lnTo>
                <a:lnTo>
                  <a:pt x="502" y="11"/>
                </a:lnTo>
                <a:lnTo>
                  <a:pt x="503" y="11"/>
                </a:lnTo>
                <a:lnTo>
                  <a:pt x="503" y="11"/>
                </a:lnTo>
                <a:lnTo>
                  <a:pt x="503" y="11"/>
                </a:lnTo>
                <a:lnTo>
                  <a:pt x="503" y="12"/>
                </a:lnTo>
                <a:lnTo>
                  <a:pt x="503" y="12"/>
                </a:lnTo>
                <a:lnTo>
                  <a:pt x="503" y="12"/>
                </a:lnTo>
                <a:lnTo>
                  <a:pt x="503" y="12"/>
                </a:lnTo>
                <a:lnTo>
                  <a:pt x="505" y="12"/>
                </a:lnTo>
                <a:lnTo>
                  <a:pt x="505" y="12"/>
                </a:lnTo>
                <a:lnTo>
                  <a:pt x="505" y="12"/>
                </a:lnTo>
                <a:lnTo>
                  <a:pt x="505" y="14"/>
                </a:lnTo>
                <a:lnTo>
                  <a:pt x="505" y="14"/>
                </a:lnTo>
                <a:lnTo>
                  <a:pt x="505" y="14"/>
                </a:lnTo>
                <a:lnTo>
                  <a:pt x="505" y="14"/>
                </a:lnTo>
                <a:lnTo>
                  <a:pt x="505" y="14"/>
                </a:lnTo>
                <a:lnTo>
                  <a:pt x="506" y="14"/>
                </a:lnTo>
                <a:lnTo>
                  <a:pt x="506" y="14"/>
                </a:lnTo>
                <a:lnTo>
                  <a:pt x="506" y="15"/>
                </a:lnTo>
                <a:lnTo>
                  <a:pt x="506" y="15"/>
                </a:lnTo>
                <a:lnTo>
                  <a:pt x="506" y="15"/>
                </a:lnTo>
                <a:lnTo>
                  <a:pt x="506" y="15"/>
                </a:lnTo>
                <a:lnTo>
                  <a:pt x="506" y="15"/>
                </a:lnTo>
                <a:lnTo>
                  <a:pt x="506" y="15"/>
                </a:lnTo>
                <a:lnTo>
                  <a:pt x="507" y="16"/>
                </a:lnTo>
                <a:lnTo>
                  <a:pt x="507" y="16"/>
                </a:lnTo>
                <a:lnTo>
                  <a:pt x="507" y="16"/>
                </a:lnTo>
                <a:lnTo>
                  <a:pt x="507" y="16"/>
                </a:lnTo>
                <a:lnTo>
                  <a:pt x="507" y="16"/>
                </a:lnTo>
                <a:lnTo>
                  <a:pt x="507" y="16"/>
                </a:lnTo>
                <a:lnTo>
                  <a:pt x="507" y="17"/>
                </a:lnTo>
                <a:lnTo>
                  <a:pt x="507" y="17"/>
                </a:lnTo>
                <a:lnTo>
                  <a:pt x="507" y="17"/>
                </a:lnTo>
                <a:lnTo>
                  <a:pt x="508" y="17"/>
                </a:lnTo>
                <a:lnTo>
                  <a:pt x="508" y="17"/>
                </a:lnTo>
                <a:lnTo>
                  <a:pt x="508" y="17"/>
                </a:lnTo>
                <a:lnTo>
                  <a:pt x="508" y="18"/>
                </a:lnTo>
                <a:lnTo>
                  <a:pt x="508" y="18"/>
                </a:lnTo>
                <a:lnTo>
                  <a:pt x="508" y="18"/>
                </a:lnTo>
                <a:lnTo>
                  <a:pt x="508" y="18"/>
                </a:lnTo>
                <a:lnTo>
                  <a:pt x="508" y="18"/>
                </a:lnTo>
                <a:lnTo>
                  <a:pt x="508" y="18"/>
                </a:lnTo>
                <a:lnTo>
                  <a:pt x="509" y="19"/>
                </a:lnTo>
                <a:lnTo>
                  <a:pt x="509" y="19"/>
                </a:lnTo>
                <a:lnTo>
                  <a:pt x="509" y="19"/>
                </a:lnTo>
                <a:lnTo>
                  <a:pt x="509" y="19"/>
                </a:lnTo>
                <a:lnTo>
                  <a:pt x="509" y="19"/>
                </a:lnTo>
                <a:lnTo>
                  <a:pt x="509" y="19"/>
                </a:lnTo>
                <a:lnTo>
                  <a:pt x="509" y="20"/>
                </a:lnTo>
                <a:lnTo>
                  <a:pt x="509" y="20"/>
                </a:lnTo>
                <a:lnTo>
                  <a:pt x="509" y="20"/>
                </a:lnTo>
                <a:lnTo>
                  <a:pt x="509" y="20"/>
                </a:lnTo>
                <a:lnTo>
                  <a:pt x="510" y="20"/>
                </a:lnTo>
                <a:lnTo>
                  <a:pt x="510" y="21"/>
                </a:lnTo>
                <a:lnTo>
                  <a:pt x="510" y="21"/>
                </a:lnTo>
                <a:lnTo>
                  <a:pt x="510" y="21"/>
                </a:lnTo>
                <a:lnTo>
                  <a:pt x="510" y="21"/>
                </a:lnTo>
                <a:lnTo>
                  <a:pt x="510" y="21"/>
                </a:lnTo>
                <a:lnTo>
                  <a:pt x="510" y="21"/>
                </a:lnTo>
                <a:lnTo>
                  <a:pt x="510" y="23"/>
                </a:lnTo>
                <a:lnTo>
                  <a:pt x="510" y="23"/>
                </a:lnTo>
                <a:lnTo>
                  <a:pt x="510" y="23"/>
                </a:lnTo>
                <a:lnTo>
                  <a:pt x="510" y="23"/>
                </a:lnTo>
                <a:lnTo>
                  <a:pt x="510" y="23"/>
                </a:lnTo>
                <a:lnTo>
                  <a:pt x="511" y="24"/>
                </a:lnTo>
                <a:lnTo>
                  <a:pt x="511" y="24"/>
                </a:lnTo>
                <a:lnTo>
                  <a:pt x="511" y="24"/>
                </a:lnTo>
                <a:lnTo>
                  <a:pt x="511" y="24"/>
                </a:lnTo>
                <a:lnTo>
                  <a:pt x="511" y="24"/>
                </a:lnTo>
                <a:lnTo>
                  <a:pt x="511" y="24"/>
                </a:lnTo>
                <a:lnTo>
                  <a:pt x="511" y="25"/>
                </a:lnTo>
                <a:lnTo>
                  <a:pt x="511" y="25"/>
                </a:lnTo>
                <a:lnTo>
                  <a:pt x="511" y="25"/>
                </a:lnTo>
                <a:lnTo>
                  <a:pt x="511" y="25"/>
                </a:lnTo>
                <a:lnTo>
                  <a:pt x="511" y="25"/>
                </a:lnTo>
                <a:lnTo>
                  <a:pt x="511" y="26"/>
                </a:lnTo>
                <a:lnTo>
                  <a:pt x="511" y="26"/>
                </a:lnTo>
                <a:lnTo>
                  <a:pt x="512" y="26"/>
                </a:lnTo>
                <a:lnTo>
                  <a:pt x="512" y="26"/>
                </a:lnTo>
                <a:lnTo>
                  <a:pt x="512" y="26"/>
                </a:lnTo>
                <a:lnTo>
                  <a:pt x="512" y="27"/>
                </a:lnTo>
                <a:lnTo>
                  <a:pt x="512" y="27"/>
                </a:lnTo>
                <a:lnTo>
                  <a:pt x="512" y="27"/>
                </a:lnTo>
                <a:lnTo>
                  <a:pt x="512" y="27"/>
                </a:lnTo>
                <a:lnTo>
                  <a:pt x="512" y="27"/>
                </a:lnTo>
                <a:lnTo>
                  <a:pt x="512" y="28"/>
                </a:lnTo>
                <a:lnTo>
                  <a:pt x="512" y="28"/>
                </a:lnTo>
                <a:lnTo>
                  <a:pt x="512" y="28"/>
                </a:lnTo>
                <a:lnTo>
                  <a:pt x="512" y="28"/>
                </a:lnTo>
                <a:lnTo>
                  <a:pt x="512" y="28"/>
                </a:lnTo>
                <a:lnTo>
                  <a:pt x="512" y="29"/>
                </a:lnTo>
                <a:lnTo>
                  <a:pt x="512" y="29"/>
                </a:lnTo>
                <a:lnTo>
                  <a:pt x="512" y="29"/>
                </a:lnTo>
                <a:lnTo>
                  <a:pt x="512" y="29"/>
                </a:lnTo>
                <a:lnTo>
                  <a:pt x="512" y="29"/>
                </a:lnTo>
                <a:lnTo>
                  <a:pt x="512" y="30"/>
                </a:lnTo>
                <a:lnTo>
                  <a:pt x="514" y="30"/>
                </a:lnTo>
                <a:lnTo>
                  <a:pt x="514" y="30"/>
                </a:lnTo>
                <a:lnTo>
                  <a:pt x="514" y="30"/>
                </a:lnTo>
                <a:lnTo>
                  <a:pt x="514" y="30"/>
                </a:lnTo>
                <a:lnTo>
                  <a:pt x="514" y="32"/>
                </a:lnTo>
                <a:lnTo>
                  <a:pt x="514" y="32"/>
                </a:lnTo>
                <a:lnTo>
                  <a:pt x="514" y="32"/>
                </a:lnTo>
                <a:lnTo>
                  <a:pt x="514" y="32"/>
                </a:lnTo>
                <a:lnTo>
                  <a:pt x="514" y="32"/>
                </a:lnTo>
                <a:lnTo>
                  <a:pt x="514" y="33"/>
                </a:lnTo>
                <a:lnTo>
                  <a:pt x="514" y="33"/>
                </a:lnTo>
                <a:lnTo>
                  <a:pt x="514" y="33"/>
                </a:lnTo>
                <a:lnTo>
                  <a:pt x="514" y="33"/>
                </a:lnTo>
                <a:lnTo>
                  <a:pt x="514" y="34"/>
                </a:lnTo>
                <a:lnTo>
                  <a:pt x="514" y="34"/>
                </a:lnTo>
                <a:lnTo>
                  <a:pt x="514" y="34"/>
                </a:lnTo>
                <a:lnTo>
                  <a:pt x="514" y="34"/>
                </a:lnTo>
                <a:lnTo>
                  <a:pt x="514" y="34"/>
                </a:lnTo>
                <a:lnTo>
                  <a:pt x="514" y="35"/>
                </a:lnTo>
                <a:lnTo>
                  <a:pt x="514" y="35"/>
                </a:lnTo>
                <a:lnTo>
                  <a:pt x="514" y="35"/>
                </a:lnTo>
                <a:lnTo>
                  <a:pt x="514" y="35"/>
                </a:lnTo>
                <a:lnTo>
                  <a:pt x="514" y="35"/>
                </a:lnTo>
                <a:lnTo>
                  <a:pt x="514" y="36"/>
                </a:lnTo>
                <a:lnTo>
                  <a:pt x="514" y="36"/>
                </a:lnTo>
                <a:lnTo>
                  <a:pt x="514" y="36"/>
                </a:lnTo>
                <a:lnTo>
                  <a:pt x="514" y="36"/>
                </a:lnTo>
                <a:lnTo>
                  <a:pt x="514" y="36"/>
                </a:lnTo>
                <a:lnTo>
                  <a:pt x="514" y="37"/>
                </a:lnTo>
                <a:lnTo>
                  <a:pt x="514" y="37"/>
                </a:lnTo>
                <a:lnTo>
                  <a:pt x="514" y="37"/>
                </a:lnTo>
                <a:lnTo>
                  <a:pt x="514" y="37"/>
                </a:lnTo>
                <a:lnTo>
                  <a:pt x="514" y="38"/>
                </a:lnTo>
                <a:lnTo>
                  <a:pt x="514" y="38"/>
                </a:lnTo>
                <a:lnTo>
                  <a:pt x="514" y="38"/>
                </a:lnTo>
                <a:lnTo>
                  <a:pt x="514" y="38"/>
                </a:lnTo>
                <a:lnTo>
                  <a:pt x="514" y="38"/>
                </a:lnTo>
                <a:lnTo>
                  <a:pt x="514" y="39"/>
                </a:lnTo>
                <a:lnTo>
                  <a:pt x="514" y="39"/>
                </a:lnTo>
                <a:lnTo>
                  <a:pt x="514" y="39"/>
                </a:lnTo>
                <a:lnTo>
                  <a:pt x="514" y="39"/>
                </a:lnTo>
                <a:lnTo>
                  <a:pt x="514" y="39"/>
                </a:lnTo>
                <a:lnTo>
                  <a:pt x="514" y="41"/>
                </a:lnTo>
                <a:lnTo>
                  <a:pt x="514" y="41"/>
                </a:lnTo>
                <a:lnTo>
                  <a:pt x="514" y="41"/>
                </a:lnTo>
                <a:lnTo>
                  <a:pt x="514" y="41"/>
                </a:lnTo>
                <a:lnTo>
                  <a:pt x="514" y="42"/>
                </a:lnTo>
                <a:lnTo>
                  <a:pt x="514" y="42"/>
                </a:lnTo>
                <a:lnTo>
                  <a:pt x="514" y="42"/>
                </a:lnTo>
                <a:lnTo>
                  <a:pt x="514" y="42"/>
                </a:lnTo>
                <a:lnTo>
                  <a:pt x="514" y="42"/>
                </a:lnTo>
                <a:lnTo>
                  <a:pt x="514" y="43"/>
                </a:lnTo>
                <a:lnTo>
                  <a:pt x="514" y="43"/>
                </a:lnTo>
                <a:lnTo>
                  <a:pt x="514" y="43"/>
                </a:lnTo>
                <a:lnTo>
                  <a:pt x="514" y="43"/>
                </a:lnTo>
                <a:lnTo>
                  <a:pt x="514" y="43"/>
                </a:lnTo>
                <a:lnTo>
                  <a:pt x="514" y="44"/>
                </a:lnTo>
                <a:lnTo>
                  <a:pt x="514" y="44"/>
                </a:lnTo>
                <a:lnTo>
                  <a:pt x="514" y="44"/>
                </a:lnTo>
                <a:lnTo>
                  <a:pt x="514" y="44"/>
                </a:lnTo>
                <a:lnTo>
                  <a:pt x="514" y="44"/>
                </a:lnTo>
                <a:lnTo>
                  <a:pt x="514" y="45"/>
                </a:lnTo>
                <a:lnTo>
                  <a:pt x="514" y="45"/>
                </a:lnTo>
                <a:lnTo>
                  <a:pt x="514" y="45"/>
                </a:lnTo>
                <a:lnTo>
                  <a:pt x="514" y="45"/>
                </a:lnTo>
                <a:lnTo>
                  <a:pt x="512" y="45"/>
                </a:lnTo>
                <a:lnTo>
                  <a:pt x="512" y="46"/>
                </a:lnTo>
                <a:lnTo>
                  <a:pt x="512" y="46"/>
                </a:lnTo>
                <a:lnTo>
                  <a:pt x="512" y="46"/>
                </a:lnTo>
                <a:lnTo>
                  <a:pt x="512" y="46"/>
                </a:lnTo>
                <a:lnTo>
                  <a:pt x="512" y="46"/>
                </a:lnTo>
                <a:lnTo>
                  <a:pt x="512" y="47"/>
                </a:lnTo>
                <a:lnTo>
                  <a:pt x="512" y="47"/>
                </a:lnTo>
                <a:lnTo>
                  <a:pt x="512" y="47"/>
                </a:lnTo>
                <a:lnTo>
                  <a:pt x="512" y="47"/>
                </a:lnTo>
                <a:lnTo>
                  <a:pt x="512" y="47"/>
                </a:lnTo>
                <a:lnTo>
                  <a:pt x="512" y="48"/>
                </a:lnTo>
                <a:lnTo>
                  <a:pt x="512" y="48"/>
                </a:lnTo>
                <a:lnTo>
                  <a:pt x="512" y="48"/>
                </a:lnTo>
                <a:lnTo>
                  <a:pt x="512" y="48"/>
                </a:lnTo>
                <a:lnTo>
                  <a:pt x="512" y="48"/>
                </a:lnTo>
                <a:lnTo>
                  <a:pt x="512" y="50"/>
                </a:lnTo>
                <a:lnTo>
                  <a:pt x="512" y="50"/>
                </a:lnTo>
                <a:lnTo>
                  <a:pt x="512" y="50"/>
                </a:lnTo>
                <a:lnTo>
                  <a:pt x="511" y="50"/>
                </a:lnTo>
                <a:lnTo>
                  <a:pt x="511" y="50"/>
                </a:lnTo>
                <a:lnTo>
                  <a:pt x="511" y="51"/>
                </a:lnTo>
                <a:lnTo>
                  <a:pt x="511" y="51"/>
                </a:lnTo>
                <a:lnTo>
                  <a:pt x="511" y="51"/>
                </a:lnTo>
                <a:lnTo>
                  <a:pt x="511" y="51"/>
                </a:lnTo>
                <a:lnTo>
                  <a:pt x="511" y="51"/>
                </a:lnTo>
                <a:lnTo>
                  <a:pt x="511" y="52"/>
                </a:lnTo>
                <a:lnTo>
                  <a:pt x="511" y="52"/>
                </a:lnTo>
                <a:lnTo>
                  <a:pt x="511" y="52"/>
                </a:lnTo>
                <a:lnTo>
                  <a:pt x="511" y="52"/>
                </a:lnTo>
                <a:lnTo>
                  <a:pt x="511" y="52"/>
                </a:lnTo>
                <a:lnTo>
                  <a:pt x="511" y="53"/>
                </a:lnTo>
                <a:lnTo>
                  <a:pt x="510" y="53"/>
                </a:lnTo>
                <a:lnTo>
                  <a:pt x="510" y="53"/>
                </a:lnTo>
                <a:lnTo>
                  <a:pt x="510" y="53"/>
                </a:lnTo>
                <a:lnTo>
                  <a:pt x="510" y="53"/>
                </a:lnTo>
                <a:lnTo>
                  <a:pt x="510" y="53"/>
                </a:lnTo>
                <a:lnTo>
                  <a:pt x="510" y="54"/>
                </a:lnTo>
                <a:lnTo>
                  <a:pt x="510" y="54"/>
                </a:lnTo>
                <a:lnTo>
                  <a:pt x="510" y="54"/>
                </a:lnTo>
                <a:lnTo>
                  <a:pt x="510" y="54"/>
                </a:lnTo>
                <a:lnTo>
                  <a:pt x="510" y="54"/>
                </a:lnTo>
                <a:lnTo>
                  <a:pt x="510" y="55"/>
                </a:lnTo>
                <a:lnTo>
                  <a:pt x="510" y="55"/>
                </a:lnTo>
                <a:lnTo>
                  <a:pt x="509" y="55"/>
                </a:lnTo>
                <a:lnTo>
                  <a:pt x="509" y="55"/>
                </a:lnTo>
                <a:lnTo>
                  <a:pt x="509" y="55"/>
                </a:lnTo>
                <a:lnTo>
                  <a:pt x="509" y="55"/>
                </a:lnTo>
                <a:lnTo>
                  <a:pt x="509" y="56"/>
                </a:lnTo>
                <a:lnTo>
                  <a:pt x="509" y="56"/>
                </a:lnTo>
                <a:lnTo>
                  <a:pt x="509" y="56"/>
                </a:lnTo>
                <a:lnTo>
                  <a:pt x="509" y="56"/>
                </a:lnTo>
                <a:lnTo>
                  <a:pt x="509" y="56"/>
                </a:lnTo>
                <a:lnTo>
                  <a:pt x="509" y="57"/>
                </a:lnTo>
                <a:lnTo>
                  <a:pt x="508" y="57"/>
                </a:lnTo>
                <a:lnTo>
                  <a:pt x="508" y="57"/>
                </a:lnTo>
                <a:lnTo>
                  <a:pt x="508" y="57"/>
                </a:lnTo>
                <a:lnTo>
                  <a:pt x="508" y="57"/>
                </a:lnTo>
                <a:lnTo>
                  <a:pt x="508" y="57"/>
                </a:lnTo>
                <a:lnTo>
                  <a:pt x="508" y="59"/>
                </a:lnTo>
                <a:lnTo>
                  <a:pt x="508" y="59"/>
                </a:lnTo>
                <a:lnTo>
                  <a:pt x="508" y="59"/>
                </a:lnTo>
                <a:lnTo>
                  <a:pt x="508" y="59"/>
                </a:lnTo>
                <a:lnTo>
                  <a:pt x="507" y="59"/>
                </a:lnTo>
                <a:lnTo>
                  <a:pt x="507" y="59"/>
                </a:lnTo>
                <a:lnTo>
                  <a:pt x="507" y="60"/>
                </a:lnTo>
                <a:lnTo>
                  <a:pt x="507" y="60"/>
                </a:lnTo>
                <a:lnTo>
                  <a:pt x="507" y="60"/>
                </a:lnTo>
                <a:lnTo>
                  <a:pt x="507" y="60"/>
                </a:lnTo>
                <a:lnTo>
                  <a:pt x="507" y="60"/>
                </a:lnTo>
                <a:lnTo>
                  <a:pt x="507" y="60"/>
                </a:lnTo>
                <a:lnTo>
                  <a:pt x="507" y="61"/>
                </a:lnTo>
                <a:lnTo>
                  <a:pt x="506" y="61"/>
                </a:lnTo>
                <a:lnTo>
                  <a:pt x="506" y="61"/>
                </a:lnTo>
                <a:lnTo>
                  <a:pt x="506" y="61"/>
                </a:lnTo>
                <a:lnTo>
                  <a:pt x="506" y="61"/>
                </a:lnTo>
                <a:lnTo>
                  <a:pt x="506" y="61"/>
                </a:lnTo>
                <a:lnTo>
                  <a:pt x="506" y="61"/>
                </a:lnTo>
                <a:lnTo>
                  <a:pt x="506" y="62"/>
                </a:lnTo>
                <a:lnTo>
                  <a:pt x="506" y="62"/>
                </a:lnTo>
                <a:lnTo>
                  <a:pt x="505" y="62"/>
                </a:lnTo>
                <a:lnTo>
                  <a:pt x="505" y="62"/>
                </a:lnTo>
                <a:lnTo>
                  <a:pt x="505" y="62"/>
                </a:lnTo>
                <a:lnTo>
                  <a:pt x="505" y="62"/>
                </a:lnTo>
                <a:lnTo>
                  <a:pt x="505" y="63"/>
                </a:lnTo>
                <a:lnTo>
                  <a:pt x="505" y="63"/>
                </a:lnTo>
                <a:lnTo>
                  <a:pt x="505" y="63"/>
                </a:lnTo>
                <a:lnTo>
                  <a:pt x="505" y="63"/>
                </a:lnTo>
                <a:lnTo>
                  <a:pt x="503" y="63"/>
                </a:lnTo>
                <a:lnTo>
                  <a:pt x="503" y="63"/>
                </a:lnTo>
                <a:lnTo>
                  <a:pt x="503" y="63"/>
                </a:lnTo>
                <a:lnTo>
                  <a:pt x="503" y="64"/>
                </a:lnTo>
                <a:lnTo>
                  <a:pt x="503" y="64"/>
                </a:lnTo>
                <a:lnTo>
                  <a:pt x="503" y="64"/>
                </a:lnTo>
                <a:lnTo>
                  <a:pt x="503" y="64"/>
                </a:lnTo>
                <a:lnTo>
                  <a:pt x="502" y="64"/>
                </a:lnTo>
                <a:lnTo>
                  <a:pt x="502" y="64"/>
                </a:lnTo>
                <a:lnTo>
                  <a:pt x="502" y="64"/>
                </a:lnTo>
                <a:lnTo>
                  <a:pt x="502" y="65"/>
                </a:lnTo>
                <a:lnTo>
                  <a:pt x="502" y="65"/>
                </a:lnTo>
                <a:lnTo>
                  <a:pt x="502" y="65"/>
                </a:lnTo>
                <a:lnTo>
                  <a:pt x="502" y="65"/>
                </a:lnTo>
                <a:lnTo>
                  <a:pt x="501" y="65"/>
                </a:lnTo>
                <a:lnTo>
                  <a:pt x="501" y="65"/>
                </a:lnTo>
                <a:lnTo>
                  <a:pt x="501" y="65"/>
                </a:lnTo>
                <a:lnTo>
                  <a:pt x="501" y="66"/>
                </a:lnTo>
                <a:lnTo>
                  <a:pt x="501" y="66"/>
                </a:lnTo>
                <a:lnTo>
                  <a:pt x="501" y="66"/>
                </a:lnTo>
                <a:lnTo>
                  <a:pt x="500" y="66"/>
                </a:lnTo>
                <a:lnTo>
                  <a:pt x="500" y="66"/>
                </a:lnTo>
                <a:lnTo>
                  <a:pt x="500" y="66"/>
                </a:lnTo>
                <a:lnTo>
                  <a:pt x="500" y="66"/>
                </a:lnTo>
                <a:lnTo>
                  <a:pt x="500" y="66"/>
                </a:lnTo>
                <a:lnTo>
                  <a:pt x="500" y="68"/>
                </a:lnTo>
                <a:lnTo>
                  <a:pt x="500" y="68"/>
                </a:lnTo>
                <a:lnTo>
                  <a:pt x="499" y="68"/>
                </a:lnTo>
                <a:lnTo>
                  <a:pt x="499" y="68"/>
                </a:lnTo>
                <a:lnTo>
                  <a:pt x="499" y="68"/>
                </a:lnTo>
                <a:lnTo>
                  <a:pt x="499" y="68"/>
                </a:lnTo>
                <a:lnTo>
                  <a:pt x="499" y="68"/>
                </a:lnTo>
                <a:lnTo>
                  <a:pt x="499" y="68"/>
                </a:lnTo>
                <a:lnTo>
                  <a:pt x="498" y="69"/>
                </a:lnTo>
                <a:lnTo>
                  <a:pt x="498" y="69"/>
                </a:lnTo>
                <a:lnTo>
                  <a:pt x="498" y="69"/>
                </a:lnTo>
                <a:lnTo>
                  <a:pt x="498" y="69"/>
                </a:lnTo>
                <a:lnTo>
                  <a:pt x="498" y="69"/>
                </a:lnTo>
                <a:lnTo>
                  <a:pt x="498" y="69"/>
                </a:lnTo>
                <a:lnTo>
                  <a:pt x="497" y="69"/>
                </a:lnTo>
                <a:lnTo>
                  <a:pt x="497" y="69"/>
                </a:lnTo>
                <a:lnTo>
                  <a:pt x="497" y="69"/>
                </a:lnTo>
                <a:lnTo>
                  <a:pt x="497" y="70"/>
                </a:lnTo>
                <a:lnTo>
                  <a:pt x="497" y="70"/>
                </a:lnTo>
                <a:lnTo>
                  <a:pt x="497" y="70"/>
                </a:lnTo>
                <a:lnTo>
                  <a:pt x="496" y="70"/>
                </a:lnTo>
                <a:lnTo>
                  <a:pt x="496" y="70"/>
                </a:lnTo>
                <a:lnTo>
                  <a:pt x="496" y="70"/>
                </a:lnTo>
                <a:lnTo>
                  <a:pt x="496" y="70"/>
                </a:lnTo>
                <a:lnTo>
                  <a:pt x="496" y="70"/>
                </a:lnTo>
                <a:lnTo>
                  <a:pt x="496" y="70"/>
                </a:lnTo>
                <a:lnTo>
                  <a:pt x="494" y="71"/>
                </a:lnTo>
                <a:lnTo>
                  <a:pt x="494" y="71"/>
                </a:lnTo>
                <a:lnTo>
                  <a:pt x="494" y="71"/>
                </a:lnTo>
                <a:lnTo>
                  <a:pt x="494" y="71"/>
                </a:lnTo>
                <a:lnTo>
                  <a:pt x="494" y="71"/>
                </a:lnTo>
                <a:lnTo>
                  <a:pt x="494" y="71"/>
                </a:lnTo>
                <a:lnTo>
                  <a:pt x="493" y="71"/>
                </a:lnTo>
                <a:lnTo>
                  <a:pt x="493" y="71"/>
                </a:lnTo>
                <a:lnTo>
                  <a:pt x="493" y="71"/>
                </a:lnTo>
                <a:lnTo>
                  <a:pt x="493" y="71"/>
                </a:lnTo>
                <a:lnTo>
                  <a:pt x="493" y="71"/>
                </a:lnTo>
                <a:lnTo>
                  <a:pt x="492" y="72"/>
                </a:lnTo>
                <a:lnTo>
                  <a:pt x="492" y="72"/>
                </a:lnTo>
                <a:lnTo>
                  <a:pt x="492" y="72"/>
                </a:lnTo>
                <a:lnTo>
                  <a:pt x="492" y="72"/>
                </a:lnTo>
                <a:lnTo>
                  <a:pt x="492" y="72"/>
                </a:lnTo>
                <a:lnTo>
                  <a:pt x="492" y="72"/>
                </a:lnTo>
                <a:lnTo>
                  <a:pt x="491" y="72"/>
                </a:lnTo>
                <a:lnTo>
                  <a:pt x="491" y="72"/>
                </a:lnTo>
                <a:lnTo>
                  <a:pt x="491" y="72"/>
                </a:lnTo>
                <a:lnTo>
                  <a:pt x="491" y="72"/>
                </a:lnTo>
                <a:lnTo>
                  <a:pt x="491" y="72"/>
                </a:lnTo>
                <a:lnTo>
                  <a:pt x="490" y="72"/>
                </a:lnTo>
                <a:lnTo>
                  <a:pt x="490" y="73"/>
                </a:lnTo>
                <a:lnTo>
                  <a:pt x="490" y="73"/>
                </a:lnTo>
                <a:lnTo>
                  <a:pt x="490" y="73"/>
                </a:lnTo>
                <a:lnTo>
                  <a:pt x="490" y="73"/>
                </a:lnTo>
                <a:lnTo>
                  <a:pt x="489" y="73"/>
                </a:lnTo>
                <a:lnTo>
                  <a:pt x="489" y="73"/>
                </a:lnTo>
                <a:lnTo>
                  <a:pt x="489" y="73"/>
                </a:lnTo>
                <a:lnTo>
                  <a:pt x="489" y="73"/>
                </a:lnTo>
                <a:lnTo>
                  <a:pt x="489" y="73"/>
                </a:lnTo>
                <a:lnTo>
                  <a:pt x="488" y="73"/>
                </a:lnTo>
                <a:lnTo>
                  <a:pt x="488" y="73"/>
                </a:lnTo>
                <a:lnTo>
                  <a:pt x="488" y="73"/>
                </a:lnTo>
                <a:lnTo>
                  <a:pt x="488" y="73"/>
                </a:lnTo>
                <a:lnTo>
                  <a:pt x="488" y="73"/>
                </a:lnTo>
                <a:lnTo>
                  <a:pt x="488" y="74"/>
                </a:lnTo>
                <a:lnTo>
                  <a:pt x="487" y="74"/>
                </a:lnTo>
                <a:lnTo>
                  <a:pt x="487" y="74"/>
                </a:lnTo>
                <a:lnTo>
                  <a:pt x="487" y="74"/>
                </a:lnTo>
                <a:lnTo>
                  <a:pt x="487" y="74"/>
                </a:lnTo>
                <a:lnTo>
                  <a:pt x="487" y="74"/>
                </a:lnTo>
                <a:lnTo>
                  <a:pt x="485" y="74"/>
                </a:lnTo>
                <a:lnTo>
                  <a:pt x="485" y="74"/>
                </a:lnTo>
                <a:lnTo>
                  <a:pt x="485" y="74"/>
                </a:lnTo>
                <a:lnTo>
                  <a:pt x="485" y="74"/>
                </a:lnTo>
                <a:lnTo>
                  <a:pt x="485" y="74"/>
                </a:lnTo>
                <a:lnTo>
                  <a:pt x="484" y="74"/>
                </a:lnTo>
                <a:lnTo>
                  <a:pt x="484" y="74"/>
                </a:lnTo>
                <a:lnTo>
                  <a:pt x="484" y="74"/>
                </a:lnTo>
                <a:lnTo>
                  <a:pt x="484" y="74"/>
                </a:lnTo>
                <a:lnTo>
                  <a:pt x="484" y="74"/>
                </a:lnTo>
                <a:lnTo>
                  <a:pt x="483" y="74"/>
                </a:lnTo>
                <a:lnTo>
                  <a:pt x="483" y="74"/>
                </a:lnTo>
                <a:lnTo>
                  <a:pt x="483" y="74"/>
                </a:lnTo>
                <a:lnTo>
                  <a:pt x="483" y="74"/>
                </a:lnTo>
                <a:lnTo>
                  <a:pt x="482" y="74"/>
                </a:lnTo>
                <a:lnTo>
                  <a:pt x="482" y="74"/>
                </a:lnTo>
                <a:lnTo>
                  <a:pt x="482" y="76"/>
                </a:lnTo>
                <a:lnTo>
                  <a:pt x="482" y="76"/>
                </a:lnTo>
                <a:lnTo>
                  <a:pt x="482" y="76"/>
                </a:lnTo>
                <a:lnTo>
                  <a:pt x="481" y="76"/>
                </a:lnTo>
                <a:lnTo>
                  <a:pt x="481" y="76"/>
                </a:lnTo>
                <a:lnTo>
                  <a:pt x="481" y="76"/>
                </a:lnTo>
                <a:lnTo>
                  <a:pt x="481" y="76"/>
                </a:lnTo>
                <a:lnTo>
                  <a:pt x="481" y="76"/>
                </a:lnTo>
                <a:lnTo>
                  <a:pt x="480" y="76"/>
                </a:lnTo>
                <a:lnTo>
                  <a:pt x="480" y="76"/>
                </a:lnTo>
                <a:lnTo>
                  <a:pt x="480" y="76"/>
                </a:lnTo>
                <a:lnTo>
                  <a:pt x="480" y="76"/>
                </a:lnTo>
                <a:lnTo>
                  <a:pt x="480" y="76"/>
                </a:lnTo>
                <a:lnTo>
                  <a:pt x="479" y="76"/>
                </a:lnTo>
                <a:lnTo>
                  <a:pt x="479" y="76"/>
                </a:lnTo>
                <a:lnTo>
                  <a:pt x="479" y="76"/>
                </a:lnTo>
                <a:lnTo>
                  <a:pt x="479" y="76"/>
                </a:lnTo>
                <a:lnTo>
                  <a:pt x="479" y="76"/>
                </a:lnTo>
                <a:lnTo>
                  <a:pt x="478" y="76"/>
                </a:lnTo>
                <a:lnTo>
                  <a:pt x="478" y="76"/>
                </a:lnTo>
                <a:lnTo>
                  <a:pt x="478" y="76"/>
                </a:lnTo>
                <a:lnTo>
                  <a:pt x="478" y="76"/>
                </a:lnTo>
                <a:lnTo>
                  <a:pt x="476" y="76"/>
                </a:lnTo>
                <a:lnTo>
                  <a:pt x="476" y="76"/>
                </a:lnTo>
                <a:lnTo>
                  <a:pt x="476" y="76"/>
                </a:lnTo>
                <a:lnTo>
                  <a:pt x="476" y="76"/>
                </a:lnTo>
                <a:lnTo>
                  <a:pt x="476" y="76"/>
                </a:lnTo>
                <a:lnTo>
                  <a:pt x="475" y="76"/>
                </a:lnTo>
                <a:lnTo>
                  <a:pt x="475" y="76"/>
                </a:lnTo>
                <a:lnTo>
                  <a:pt x="475" y="76"/>
                </a:lnTo>
                <a:lnTo>
                  <a:pt x="475" y="76"/>
                </a:lnTo>
                <a:lnTo>
                  <a:pt x="475" y="76"/>
                </a:lnTo>
                <a:lnTo>
                  <a:pt x="474" y="76"/>
                </a:lnTo>
                <a:lnTo>
                  <a:pt x="474" y="76"/>
                </a:lnTo>
                <a:lnTo>
                  <a:pt x="474" y="76"/>
                </a:lnTo>
                <a:lnTo>
                  <a:pt x="474" y="76"/>
                </a:lnTo>
                <a:lnTo>
                  <a:pt x="473" y="76"/>
                </a:lnTo>
                <a:lnTo>
                  <a:pt x="473" y="76"/>
                </a:lnTo>
                <a:lnTo>
                  <a:pt x="473" y="76"/>
                </a:lnTo>
                <a:lnTo>
                  <a:pt x="473" y="76"/>
                </a:lnTo>
                <a:lnTo>
                  <a:pt x="473" y="76"/>
                </a:lnTo>
                <a:lnTo>
                  <a:pt x="472" y="76"/>
                </a:lnTo>
                <a:lnTo>
                  <a:pt x="472" y="76"/>
                </a:lnTo>
                <a:lnTo>
                  <a:pt x="472" y="76"/>
                </a:lnTo>
                <a:lnTo>
                  <a:pt x="472" y="76"/>
                </a:lnTo>
                <a:lnTo>
                  <a:pt x="472" y="76"/>
                </a:lnTo>
                <a:lnTo>
                  <a:pt x="471" y="76"/>
                </a:lnTo>
                <a:lnTo>
                  <a:pt x="471" y="76"/>
                </a:lnTo>
                <a:lnTo>
                  <a:pt x="471" y="76"/>
                </a:lnTo>
                <a:lnTo>
                  <a:pt x="471" y="76"/>
                </a:lnTo>
                <a:lnTo>
                  <a:pt x="471" y="76"/>
                </a:lnTo>
                <a:lnTo>
                  <a:pt x="470" y="74"/>
                </a:lnTo>
                <a:lnTo>
                  <a:pt x="470" y="74"/>
                </a:lnTo>
                <a:lnTo>
                  <a:pt x="470" y="74"/>
                </a:lnTo>
                <a:lnTo>
                  <a:pt x="470" y="74"/>
                </a:lnTo>
                <a:lnTo>
                  <a:pt x="469" y="74"/>
                </a:lnTo>
                <a:lnTo>
                  <a:pt x="469" y="74"/>
                </a:lnTo>
                <a:lnTo>
                  <a:pt x="469" y="74"/>
                </a:lnTo>
                <a:lnTo>
                  <a:pt x="469" y="74"/>
                </a:lnTo>
                <a:lnTo>
                  <a:pt x="469" y="74"/>
                </a:lnTo>
                <a:lnTo>
                  <a:pt x="467" y="74"/>
                </a:lnTo>
                <a:lnTo>
                  <a:pt x="467" y="74"/>
                </a:lnTo>
                <a:lnTo>
                  <a:pt x="467" y="74"/>
                </a:lnTo>
                <a:lnTo>
                  <a:pt x="467" y="74"/>
                </a:lnTo>
                <a:lnTo>
                  <a:pt x="467" y="74"/>
                </a:lnTo>
                <a:lnTo>
                  <a:pt x="466" y="74"/>
                </a:lnTo>
                <a:lnTo>
                  <a:pt x="466" y="74"/>
                </a:lnTo>
                <a:lnTo>
                  <a:pt x="466" y="74"/>
                </a:lnTo>
                <a:lnTo>
                  <a:pt x="466" y="74"/>
                </a:lnTo>
                <a:lnTo>
                  <a:pt x="466" y="74"/>
                </a:lnTo>
                <a:lnTo>
                  <a:pt x="465" y="74"/>
                </a:lnTo>
                <a:lnTo>
                  <a:pt x="465" y="74"/>
                </a:lnTo>
                <a:lnTo>
                  <a:pt x="465" y="74"/>
                </a:lnTo>
                <a:lnTo>
                  <a:pt x="465" y="73"/>
                </a:lnTo>
                <a:lnTo>
                  <a:pt x="465" y="73"/>
                </a:lnTo>
                <a:lnTo>
                  <a:pt x="464" y="73"/>
                </a:lnTo>
                <a:lnTo>
                  <a:pt x="464" y="73"/>
                </a:lnTo>
                <a:lnTo>
                  <a:pt x="464" y="73"/>
                </a:lnTo>
                <a:lnTo>
                  <a:pt x="464" y="73"/>
                </a:lnTo>
                <a:lnTo>
                  <a:pt x="464" y="73"/>
                </a:lnTo>
                <a:lnTo>
                  <a:pt x="464" y="73"/>
                </a:lnTo>
                <a:lnTo>
                  <a:pt x="463" y="73"/>
                </a:lnTo>
                <a:lnTo>
                  <a:pt x="463" y="73"/>
                </a:lnTo>
                <a:lnTo>
                  <a:pt x="463" y="73"/>
                </a:lnTo>
                <a:lnTo>
                  <a:pt x="463" y="73"/>
                </a:lnTo>
                <a:lnTo>
                  <a:pt x="463" y="73"/>
                </a:lnTo>
                <a:lnTo>
                  <a:pt x="462" y="73"/>
                </a:lnTo>
                <a:lnTo>
                  <a:pt x="462" y="72"/>
                </a:lnTo>
                <a:lnTo>
                  <a:pt x="462" y="72"/>
                </a:lnTo>
                <a:lnTo>
                  <a:pt x="462" y="72"/>
                </a:lnTo>
                <a:lnTo>
                  <a:pt x="462" y="72"/>
                </a:lnTo>
                <a:lnTo>
                  <a:pt x="461" y="72"/>
                </a:lnTo>
                <a:lnTo>
                  <a:pt x="461" y="72"/>
                </a:lnTo>
                <a:lnTo>
                  <a:pt x="461" y="72"/>
                </a:lnTo>
                <a:lnTo>
                  <a:pt x="461" y="72"/>
                </a:lnTo>
                <a:lnTo>
                  <a:pt x="461" y="72"/>
                </a:lnTo>
                <a:lnTo>
                  <a:pt x="461" y="72"/>
                </a:lnTo>
                <a:lnTo>
                  <a:pt x="459" y="72"/>
                </a:lnTo>
                <a:lnTo>
                  <a:pt x="459" y="72"/>
                </a:lnTo>
                <a:lnTo>
                  <a:pt x="459" y="71"/>
                </a:lnTo>
                <a:lnTo>
                  <a:pt x="459" y="71"/>
                </a:lnTo>
                <a:lnTo>
                  <a:pt x="459" y="71"/>
                </a:lnTo>
                <a:lnTo>
                  <a:pt x="458" y="71"/>
                </a:lnTo>
                <a:lnTo>
                  <a:pt x="458" y="71"/>
                </a:lnTo>
                <a:lnTo>
                  <a:pt x="458" y="71"/>
                </a:lnTo>
                <a:lnTo>
                  <a:pt x="458" y="71"/>
                </a:lnTo>
                <a:lnTo>
                  <a:pt x="458" y="71"/>
                </a:lnTo>
                <a:lnTo>
                  <a:pt x="458" y="71"/>
                </a:lnTo>
                <a:lnTo>
                  <a:pt x="457" y="71"/>
                </a:lnTo>
                <a:lnTo>
                  <a:pt x="457" y="71"/>
                </a:lnTo>
                <a:lnTo>
                  <a:pt x="457" y="70"/>
                </a:lnTo>
                <a:lnTo>
                  <a:pt x="457" y="70"/>
                </a:lnTo>
                <a:lnTo>
                  <a:pt x="457" y="70"/>
                </a:lnTo>
                <a:lnTo>
                  <a:pt x="456" y="70"/>
                </a:lnTo>
                <a:lnTo>
                  <a:pt x="456" y="70"/>
                </a:lnTo>
                <a:lnTo>
                  <a:pt x="456" y="70"/>
                </a:lnTo>
                <a:lnTo>
                  <a:pt x="456" y="70"/>
                </a:lnTo>
                <a:lnTo>
                  <a:pt x="456" y="70"/>
                </a:lnTo>
                <a:lnTo>
                  <a:pt x="456" y="70"/>
                </a:lnTo>
                <a:lnTo>
                  <a:pt x="455" y="69"/>
                </a:lnTo>
                <a:lnTo>
                  <a:pt x="455" y="69"/>
                </a:lnTo>
                <a:lnTo>
                  <a:pt x="455" y="69"/>
                </a:lnTo>
                <a:lnTo>
                  <a:pt x="455" y="69"/>
                </a:lnTo>
                <a:lnTo>
                  <a:pt x="455" y="69"/>
                </a:lnTo>
                <a:lnTo>
                  <a:pt x="455" y="69"/>
                </a:lnTo>
                <a:lnTo>
                  <a:pt x="454" y="69"/>
                </a:lnTo>
                <a:lnTo>
                  <a:pt x="454" y="69"/>
                </a:lnTo>
                <a:lnTo>
                  <a:pt x="454" y="69"/>
                </a:lnTo>
                <a:lnTo>
                  <a:pt x="454" y="68"/>
                </a:lnTo>
                <a:lnTo>
                  <a:pt x="454" y="68"/>
                </a:lnTo>
                <a:lnTo>
                  <a:pt x="454" y="68"/>
                </a:lnTo>
                <a:lnTo>
                  <a:pt x="454" y="68"/>
                </a:lnTo>
                <a:lnTo>
                  <a:pt x="453" y="68"/>
                </a:lnTo>
                <a:lnTo>
                  <a:pt x="453" y="68"/>
                </a:lnTo>
                <a:lnTo>
                  <a:pt x="453" y="68"/>
                </a:lnTo>
                <a:lnTo>
                  <a:pt x="453" y="68"/>
                </a:lnTo>
                <a:lnTo>
                  <a:pt x="453" y="66"/>
                </a:lnTo>
                <a:lnTo>
                  <a:pt x="453" y="66"/>
                </a:lnTo>
                <a:lnTo>
                  <a:pt x="452" y="66"/>
                </a:lnTo>
                <a:lnTo>
                  <a:pt x="452" y="66"/>
                </a:lnTo>
                <a:lnTo>
                  <a:pt x="452" y="66"/>
                </a:lnTo>
                <a:lnTo>
                  <a:pt x="452" y="66"/>
                </a:lnTo>
                <a:lnTo>
                  <a:pt x="452" y="66"/>
                </a:lnTo>
                <a:lnTo>
                  <a:pt x="452" y="66"/>
                </a:lnTo>
                <a:lnTo>
                  <a:pt x="452" y="65"/>
                </a:lnTo>
                <a:lnTo>
                  <a:pt x="450" y="65"/>
                </a:lnTo>
                <a:lnTo>
                  <a:pt x="450" y="65"/>
                </a:lnTo>
                <a:lnTo>
                  <a:pt x="450" y="65"/>
                </a:lnTo>
                <a:lnTo>
                  <a:pt x="450" y="65"/>
                </a:lnTo>
                <a:lnTo>
                  <a:pt x="450" y="65"/>
                </a:lnTo>
                <a:lnTo>
                  <a:pt x="450" y="65"/>
                </a:lnTo>
                <a:lnTo>
                  <a:pt x="449" y="64"/>
                </a:lnTo>
                <a:lnTo>
                  <a:pt x="449" y="64"/>
                </a:lnTo>
                <a:lnTo>
                  <a:pt x="449" y="64"/>
                </a:lnTo>
                <a:lnTo>
                  <a:pt x="449" y="64"/>
                </a:lnTo>
                <a:lnTo>
                  <a:pt x="449" y="64"/>
                </a:lnTo>
                <a:lnTo>
                  <a:pt x="449" y="64"/>
                </a:lnTo>
                <a:lnTo>
                  <a:pt x="449" y="64"/>
                </a:lnTo>
                <a:lnTo>
                  <a:pt x="448" y="63"/>
                </a:lnTo>
                <a:lnTo>
                  <a:pt x="448" y="63"/>
                </a:lnTo>
                <a:lnTo>
                  <a:pt x="448" y="63"/>
                </a:lnTo>
                <a:lnTo>
                  <a:pt x="448" y="63"/>
                </a:lnTo>
                <a:lnTo>
                  <a:pt x="448" y="63"/>
                </a:lnTo>
                <a:lnTo>
                  <a:pt x="448" y="63"/>
                </a:lnTo>
                <a:lnTo>
                  <a:pt x="448" y="63"/>
                </a:lnTo>
                <a:lnTo>
                  <a:pt x="448" y="62"/>
                </a:lnTo>
                <a:lnTo>
                  <a:pt x="447" y="62"/>
                </a:lnTo>
                <a:lnTo>
                  <a:pt x="447" y="62"/>
                </a:lnTo>
                <a:lnTo>
                  <a:pt x="447" y="62"/>
                </a:lnTo>
                <a:lnTo>
                  <a:pt x="447" y="62"/>
                </a:lnTo>
                <a:lnTo>
                  <a:pt x="447" y="62"/>
                </a:lnTo>
                <a:lnTo>
                  <a:pt x="447" y="61"/>
                </a:lnTo>
                <a:lnTo>
                  <a:pt x="447" y="61"/>
                </a:lnTo>
                <a:lnTo>
                  <a:pt x="447" y="61"/>
                </a:lnTo>
                <a:lnTo>
                  <a:pt x="446" y="61"/>
                </a:lnTo>
                <a:lnTo>
                  <a:pt x="446" y="61"/>
                </a:lnTo>
                <a:lnTo>
                  <a:pt x="446" y="61"/>
                </a:lnTo>
                <a:lnTo>
                  <a:pt x="446" y="61"/>
                </a:lnTo>
                <a:lnTo>
                  <a:pt x="446" y="60"/>
                </a:lnTo>
                <a:lnTo>
                  <a:pt x="446" y="60"/>
                </a:lnTo>
                <a:lnTo>
                  <a:pt x="446" y="60"/>
                </a:lnTo>
                <a:lnTo>
                  <a:pt x="446" y="60"/>
                </a:lnTo>
                <a:lnTo>
                  <a:pt x="445" y="60"/>
                </a:lnTo>
                <a:lnTo>
                  <a:pt x="445" y="60"/>
                </a:lnTo>
                <a:lnTo>
                  <a:pt x="445" y="59"/>
                </a:lnTo>
                <a:lnTo>
                  <a:pt x="445" y="59"/>
                </a:lnTo>
                <a:lnTo>
                  <a:pt x="445" y="59"/>
                </a:lnTo>
                <a:lnTo>
                  <a:pt x="445" y="59"/>
                </a:lnTo>
                <a:lnTo>
                  <a:pt x="445" y="59"/>
                </a:lnTo>
                <a:lnTo>
                  <a:pt x="445" y="59"/>
                </a:lnTo>
                <a:lnTo>
                  <a:pt x="445" y="57"/>
                </a:lnTo>
                <a:lnTo>
                  <a:pt x="444" y="57"/>
                </a:lnTo>
                <a:lnTo>
                  <a:pt x="444" y="57"/>
                </a:lnTo>
                <a:lnTo>
                  <a:pt x="444" y="57"/>
                </a:lnTo>
                <a:lnTo>
                  <a:pt x="444" y="57"/>
                </a:lnTo>
                <a:lnTo>
                  <a:pt x="444" y="57"/>
                </a:lnTo>
                <a:lnTo>
                  <a:pt x="444" y="56"/>
                </a:lnTo>
                <a:lnTo>
                  <a:pt x="444" y="56"/>
                </a:lnTo>
                <a:lnTo>
                  <a:pt x="444" y="56"/>
                </a:lnTo>
                <a:lnTo>
                  <a:pt x="444" y="56"/>
                </a:lnTo>
                <a:lnTo>
                  <a:pt x="444" y="56"/>
                </a:lnTo>
                <a:lnTo>
                  <a:pt x="443" y="55"/>
                </a:lnTo>
                <a:lnTo>
                  <a:pt x="443" y="55"/>
                </a:lnTo>
                <a:lnTo>
                  <a:pt x="443" y="55"/>
                </a:lnTo>
                <a:lnTo>
                  <a:pt x="443" y="55"/>
                </a:lnTo>
                <a:lnTo>
                  <a:pt x="443" y="55"/>
                </a:lnTo>
                <a:lnTo>
                  <a:pt x="443" y="55"/>
                </a:lnTo>
                <a:lnTo>
                  <a:pt x="443" y="54"/>
                </a:lnTo>
                <a:lnTo>
                  <a:pt x="443" y="54"/>
                </a:lnTo>
                <a:lnTo>
                  <a:pt x="443" y="54"/>
                </a:lnTo>
                <a:lnTo>
                  <a:pt x="443" y="54"/>
                </a:lnTo>
                <a:lnTo>
                  <a:pt x="443" y="54"/>
                </a:lnTo>
                <a:lnTo>
                  <a:pt x="441" y="53"/>
                </a:lnTo>
                <a:lnTo>
                  <a:pt x="441" y="53"/>
                </a:lnTo>
                <a:lnTo>
                  <a:pt x="441" y="53"/>
                </a:lnTo>
                <a:lnTo>
                  <a:pt x="441" y="53"/>
                </a:lnTo>
                <a:lnTo>
                  <a:pt x="441" y="53"/>
                </a:lnTo>
                <a:lnTo>
                  <a:pt x="441" y="53"/>
                </a:lnTo>
                <a:lnTo>
                  <a:pt x="441" y="52"/>
                </a:lnTo>
                <a:lnTo>
                  <a:pt x="441" y="52"/>
                </a:lnTo>
                <a:lnTo>
                  <a:pt x="441" y="52"/>
                </a:lnTo>
                <a:lnTo>
                  <a:pt x="441" y="52"/>
                </a:lnTo>
                <a:lnTo>
                  <a:pt x="441" y="52"/>
                </a:lnTo>
                <a:lnTo>
                  <a:pt x="441" y="51"/>
                </a:lnTo>
                <a:lnTo>
                  <a:pt x="441" y="51"/>
                </a:lnTo>
                <a:lnTo>
                  <a:pt x="440" y="51"/>
                </a:lnTo>
                <a:lnTo>
                  <a:pt x="440" y="51"/>
                </a:lnTo>
                <a:lnTo>
                  <a:pt x="440" y="51"/>
                </a:lnTo>
                <a:lnTo>
                  <a:pt x="440" y="50"/>
                </a:lnTo>
                <a:lnTo>
                  <a:pt x="440" y="50"/>
                </a:lnTo>
                <a:lnTo>
                  <a:pt x="440" y="50"/>
                </a:lnTo>
                <a:lnTo>
                  <a:pt x="440" y="50"/>
                </a:lnTo>
                <a:lnTo>
                  <a:pt x="440" y="50"/>
                </a:lnTo>
                <a:lnTo>
                  <a:pt x="440" y="48"/>
                </a:lnTo>
                <a:lnTo>
                  <a:pt x="440" y="48"/>
                </a:lnTo>
                <a:lnTo>
                  <a:pt x="440" y="48"/>
                </a:lnTo>
                <a:lnTo>
                  <a:pt x="440" y="48"/>
                </a:lnTo>
                <a:lnTo>
                  <a:pt x="440" y="48"/>
                </a:lnTo>
                <a:lnTo>
                  <a:pt x="440" y="47"/>
                </a:lnTo>
                <a:lnTo>
                  <a:pt x="440" y="47"/>
                </a:lnTo>
                <a:lnTo>
                  <a:pt x="440" y="47"/>
                </a:lnTo>
                <a:lnTo>
                  <a:pt x="439" y="47"/>
                </a:lnTo>
                <a:lnTo>
                  <a:pt x="439" y="47"/>
                </a:lnTo>
                <a:lnTo>
                  <a:pt x="439" y="46"/>
                </a:lnTo>
                <a:lnTo>
                  <a:pt x="439" y="46"/>
                </a:lnTo>
                <a:lnTo>
                  <a:pt x="439" y="46"/>
                </a:lnTo>
                <a:lnTo>
                  <a:pt x="439" y="46"/>
                </a:lnTo>
                <a:lnTo>
                  <a:pt x="439" y="46"/>
                </a:lnTo>
                <a:lnTo>
                  <a:pt x="439" y="45"/>
                </a:lnTo>
                <a:lnTo>
                  <a:pt x="439" y="45"/>
                </a:lnTo>
                <a:lnTo>
                  <a:pt x="439" y="45"/>
                </a:lnTo>
                <a:lnTo>
                  <a:pt x="439" y="45"/>
                </a:lnTo>
                <a:lnTo>
                  <a:pt x="439" y="45"/>
                </a:lnTo>
                <a:lnTo>
                  <a:pt x="439" y="44"/>
                </a:lnTo>
                <a:lnTo>
                  <a:pt x="439" y="44"/>
                </a:lnTo>
                <a:lnTo>
                  <a:pt x="439" y="44"/>
                </a:lnTo>
                <a:lnTo>
                  <a:pt x="439" y="44"/>
                </a:lnTo>
                <a:lnTo>
                  <a:pt x="439" y="44"/>
                </a:lnTo>
                <a:lnTo>
                  <a:pt x="439" y="43"/>
                </a:lnTo>
                <a:lnTo>
                  <a:pt x="439" y="43"/>
                </a:lnTo>
                <a:lnTo>
                  <a:pt x="439" y="43"/>
                </a:lnTo>
                <a:lnTo>
                  <a:pt x="439" y="43"/>
                </a:lnTo>
                <a:lnTo>
                  <a:pt x="439" y="43"/>
                </a:lnTo>
                <a:lnTo>
                  <a:pt x="439" y="42"/>
                </a:lnTo>
                <a:lnTo>
                  <a:pt x="439" y="42"/>
                </a:lnTo>
                <a:lnTo>
                  <a:pt x="439" y="42"/>
                </a:lnTo>
                <a:lnTo>
                  <a:pt x="425" y="42"/>
                </a:lnTo>
                <a:lnTo>
                  <a:pt x="425" y="34"/>
                </a:lnTo>
                <a:lnTo>
                  <a:pt x="439" y="34"/>
                </a:lnTo>
                <a:lnTo>
                  <a:pt x="439" y="34"/>
                </a:lnTo>
                <a:close/>
                <a:moveTo>
                  <a:pt x="393" y="34"/>
                </a:moveTo>
                <a:lnTo>
                  <a:pt x="393" y="42"/>
                </a:lnTo>
                <a:lnTo>
                  <a:pt x="377" y="42"/>
                </a:lnTo>
                <a:lnTo>
                  <a:pt x="377" y="34"/>
                </a:lnTo>
                <a:lnTo>
                  <a:pt x="393" y="34"/>
                </a:lnTo>
                <a:lnTo>
                  <a:pt x="393" y="34"/>
                </a:lnTo>
                <a:close/>
                <a:moveTo>
                  <a:pt x="346" y="34"/>
                </a:moveTo>
                <a:lnTo>
                  <a:pt x="346" y="42"/>
                </a:lnTo>
                <a:lnTo>
                  <a:pt x="330" y="42"/>
                </a:lnTo>
                <a:lnTo>
                  <a:pt x="330" y="34"/>
                </a:lnTo>
                <a:lnTo>
                  <a:pt x="346" y="34"/>
                </a:lnTo>
                <a:lnTo>
                  <a:pt x="346" y="34"/>
                </a:lnTo>
                <a:close/>
                <a:moveTo>
                  <a:pt x="299" y="34"/>
                </a:moveTo>
                <a:lnTo>
                  <a:pt x="299" y="42"/>
                </a:lnTo>
                <a:lnTo>
                  <a:pt x="283" y="42"/>
                </a:lnTo>
                <a:lnTo>
                  <a:pt x="283" y="34"/>
                </a:lnTo>
                <a:lnTo>
                  <a:pt x="299" y="34"/>
                </a:lnTo>
                <a:lnTo>
                  <a:pt x="299" y="34"/>
                </a:lnTo>
                <a:close/>
                <a:moveTo>
                  <a:pt x="251" y="34"/>
                </a:moveTo>
                <a:lnTo>
                  <a:pt x="251" y="42"/>
                </a:lnTo>
                <a:lnTo>
                  <a:pt x="235" y="42"/>
                </a:lnTo>
                <a:lnTo>
                  <a:pt x="235" y="34"/>
                </a:lnTo>
                <a:lnTo>
                  <a:pt x="251" y="34"/>
                </a:lnTo>
                <a:lnTo>
                  <a:pt x="251" y="34"/>
                </a:lnTo>
                <a:close/>
                <a:moveTo>
                  <a:pt x="204" y="34"/>
                </a:moveTo>
                <a:lnTo>
                  <a:pt x="204" y="42"/>
                </a:lnTo>
                <a:lnTo>
                  <a:pt x="189" y="42"/>
                </a:lnTo>
                <a:lnTo>
                  <a:pt x="189" y="34"/>
                </a:lnTo>
                <a:lnTo>
                  <a:pt x="204" y="34"/>
                </a:lnTo>
                <a:lnTo>
                  <a:pt x="204" y="34"/>
                </a:lnTo>
                <a:close/>
                <a:moveTo>
                  <a:pt x="158" y="34"/>
                </a:moveTo>
                <a:lnTo>
                  <a:pt x="158" y="42"/>
                </a:lnTo>
                <a:lnTo>
                  <a:pt x="142" y="42"/>
                </a:lnTo>
                <a:lnTo>
                  <a:pt x="142" y="34"/>
                </a:lnTo>
                <a:lnTo>
                  <a:pt x="158" y="34"/>
                </a:lnTo>
                <a:lnTo>
                  <a:pt x="158" y="34"/>
                </a:lnTo>
                <a:close/>
                <a:moveTo>
                  <a:pt x="110" y="34"/>
                </a:moveTo>
                <a:lnTo>
                  <a:pt x="110" y="42"/>
                </a:lnTo>
                <a:lnTo>
                  <a:pt x="95" y="42"/>
                </a:lnTo>
                <a:lnTo>
                  <a:pt x="95" y="34"/>
                </a:lnTo>
                <a:lnTo>
                  <a:pt x="110" y="34"/>
                </a:lnTo>
                <a:lnTo>
                  <a:pt x="110" y="34"/>
                </a:lnTo>
                <a:close/>
                <a:moveTo>
                  <a:pt x="63" y="34"/>
                </a:moveTo>
                <a:lnTo>
                  <a:pt x="63" y="42"/>
                </a:lnTo>
                <a:lnTo>
                  <a:pt x="47" y="42"/>
                </a:lnTo>
                <a:lnTo>
                  <a:pt x="47" y="34"/>
                </a:lnTo>
                <a:lnTo>
                  <a:pt x="63" y="34"/>
                </a:lnTo>
                <a:close/>
              </a:path>
            </a:pathLst>
          </a:custGeom>
          <a:solidFill>
            <a:srgbClr val="8497B0"/>
          </a:solidFill>
          <a:ln>
            <a:solidFill>
              <a:srgbClr val="FFC000"/>
            </a:solidFill>
          </a:ln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1013"/>
          </a:p>
        </p:txBody>
      </p:sp>
      <p:sp>
        <p:nvSpPr>
          <p:cNvPr id="140" name="Freeform 80">
            <a:extLst>
              <a:ext uri="{FF2B5EF4-FFF2-40B4-BE49-F238E27FC236}">
                <a16:creationId xmlns:a16="http://schemas.microsoft.com/office/drawing/2014/main" id="{6D392060-79E2-46CA-975A-988453F31364}"/>
              </a:ext>
            </a:extLst>
          </p:cNvPr>
          <p:cNvSpPr>
            <a:spLocks noEditPoints="1"/>
          </p:cNvSpPr>
          <p:nvPr/>
        </p:nvSpPr>
        <p:spPr bwMode="auto">
          <a:xfrm>
            <a:off x="1942407" y="3315314"/>
            <a:ext cx="343237" cy="134361"/>
          </a:xfrm>
          <a:custGeom>
            <a:avLst/>
            <a:gdLst>
              <a:gd name="T0" fmla="*/ 471 w 514"/>
              <a:gd name="T1" fmla="*/ 9 h 76"/>
              <a:gd name="T2" fmla="*/ 465 w 514"/>
              <a:gd name="T3" fmla="*/ 10 h 76"/>
              <a:gd name="T4" fmla="*/ 461 w 514"/>
              <a:gd name="T5" fmla="*/ 12 h 76"/>
              <a:gd name="T6" fmla="*/ 456 w 514"/>
              <a:gd name="T7" fmla="*/ 17 h 76"/>
              <a:gd name="T8" fmla="*/ 452 w 514"/>
              <a:gd name="T9" fmla="*/ 21 h 76"/>
              <a:gd name="T10" fmla="*/ 449 w 514"/>
              <a:gd name="T11" fmla="*/ 26 h 76"/>
              <a:gd name="T12" fmla="*/ 447 w 514"/>
              <a:gd name="T13" fmla="*/ 32 h 76"/>
              <a:gd name="T14" fmla="*/ 446 w 514"/>
              <a:gd name="T15" fmla="*/ 38 h 76"/>
              <a:gd name="T16" fmla="*/ 447 w 514"/>
              <a:gd name="T17" fmla="*/ 44 h 76"/>
              <a:gd name="T18" fmla="*/ 449 w 514"/>
              <a:gd name="T19" fmla="*/ 50 h 76"/>
              <a:gd name="T20" fmla="*/ 452 w 514"/>
              <a:gd name="T21" fmla="*/ 55 h 76"/>
              <a:gd name="T22" fmla="*/ 456 w 514"/>
              <a:gd name="T23" fmla="*/ 60 h 76"/>
              <a:gd name="T24" fmla="*/ 461 w 514"/>
              <a:gd name="T25" fmla="*/ 63 h 76"/>
              <a:gd name="T26" fmla="*/ 466 w 514"/>
              <a:gd name="T27" fmla="*/ 65 h 76"/>
              <a:gd name="T28" fmla="*/ 472 w 514"/>
              <a:gd name="T29" fmla="*/ 68 h 76"/>
              <a:gd name="T30" fmla="*/ 478 w 514"/>
              <a:gd name="T31" fmla="*/ 68 h 76"/>
              <a:gd name="T32" fmla="*/ 484 w 514"/>
              <a:gd name="T33" fmla="*/ 66 h 76"/>
              <a:gd name="T34" fmla="*/ 490 w 514"/>
              <a:gd name="T35" fmla="*/ 64 h 76"/>
              <a:gd name="T36" fmla="*/ 494 w 514"/>
              <a:gd name="T37" fmla="*/ 61 h 76"/>
              <a:gd name="T38" fmla="*/ 499 w 514"/>
              <a:gd name="T39" fmla="*/ 57 h 76"/>
              <a:gd name="T40" fmla="*/ 502 w 514"/>
              <a:gd name="T41" fmla="*/ 52 h 76"/>
              <a:gd name="T42" fmla="*/ 505 w 514"/>
              <a:gd name="T43" fmla="*/ 47 h 76"/>
              <a:gd name="T44" fmla="*/ 506 w 514"/>
              <a:gd name="T45" fmla="*/ 41 h 76"/>
              <a:gd name="T46" fmla="*/ 506 w 514"/>
              <a:gd name="T47" fmla="*/ 35 h 76"/>
              <a:gd name="T48" fmla="*/ 505 w 514"/>
              <a:gd name="T49" fmla="*/ 28 h 76"/>
              <a:gd name="T50" fmla="*/ 502 w 514"/>
              <a:gd name="T51" fmla="*/ 24 h 76"/>
              <a:gd name="T52" fmla="*/ 499 w 514"/>
              <a:gd name="T53" fmla="*/ 18 h 76"/>
              <a:gd name="T54" fmla="*/ 494 w 514"/>
              <a:gd name="T55" fmla="*/ 15 h 76"/>
              <a:gd name="T56" fmla="*/ 489 w 514"/>
              <a:gd name="T57" fmla="*/ 11 h 76"/>
              <a:gd name="T58" fmla="*/ 484 w 514"/>
              <a:gd name="T59" fmla="*/ 9 h 76"/>
              <a:gd name="T60" fmla="*/ 478 w 514"/>
              <a:gd name="T61" fmla="*/ 8 h 76"/>
              <a:gd name="T62" fmla="*/ 439 w 514"/>
              <a:gd name="T63" fmla="*/ 28 h 76"/>
              <a:gd name="T64" fmla="*/ 443 w 514"/>
              <a:gd name="T65" fmla="*/ 21 h 76"/>
              <a:gd name="T66" fmla="*/ 446 w 514"/>
              <a:gd name="T67" fmla="*/ 15 h 76"/>
              <a:gd name="T68" fmla="*/ 452 w 514"/>
              <a:gd name="T69" fmla="*/ 10 h 76"/>
              <a:gd name="T70" fmla="*/ 457 w 514"/>
              <a:gd name="T71" fmla="*/ 6 h 76"/>
              <a:gd name="T72" fmla="*/ 464 w 514"/>
              <a:gd name="T73" fmla="*/ 2 h 76"/>
              <a:gd name="T74" fmla="*/ 472 w 514"/>
              <a:gd name="T75" fmla="*/ 0 h 76"/>
              <a:gd name="T76" fmla="*/ 480 w 514"/>
              <a:gd name="T77" fmla="*/ 0 h 76"/>
              <a:gd name="T78" fmla="*/ 488 w 514"/>
              <a:gd name="T79" fmla="*/ 2 h 76"/>
              <a:gd name="T80" fmla="*/ 494 w 514"/>
              <a:gd name="T81" fmla="*/ 5 h 76"/>
              <a:gd name="T82" fmla="*/ 500 w 514"/>
              <a:gd name="T83" fmla="*/ 9 h 76"/>
              <a:gd name="T84" fmla="*/ 506 w 514"/>
              <a:gd name="T85" fmla="*/ 15 h 76"/>
              <a:gd name="T86" fmla="*/ 509 w 514"/>
              <a:gd name="T87" fmla="*/ 20 h 76"/>
              <a:gd name="T88" fmla="*/ 512 w 514"/>
              <a:gd name="T89" fmla="*/ 27 h 76"/>
              <a:gd name="T90" fmla="*/ 514 w 514"/>
              <a:gd name="T91" fmla="*/ 35 h 76"/>
              <a:gd name="T92" fmla="*/ 514 w 514"/>
              <a:gd name="T93" fmla="*/ 43 h 76"/>
              <a:gd name="T94" fmla="*/ 511 w 514"/>
              <a:gd name="T95" fmla="*/ 51 h 76"/>
              <a:gd name="T96" fmla="*/ 508 w 514"/>
              <a:gd name="T97" fmla="*/ 57 h 76"/>
              <a:gd name="T98" fmla="*/ 503 w 514"/>
              <a:gd name="T99" fmla="*/ 63 h 76"/>
              <a:gd name="T100" fmla="*/ 498 w 514"/>
              <a:gd name="T101" fmla="*/ 69 h 76"/>
              <a:gd name="T102" fmla="*/ 492 w 514"/>
              <a:gd name="T103" fmla="*/ 72 h 76"/>
              <a:gd name="T104" fmla="*/ 484 w 514"/>
              <a:gd name="T105" fmla="*/ 74 h 76"/>
              <a:gd name="T106" fmla="*/ 476 w 514"/>
              <a:gd name="T107" fmla="*/ 76 h 76"/>
              <a:gd name="T108" fmla="*/ 469 w 514"/>
              <a:gd name="T109" fmla="*/ 74 h 76"/>
              <a:gd name="T110" fmla="*/ 462 w 514"/>
              <a:gd name="T111" fmla="*/ 72 h 76"/>
              <a:gd name="T112" fmla="*/ 455 w 514"/>
              <a:gd name="T113" fmla="*/ 69 h 76"/>
              <a:gd name="T114" fmla="*/ 449 w 514"/>
              <a:gd name="T115" fmla="*/ 64 h 76"/>
              <a:gd name="T116" fmla="*/ 445 w 514"/>
              <a:gd name="T117" fmla="*/ 59 h 76"/>
              <a:gd name="T118" fmla="*/ 441 w 514"/>
              <a:gd name="T119" fmla="*/ 52 h 76"/>
              <a:gd name="T120" fmla="*/ 439 w 514"/>
              <a:gd name="T121" fmla="*/ 44 h 76"/>
              <a:gd name="T122" fmla="*/ 299 w 514"/>
              <a:gd name="T123" fmla="*/ 34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14" h="76">
                <a:moveTo>
                  <a:pt x="16" y="34"/>
                </a:moveTo>
                <a:lnTo>
                  <a:pt x="16" y="42"/>
                </a:lnTo>
                <a:lnTo>
                  <a:pt x="0" y="42"/>
                </a:lnTo>
                <a:lnTo>
                  <a:pt x="0" y="34"/>
                </a:lnTo>
                <a:lnTo>
                  <a:pt x="16" y="34"/>
                </a:lnTo>
                <a:lnTo>
                  <a:pt x="16" y="34"/>
                </a:lnTo>
                <a:close/>
                <a:moveTo>
                  <a:pt x="476" y="8"/>
                </a:moveTo>
                <a:lnTo>
                  <a:pt x="476" y="8"/>
                </a:lnTo>
                <a:lnTo>
                  <a:pt x="475" y="8"/>
                </a:lnTo>
                <a:lnTo>
                  <a:pt x="475" y="8"/>
                </a:lnTo>
                <a:lnTo>
                  <a:pt x="475" y="8"/>
                </a:lnTo>
                <a:lnTo>
                  <a:pt x="475" y="8"/>
                </a:lnTo>
                <a:lnTo>
                  <a:pt x="475" y="8"/>
                </a:lnTo>
                <a:lnTo>
                  <a:pt x="475" y="8"/>
                </a:lnTo>
                <a:lnTo>
                  <a:pt x="474" y="8"/>
                </a:lnTo>
                <a:lnTo>
                  <a:pt x="474" y="8"/>
                </a:lnTo>
                <a:lnTo>
                  <a:pt x="474" y="8"/>
                </a:lnTo>
                <a:lnTo>
                  <a:pt x="474" y="8"/>
                </a:lnTo>
                <a:lnTo>
                  <a:pt x="474" y="8"/>
                </a:lnTo>
                <a:lnTo>
                  <a:pt x="474" y="8"/>
                </a:lnTo>
                <a:lnTo>
                  <a:pt x="473" y="8"/>
                </a:lnTo>
                <a:lnTo>
                  <a:pt x="473" y="8"/>
                </a:lnTo>
                <a:lnTo>
                  <a:pt x="473" y="8"/>
                </a:lnTo>
                <a:lnTo>
                  <a:pt x="473" y="8"/>
                </a:lnTo>
                <a:lnTo>
                  <a:pt x="473" y="8"/>
                </a:lnTo>
                <a:lnTo>
                  <a:pt x="473" y="8"/>
                </a:lnTo>
                <a:lnTo>
                  <a:pt x="472" y="8"/>
                </a:lnTo>
                <a:lnTo>
                  <a:pt x="472" y="8"/>
                </a:lnTo>
                <a:lnTo>
                  <a:pt x="472" y="8"/>
                </a:lnTo>
                <a:lnTo>
                  <a:pt x="472" y="8"/>
                </a:lnTo>
                <a:lnTo>
                  <a:pt x="472" y="8"/>
                </a:lnTo>
                <a:lnTo>
                  <a:pt x="472" y="9"/>
                </a:lnTo>
                <a:lnTo>
                  <a:pt x="471" y="9"/>
                </a:lnTo>
                <a:lnTo>
                  <a:pt x="471" y="9"/>
                </a:lnTo>
                <a:lnTo>
                  <a:pt x="471" y="9"/>
                </a:lnTo>
                <a:lnTo>
                  <a:pt x="471" y="9"/>
                </a:lnTo>
                <a:lnTo>
                  <a:pt x="471" y="9"/>
                </a:lnTo>
                <a:lnTo>
                  <a:pt x="471" y="9"/>
                </a:lnTo>
                <a:lnTo>
                  <a:pt x="470" y="9"/>
                </a:lnTo>
                <a:lnTo>
                  <a:pt x="470" y="9"/>
                </a:lnTo>
                <a:lnTo>
                  <a:pt x="470" y="9"/>
                </a:lnTo>
                <a:lnTo>
                  <a:pt x="470" y="9"/>
                </a:lnTo>
                <a:lnTo>
                  <a:pt x="470" y="9"/>
                </a:lnTo>
                <a:lnTo>
                  <a:pt x="470" y="9"/>
                </a:lnTo>
                <a:lnTo>
                  <a:pt x="470" y="9"/>
                </a:lnTo>
                <a:lnTo>
                  <a:pt x="469" y="9"/>
                </a:lnTo>
                <a:lnTo>
                  <a:pt x="469" y="9"/>
                </a:lnTo>
                <a:lnTo>
                  <a:pt x="469" y="9"/>
                </a:lnTo>
                <a:lnTo>
                  <a:pt x="469" y="9"/>
                </a:lnTo>
                <a:lnTo>
                  <a:pt x="469" y="9"/>
                </a:lnTo>
                <a:lnTo>
                  <a:pt x="469" y="9"/>
                </a:lnTo>
                <a:lnTo>
                  <a:pt x="467" y="9"/>
                </a:lnTo>
                <a:lnTo>
                  <a:pt x="467" y="9"/>
                </a:lnTo>
                <a:lnTo>
                  <a:pt x="467" y="9"/>
                </a:lnTo>
                <a:lnTo>
                  <a:pt x="467" y="9"/>
                </a:lnTo>
                <a:lnTo>
                  <a:pt x="467" y="9"/>
                </a:lnTo>
                <a:lnTo>
                  <a:pt x="467" y="9"/>
                </a:lnTo>
                <a:lnTo>
                  <a:pt x="467" y="10"/>
                </a:lnTo>
                <a:lnTo>
                  <a:pt x="466" y="10"/>
                </a:lnTo>
                <a:lnTo>
                  <a:pt x="466" y="10"/>
                </a:lnTo>
                <a:lnTo>
                  <a:pt x="466" y="10"/>
                </a:lnTo>
                <a:lnTo>
                  <a:pt x="466" y="10"/>
                </a:lnTo>
                <a:lnTo>
                  <a:pt x="466" y="10"/>
                </a:lnTo>
                <a:lnTo>
                  <a:pt x="466" y="10"/>
                </a:lnTo>
                <a:lnTo>
                  <a:pt x="465" y="10"/>
                </a:lnTo>
                <a:lnTo>
                  <a:pt x="465" y="10"/>
                </a:lnTo>
                <a:lnTo>
                  <a:pt x="465" y="10"/>
                </a:lnTo>
                <a:lnTo>
                  <a:pt x="465" y="10"/>
                </a:lnTo>
                <a:lnTo>
                  <a:pt x="465" y="10"/>
                </a:lnTo>
                <a:lnTo>
                  <a:pt x="465" y="10"/>
                </a:lnTo>
                <a:lnTo>
                  <a:pt x="465" y="10"/>
                </a:lnTo>
                <a:lnTo>
                  <a:pt x="464" y="10"/>
                </a:lnTo>
                <a:lnTo>
                  <a:pt x="464" y="10"/>
                </a:lnTo>
                <a:lnTo>
                  <a:pt x="464" y="10"/>
                </a:lnTo>
                <a:lnTo>
                  <a:pt x="464" y="11"/>
                </a:lnTo>
                <a:lnTo>
                  <a:pt x="464" y="11"/>
                </a:lnTo>
                <a:lnTo>
                  <a:pt x="464" y="11"/>
                </a:lnTo>
                <a:lnTo>
                  <a:pt x="464" y="11"/>
                </a:lnTo>
                <a:lnTo>
                  <a:pt x="463" y="11"/>
                </a:lnTo>
                <a:lnTo>
                  <a:pt x="463" y="11"/>
                </a:lnTo>
                <a:lnTo>
                  <a:pt x="463" y="11"/>
                </a:lnTo>
                <a:lnTo>
                  <a:pt x="463" y="11"/>
                </a:lnTo>
                <a:lnTo>
                  <a:pt x="463" y="11"/>
                </a:lnTo>
                <a:lnTo>
                  <a:pt x="463" y="11"/>
                </a:lnTo>
                <a:lnTo>
                  <a:pt x="463" y="11"/>
                </a:lnTo>
                <a:lnTo>
                  <a:pt x="462" y="11"/>
                </a:lnTo>
                <a:lnTo>
                  <a:pt x="462" y="11"/>
                </a:lnTo>
                <a:lnTo>
                  <a:pt x="462" y="11"/>
                </a:lnTo>
                <a:lnTo>
                  <a:pt x="462" y="12"/>
                </a:lnTo>
                <a:lnTo>
                  <a:pt x="462" y="12"/>
                </a:lnTo>
                <a:lnTo>
                  <a:pt x="462" y="12"/>
                </a:lnTo>
                <a:lnTo>
                  <a:pt x="462" y="12"/>
                </a:lnTo>
                <a:lnTo>
                  <a:pt x="461" y="12"/>
                </a:lnTo>
                <a:lnTo>
                  <a:pt x="461" y="12"/>
                </a:lnTo>
                <a:lnTo>
                  <a:pt x="461" y="12"/>
                </a:lnTo>
                <a:lnTo>
                  <a:pt x="461" y="12"/>
                </a:lnTo>
                <a:lnTo>
                  <a:pt x="461" y="12"/>
                </a:lnTo>
                <a:lnTo>
                  <a:pt x="461" y="12"/>
                </a:lnTo>
                <a:lnTo>
                  <a:pt x="461" y="12"/>
                </a:lnTo>
                <a:lnTo>
                  <a:pt x="459" y="12"/>
                </a:lnTo>
                <a:lnTo>
                  <a:pt x="459" y="14"/>
                </a:lnTo>
                <a:lnTo>
                  <a:pt x="459" y="14"/>
                </a:lnTo>
                <a:lnTo>
                  <a:pt x="459" y="14"/>
                </a:lnTo>
                <a:lnTo>
                  <a:pt x="459" y="14"/>
                </a:lnTo>
                <a:lnTo>
                  <a:pt x="459" y="14"/>
                </a:lnTo>
                <a:lnTo>
                  <a:pt x="459" y="14"/>
                </a:lnTo>
                <a:lnTo>
                  <a:pt x="459" y="14"/>
                </a:lnTo>
                <a:lnTo>
                  <a:pt x="458" y="14"/>
                </a:lnTo>
                <a:lnTo>
                  <a:pt x="458" y="14"/>
                </a:lnTo>
                <a:lnTo>
                  <a:pt x="458" y="14"/>
                </a:lnTo>
                <a:lnTo>
                  <a:pt x="458" y="14"/>
                </a:lnTo>
                <a:lnTo>
                  <a:pt x="458" y="15"/>
                </a:lnTo>
                <a:lnTo>
                  <a:pt x="458" y="15"/>
                </a:lnTo>
                <a:lnTo>
                  <a:pt x="458" y="15"/>
                </a:lnTo>
                <a:lnTo>
                  <a:pt x="458" y="15"/>
                </a:lnTo>
                <a:lnTo>
                  <a:pt x="457" y="15"/>
                </a:lnTo>
                <a:lnTo>
                  <a:pt x="457" y="15"/>
                </a:lnTo>
                <a:lnTo>
                  <a:pt x="457" y="15"/>
                </a:lnTo>
                <a:lnTo>
                  <a:pt x="457" y="15"/>
                </a:lnTo>
                <a:lnTo>
                  <a:pt x="457" y="15"/>
                </a:lnTo>
                <a:lnTo>
                  <a:pt x="457" y="15"/>
                </a:lnTo>
                <a:lnTo>
                  <a:pt x="457" y="16"/>
                </a:lnTo>
                <a:lnTo>
                  <a:pt x="457" y="16"/>
                </a:lnTo>
                <a:lnTo>
                  <a:pt x="456" y="16"/>
                </a:lnTo>
                <a:lnTo>
                  <a:pt x="456" y="16"/>
                </a:lnTo>
                <a:lnTo>
                  <a:pt x="456" y="16"/>
                </a:lnTo>
                <a:lnTo>
                  <a:pt x="456" y="16"/>
                </a:lnTo>
                <a:lnTo>
                  <a:pt x="456" y="16"/>
                </a:lnTo>
                <a:lnTo>
                  <a:pt x="456" y="16"/>
                </a:lnTo>
                <a:lnTo>
                  <a:pt x="456" y="16"/>
                </a:lnTo>
                <a:lnTo>
                  <a:pt x="456" y="16"/>
                </a:lnTo>
                <a:lnTo>
                  <a:pt x="456" y="17"/>
                </a:lnTo>
                <a:lnTo>
                  <a:pt x="455" y="17"/>
                </a:lnTo>
                <a:lnTo>
                  <a:pt x="455" y="17"/>
                </a:lnTo>
                <a:lnTo>
                  <a:pt x="455" y="17"/>
                </a:lnTo>
                <a:lnTo>
                  <a:pt x="455" y="17"/>
                </a:lnTo>
                <a:lnTo>
                  <a:pt x="455" y="17"/>
                </a:lnTo>
                <a:lnTo>
                  <a:pt x="455" y="17"/>
                </a:lnTo>
                <a:lnTo>
                  <a:pt x="455" y="17"/>
                </a:lnTo>
                <a:lnTo>
                  <a:pt x="455" y="17"/>
                </a:lnTo>
                <a:lnTo>
                  <a:pt x="455" y="18"/>
                </a:lnTo>
                <a:lnTo>
                  <a:pt x="454" y="18"/>
                </a:lnTo>
                <a:lnTo>
                  <a:pt x="454" y="18"/>
                </a:lnTo>
                <a:lnTo>
                  <a:pt x="454" y="18"/>
                </a:lnTo>
                <a:lnTo>
                  <a:pt x="454" y="18"/>
                </a:lnTo>
                <a:lnTo>
                  <a:pt x="454" y="18"/>
                </a:lnTo>
                <a:lnTo>
                  <a:pt x="454" y="18"/>
                </a:lnTo>
                <a:lnTo>
                  <a:pt x="454" y="18"/>
                </a:lnTo>
                <a:lnTo>
                  <a:pt x="454" y="19"/>
                </a:lnTo>
                <a:lnTo>
                  <a:pt x="454" y="19"/>
                </a:lnTo>
                <a:lnTo>
                  <a:pt x="453" y="19"/>
                </a:lnTo>
                <a:lnTo>
                  <a:pt x="453" y="19"/>
                </a:lnTo>
                <a:lnTo>
                  <a:pt x="453" y="19"/>
                </a:lnTo>
                <a:lnTo>
                  <a:pt x="453" y="19"/>
                </a:lnTo>
                <a:lnTo>
                  <a:pt x="453" y="19"/>
                </a:lnTo>
                <a:lnTo>
                  <a:pt x="453" y="19"/>
                </a:lnTo>
                <a:lnTo>
                  <a:pt x="453" y="20"/>
                </a:lnTo>
                <a:lnTo>
                  <a:pt x="453" y="20"/>
                </a:lnTo>
                <a:lnTo>
                  <a:pt x="453" y="20"/>
                </a:lnTo>
                <a:lnTo>
                  <a:pt x="453" y="20"/>
                </a:lnTo>
                <a:lnTo>
                  <a:pt x="452" y="20"/>
                </a:lnTo>
                <a:lnTo>
                  <a:pt x="452" y="20"/>
                </a:lnTo>
                <a:lnTo>
                  <a:pt x="452" y="20"/>
                </a:lnTo>
                <a:lnTo>
                  <a:pt x="452" y="20"/>
                </a:lnTo>
                <a:lnTo>
                  <a:pt x="452" y="21"/>
                </a:lnTo>
                <a:lnTo>
                  <a:pt x="452" y="21"/>
                </a:lnTo>
                <a:lnTo>
                  <a:pt x="452" y="21"/>
                </a:lnTo>
                <a:lnTo>
                  <a:pt x="452" y="21"/>
                </a:lnTo>
                <a:lnTo>
                  <a:pt x="452" y="21"/>
                </a:lnTo>
                <a:lnTo>
                  <a:pt x="452" y="21"/>
                </a:lnTo>
                <a:lnTo>
                  <a:pt x="452" y="21"/>
                </a:lnTo>
                <a:lnTo>
                  <a:pt x="452" y="21"/>
                </a:lnTo>
                <a:lnTo>
                  <a:pt x="450" y="23"/>
                </a:lnTo>
                <a:lnTo>
                  <a:pt x="450" y="23"/>
                </a:lnTo>
                <a:lnTo>
                  <a:pt x="450" y="23"/>
                </a:lnTo>
                <a:lnTo>
                  <a:pt x="450" y="23"/>
                </a:lnTo>
                <a:lnTo>
                  <a:pt x="450" y="23"/>
                </a:lnTo>
                <a:lnTo>
                  <a:pt x="450" y="23"/>
                </a:lnTo>
                <a:lnTo>
                  <a:pt x="450" y="23"/>
                </a:lnTo>
                <a:lnTo>
                  <a:pt x="450" y="24"/>
                </a:lnTo>
                <a:lnTo>
                  <a:pt x="450" y="24"/>
                </a:lnTo>
                <a:lnTo>
                  <a:pt x="450" y="24"/>
                </a:lnTo>
                <a:lnTo>
                  <a:pt x="450" y="24"/>
                </a:lnTo>
                <a:lnTo>
                  <a:pt x="450" y="24"/>
                </a:lnTo>
                <a:lnTo>
                  <a:pt x="449" y="24"/>
                </a:lnTo>
                <a:lnTo>
                  <a:pt x="449" y="24"/>
                </a:lnTo>
                <a:lnTo>
                  <a:pt x="449" y="25"/>
                </a:lnTo>
                <a:lnTo>
                  <a:pt x="449" y="25"/>
                </a:lnTo>
                <a:lnTo>
                  <a:pt x="449" y="25"/>
                </a:lnTo>
                <a:lnTo>
                  <a:pt x="449" y="25"/>
                </a:lnTo>
                <a:lnTo>
                  <a:pt x="449" y="25"/>
                </a:lnTo>
                <a:lnTo>
                  <a:pt x="449" y="25"/>
                </a:lnTo>
                <a:lnTo>
                  <a:pt x="449" y="25"/>
                </a:lnTo>
                <a:lnTo>
                  <a:pt x="449" y="26"/>
                </a:lnTo>
                <a:lnTo>
                  <a:pt x="449" y="26"/>
                </a:lnTo>
                <a:lnTo>
                  <a:pt x="449" y="26"/>
                </a:lnTo>
                <a:lnTo>
                  <a:pt x="449" y="26"/>
                </a:lnTo>
                <a:lnTo>
                  <a:pt x="449" y="26"/>
                </a:lnTo>
                <a:lnTo>
                  <a:pt x="449" y="26"/>
                </a:lnTo>
                <a:lnTo>
                  <a:pt x="448" y="26"/>
                </a:lnTo>
                <a:lnTo>
                  <a:pt x="448" y="27"/>
                </a:lnTo>
                <a:lnTo>
                  <a:pt x="448" y="27"/>
                </a:lnTo>
                <a:lnTo>
                  <a:pt x="448" y="27"/>
                </a:lnTo>
                <a:lnTo>
                  <a:pt x="448" y="27"/>
                </a:lnTo>
                <a:lnTo>
                  <a:pt x="448" y="27"/>
                </a:lnTo>
                <a:lnTo>
                  <a:pt x="448" y="27"/>
                </a:lnTo>
                <a:lnTo>
                  <a:pt x="448" y="27"/>
                </a:lnTo>
                <a:lnTo>
                  <a:pt x="448" y="28"/>
                </a:lnTo>
                <a:lnTo>
                  <a:pt x="448" y="28"/>
                </a:lnTo>
                <a:lnTo>
                  <a:pt x="448" y="28"/>
                </a:lnTo>
                <a:lnTo>
                  <a:pt x="448" y="28"/>
                </a:lnTo>
                <a:lnTo>
                  <a:pt x="448" y="28"/>
                </a:lnTo>
                <a:lnTo>
                  <a:pt x="448" y="28"/>
                </a:lnTo>
                <a:lnTo>
                  <a:pt x="448" y="29"/>
                </a:lnTo>
                <a:lnTo>
                  <a:pt x="448" y="29"/>
                </a:lnTo>
                <a:lnTo>
                  <a:pt x="448" y="29"/>
                </a:lnTo>
                <a:lnTo>
                  <a:pt x="448" y="29"/>
                </a:lnTo>
                <a:lnTo>
                  <a:pt x="447" y="29"/>
                </a:lnTo>
                <a:lnTo>
                  <a:pt x="447" y="29"/>
                </a:lnTo>
                <a:lnTo>
                  <a:pt x="447" y="30"/>
                </a:lnTo>
                <a:lnTo>
                  <a:pt x="447" y="30"/>
                </a:lnTo>
                <a:lnTo>
                  <a:pt x="447" y="30"/>
                </a:lnTo>
                <a:lnTo>
                  <a:pt x="447" y="30"/>
                </a:lnTo>
                <a:lnTo>
                  <a:pt x="447" y="30"/>
                </a:lnTo>
                <a:lnTo>
                  <a:pt x="447" y="30"/>
                </a:lnTo>
                <a:lnTo>
                  <a:pt x="447" y="30"/>
                </a:lnTo>
                <a:lnTo>
                  <a:pt x="447" y="32"/>
                </a:lnTo>
                <a:lnTo>
                  <a:pt x="447" y="32"/>
                </a:lnTo>
                <a:lnTo>
                  <a:pt x="447" y="32"/>
                </a:lnTo>
                <a:lnTo>
                  <a:pt x="447" y="32"/>
                </a:lnTo>
                <a:lnTo>
                  <a:pt x="447" y="32"/>
                </a:lnTo>
                <a:lnTo>
                  <a:pt x="447" y="32"/>
                </a:lnTo>
                <a:lnTo>
                  <a:pt x="447" y="33"/>
                </a:lnTo>
                <a:lnTo>
                  <a:pt x="447" y="33"/>
                </a:lnTo>
                <a:lnTo>
                  <a:pt x="447" y="33"/>
                </a:lnTo>
                <a:lnTo>
                  <a:pt x="447" y="33"/>
                </a:lnTo>
                <a:lnTo>
                  <a:pt x="447" y="33"/>
                </a:lnTo>
                <a:lnTo>
                  <a:pt x="447" y="33"/>
                </a:lnTo>
                <a:lnTo>
                  <a:pt x="447" y="34"/>
                </a:lnTo>
                <a:lnTo>
                  <a:pt x="447" y="34"/>
                </a:lnTo>
                <a:lnTo>
                  <a:pt x="447" y="34"/>
                </a:lnTo>
                <a:lnTo>
                  <a:pt x="447" y="34"/>
                </a:lnTo>
                <a:lnTo>
                  <a:pt x="447" y="34"/>
                </a:lnTo>
                <a:lnTo>
                  <a:pt x="447" y="34"/>
                </a:lnTo>
                <a:lnTo>
                  <a:pt x="447" y="35"/>
                </a:lnTo>
                <a:lnTo>
                  <a:pt x="447" y="35"/>
                </a:lnTo>
                <a:lnTo>
                  <a:pt x="447" y="35"/>
                </a:lnTo>
                <a:lnTo>
                  <a:pt x="447" y="35"/>
                </a:lnTo>
                <a:lnTo>
                  <a:pt x="447" y="35"/>
                </a:lnTo>
                <a:lnTo>
                  <a:pt x="447" y="35"/>
                </a:lnTo>
                <a:lnTo>
                  <a:pt x="447" y="36"/>
                </a:lnTo>
                <a:lnTo>
                  <a:pt x="446" y="36"/>
                </a:lnTo>
                <a:lnTo>
                  <a:pt x="446" y="36"/>
                </a:lnTo>
                <a:lnTo>
                  <a:pt x="446" y="36"/>
                </a:lnTo>
                <a:lnTo>
                  <a:pt x="446" y="36"/>
                </a:lnTo>
                <a:lnTo>
                  <a:pt x="446" y="36"/>
                </a:lnTo>
                <a:lnTo>
                  <a:pt x="446" y="37"/>
                </a:lnTo>
                <a:lnTo>
                  <a:pt x="446" y="37"/>
                </a:lnTo>
                <a:lnTo>
                  <a:pt x="446" y="37"/>
                </a:lnTo>
                <a:lnTo>
                  <a:pt x="446" y="37"/>
                </a:lnTo>
                <a:lnTo>
                  <a:pt x="446" y="37"/>
                </a:lnTo>
                <a:lnTo>
                  <a:pt x="446" y="37"/>
                </a:lnTo>
                <a:lnTo>
                  <a:pt x="446" y="38"/>
                </a:lnTo>
                <a:lnTo>
                  <a:pt x="446" y="38"/>
                </a:lnTo>
                <a:lnTo>
                  <a:pt x="446" y="38"/>
                </a:lnTo>
                <a:lnTo>
                  <a:pt x="446" y="38"/>
                </a:lnTo>
                <a:lnTo>
                  <a:pt x="446" y="38"/>
                </a:lnTo>
                <a:lnTo>
                  <a:pt x="446" y="38"/>
                </a:lnTo>
                <a:lnTo>
                  <a:pt x="446" y="39"/>
                </a:lnTo>
                <a:lnTo>
                  <a:pt x="446" y="39"/>
                </a:lnTo>
                <a:lnTo>
                  <a:pt x="446" y="39"/>
                </a:lnTo>
                <a:lnTo>
                  <a:pt x="446" y="39"/>
                </a:lnTo>
                <a:lnTo>
                  <a:pt x="446" y="39"/>
                </a:lnTo>
                <a:lnTo>
                  <a:pt x="446" y="39"/>
                </a:lnTo>
                <a:lnTo>
                  <a:pt x="447" y="41"/>
                </a:lnTo>
                <a:lnTo>
                  <a:pt x="447" y="41"/>
                </a:lnTo>
                <a:lnTo>
                  <a:pt x="447" y="41"/>
                </a:lnTo>
                <a:lnTo>
                  <a:pt x="447" y="41"/>
                </a:lnTo>
                <a:lnTo>
                  <a:pt x="447" y="41"/>
                </a:lnTo>
                <a:lnTo>
                  <a:pt x="447" y="41"/>
                </a:lnTo>
                <a:lnTo>
                  <a:pt x="447" y="42"/>
                </a:lnTo>
                <a:lnTo>
                  <a:pt x="447" y="42"/>
                </a:lnTo>
                <a:lnTo>
                  <a:pt x="447" y="42"/>
                </a:lnTo>
                <a:lnTo>
                  <a:pt x="447" y="42"/>
                </a:lnTo>
                <a:lnTo>
                  <a:pt x="447" y="42"/>
                </a:lnTo>
                <a:lnTo>
                  <a:pt x="447" y="42"/>
                </a:lnTo>
                <a:lnTo>
                  <a:pt x="447" y="43"/>
                </a:lnTo>
                <a:lnTo>
                  <a:pt x="447" y="43"/>
                </a:lnTo>
                <a:lnTo>
                  <a:pt x="447" y="43"/>
                </a:lnTo>
                <a:lnTo>
                  <a:pt x="447" y="43"/>
                </a:lnTo>
                <a:lnTo>
                  <a:pt x="447" y="43"/>
                </a:lnTo>
                <a:lnTo>
                  <a:pt x="447" y="43"/>
                </a:lnTo>
                <a:lnTo>
                  <a:pt x="447" y="44"/>
                </a:lnTo>
                <a:lnTo>
                  <a:pt x="447" y="44"/>
                </a:lnTo>
                <a:lnTo>
                  <a:pt x="447" y="44"/>
                </a:lnTo>
                <a:lnTo>
                  <a:pt x="447" y="44"/>
                </a:lnTo>
                <a:lnTo>
                  <a:pt x="447" y="44"/>
                </a:lnTo>
                <a:lnTo>
                  <a:pt x="447" y="44"/>
                </a:lnTo>
                <a:lnTo>
                  <a:pt x="447" y="44"/>
                </a:lnTo>
                <a:lnTo>
                  <a:pt x="447" y="45"/>
                </a:lnTo>
                <a:lnTo>
                  <a:pt x="447" y="45"/>
                </a:lnTo>
                <a:lnTo>
                  <a:pt x="447" y="45"/>
                </a:lnTo>
                <a:lnTo>
                  <a:pt x="447" y="45"/>
                </a:lnTo>
                <a:lnTo>
                  <a:pt x="447" y="45"/>
                </a:lnTo>
                <a:lnTo>
                  <a:pt x="447" y="45"/>
                </a:lnTo>
                <a:lnTo>
                  <a:pt x="447" y="46"/>
                </a:lnTo>
                <a:lnTo>
                  <a:pt x="447" y="46"/>
                </a:lnTo>
                <a:lnTo>
                  <a:pt x="447" y="46"/>
                </a:lnTo>
                <a:lnTo>
                  <a:pt x="448" y="46"/>
                </a:lnTo>
                <a:lnTo>
                  <a:pt x="448" y="46"/>
                </a:lnTo>
                <a:lnTo>
                  <a:pt x="448" y="46"/>
                </a:lnTo>
                <a:lnTo>
                  <a:pt x="448" y="47"/>
                </a:lnTo>
                <a:lnTo>
                  <a:pt x="448" y="47"/>
                </a:lnTo>
                <a:lnTo>
                  <a:pt x="448" y="47"/>
                </a:lnTo>
                <a:lnTo>
                  <a:pt x="448" y="47"/>
                </a:lnTo>
                <a:lnTo>
                  <a:pt x="448" y="47"/>
                </a:lnTo>
                <a:lnTo>
                  <a:pt x="448" y="47"/>
                </a:lnTo>
                <a:lnTo>
                  <a:pt x="448" y="47"/>
                </a:lnTo>
                <a:lnTo>
                  <a:pt x="448" y="48"/>
                </a:lnTo>
                <a:lnTo>
                  <a:pt x="448" y="48"/>
                </a:lnTo>
                <a:lnTo>
                  <a:pt x="448" y="48"/>
                </a:lnTo>
                <a:lnTo>
                  <a:pt x="448" y="48"/>
                </a:lnTo>
                <a:lnTo>
                  <a:pt x="448" y="48"/>
                </a:lnTo>
                <a:lnTo>
                  <a:pt x="448" y="48"/>
                </a:lnTo>
                <a:lnTo>
                  <a:pt x="448" y="48"/>
                </a:lnTo>
                <a:lnTo>
                  <a:pt x="448" y="50"/>
                </a:lnTo>
                <a:lnTo>
                  <a:pt x="449" y="50"/>
                </a:lnTo>
                <a:lnTo>
                  <a:pt x="449" y="50"/>
                </a:lnTo>
                <a:lnTo>
                  <a:pt x="449" y="50"/>
                </a:lnTo>
                <a:lnTo>
                  <a:pt x="449" y="50"/>
                </a:lnTo>
                <a:lnTo>
                  <a:pt x="449" y="50"/>
                </a:lnTo>
                <a:lnTo>
                  <a:pt x="449" y="51"/>
                </a:lnTo>
                <a:lnTo>
                  <a:pt x="449" y="51"/>
                </a:lnTo>
                <a:lnTo>
                  <a:pt x="449" y="51"/>
                </a:lnTo>
                <a:lnTo>
                  <a:pt x="449" y="51"/>
                </a:lnTo>
                <a:lnTo>
                  <a:pt x="449" y="51"/>
                </a:lnTo>
                <a:lnTo>
                  <a:pt x="449" y="51"/>
                </a:lnTo>
                <a:lnTo>
                  <a:pt x="449" y="51"/>
                </a:lnTo>
                <a:lnTo>
                  <a:pt x="449" y="52"/>
                </a:lnTo>
                <a:lnTo>
                  <a:pt x="449" y="52"/>
                </a:lnTo>
                <a:lnTo>
                  <a:pt x="449" y="52"/>
                </a:lnTo>
                <a:lnTo>
                  <a:pt x="450" y="52"/>
                </a:lnTo>
                <a:lnTo>
                  <a:pt x="450" y="52"/>
                </a:lnTo>
                <a:lnTo>
                  <a:pt x="450" y="52"/>
                </a:lnTo>
                <a:lnTo>
                  <a:pt x="450" y="52"/>
                </a:lnTo>
                <a:lnTo>
                  <a:pt x="450" y="53"/>
                </a:lnTo>
                <a:lnTo>
                  <a:pt x="450" y="53"/>
                </a:lnTo>
                <a:lnTo>
                  <a:pt x="450" y="53"/>
                </a:lnTo>
                <a:lnTo>
                  <a:pt x="450" y="53"/>
                </a:lnTo>
                <a:lnTo>
                  <a:pt x="450" y="53"/>
                </a:lnTo>
                <a:lnTo>
                  <a:pt x="450" y="53"/>
                </a:lnTo>
                <a:lnTo>
                  <a:pt x="450" y="53"/>
                </a:lnTo>
                <a:lnTo>
                  <a:pt x="450" y="53"/>
                </a:lnTo>
                <a:lnTo>
                  <a:pt x="452" y="54"/>
                </a:lnTo>
                <a:lnTo>
                  <a:pt x="452" y="54"/>
                </a:lnTo>
                <a:lnTo>
                  <a:pt x="452" y="54"/>
                </a:lnTo>
                <a:lnTo>
                  <a:pt x="452" y="54"/>
                </a:lnTo>
                <a:lnTo>
                  <a:pt x="452" y="54"/>
                </a:lnTo>
                <a:lnTo>
                  <a:pt x="452" y="54"/>
                </a:lnTo>
                <a:lnTo>
                  <a:pt x="452" y="54"/>
                </a:lnTo>
                <a:lnTo>
                  <a:pt x="452" y="55"/>
                </a:lnTo>
                <a:lnTo>
                  <a:pt x="452" y="55"/>
                </a:lnTo>
                <a:lnTo>
                  <a:pt x="452" y="55"/>
                </a:lnTo>
                <a:lnTo>
                  <a:pt x="452" y="55"/>
                </a:lnTo>
                <a:lnTo>
                  <a:pt x="452" y="55"/>
                </a:lnTo>
                <a:lnTo>
                  <a:pt x="453" y="55"/>
                </a:lnTo>
                <a:lnTo>
                  <a:pt x="453" y="55"/>
                </a:lnTo>
                <a:lnTo>
                  <a:pt x="453" y="55"/>
                </a:lnTo>
                <a:lnTo>
                  <a:pt x="453" y="56"/>
                </a:lnTo>
                <a:lnTo>
                  <a:pt x="453" y="56"/>
                </a:lnTo>
                <a:lnTo>
                  <a:pt x="453" y="56"/>
                </a:lnTo>
                <a:lnTo>
                  <a:pt x="453" y="56"/>
                </a:lnTo>
                <a:lnTo>
                  <a:pt x="453" y="56"/>
                </a:lnTo>
                <a:lnTo>
                  <a:pt x="453" y="56"/>
                </a:lnTo>
                <a:lnTo>
                  <a:pt x="453" y="56"/>
                </a:lnTo>
                <a:lnTo>
                  <a:pt x="454" y="56"/>
                </a:lnTo>
                <a:lnTo>
                  <a:pt x="454" y="57"/>
                </a:lnTo>
                <a:lnTo>
                  <a:pt x="454" y="57"/>
                </a:lnTo>
                <a:lnTo>
                  <a:pt x="454" y="57"/>
                </a:lnTo>
                <a:lnTo>
                  <a:pt x="454" y="57"/>
                </a:lnTo>
                <a:lnTo>
                  <a:pt x="454" y="57"/>
                </a:lnTo>
                <a:lnTo>
                  <a:pt x="454" y="57"/>
                </a:lnTo>
                <a:lnTo>
                  <a:pt x="454" y="57"/>
                </a:lnTo>
                <a:lnTo>
                  <a:pt x="454" y="57"/>
                </a:lnTo>
                <a:lnTo>
                  <a:pt x="455" y="57"/>
                </a:lnTo>
                <a:lnTo>
                  <a:pt x="455" y="59"/>
                </a:lnTo>
                <a:lnTo>
                  <a:pt x="455" y="59"/>
                </a:lnTo>
                <a:lnTo>
                  <a:pt x="455" y="59"/>
                </a:lnTo>
                <a:lnTo>
                  <a:pt x="455" y="59"/>
                </a:lnTo>
                <a:lnTo>
                  <a:pt x="455" y="59"/>
                </a:lnTo>
                <a:lnTo>
                  <a:pt x="455" y="59"/>
                </a:lnTo>
                <a:lnTo>
                  <a:pt x="455" y="59"/>
                </a:lnTo>
                <a:lnTo>
                  <a:pt x="455" y="59"/>
                </a:lnTo>
                <a:lnTo>
                  <a:pt x="456" y="60"/>
                </a:lnTo>
                <a:lnTo>
                  <a:pt x="456" y="60"/>
                </a:lnTo>
                <a:lnTo>
                  <a:pt x="456" y="60"/>
                </a:lnTo>
                <a:lnTo>
                  <a:pt x="456" y="60"/>
                </a:lnTo>
                <a:lnTo>
                  <a:pt x="456" y="60"/>
                </a:lnTo>
                <a:lnTo>
                  <a:pt x="456" y="60"/>
                </a:lnTo>
                <a:lnTo>
                  <a:pt x="456" y="60"/>
                </a:lnTo>
                <a:lnTo>
                  <a:pt x="456" y="60"/>
                </a:lnTo>
                <a:lnTo>
                  <a:pt x="456" y="60"/>
                </a:lnTo>
                <a:lnTo>
                  <a:pt x="457" y="60"/>
                </a:lnTo>
                <a:lnTo>
                  <a:pt x="457" y="61"/>
                </a:lnTo>
                <a:lnTo>
                  <a:pt x="457" y="61"/>
                </a:lnTo>
                <a:lnTo>
                  <a:pt x="457" y="61"/>
                </a:lnTo>
                <a:lnTo>
                  <a:pt x="457" y="61"/>
                </a:lnTo>
                <a:lnTo>
                  <a:pt x="457" y="61"/>
                </a:lnTo>
                <a:lnTo>
                  <a:pt x="457" y="61"/>
                </a:lnTo>
                <a:lnTo>
                  <a:pt x="457" y="61"/>
                </a:lnTo>
                <a:lnTo>
                  <a:pt x="458" y="61"/>
                </a:lnTo>
                <a:lnTo>
                  <a:pt x="458" y="61"/>
                </a:lnTo>
                <a:lnTo>
                  <a:pt x="458" y="61"/>
                </a:lnTo>
                <a:lnTo>
                  <a:pt x="458" y="62"/>
                </a:lnTo>
                <a:lnTo>
                  <a:pt x="458" y="62"/>
                </a:lnTo>
                <a:lnTo>
                  <a:pt x="458" y="62"/>
                </a:lnTo>
                <a:lnTo>
                  <a:pt x="458" y="62"/>
                </a:lnTo>
                <a:lnTo>
                  <a:pt x="458" y="62"/>
                </a:lnTo>
                <a:lnTo>
                  <a:pt x="459" y="62"/>
                </a:lnTo>
                <a:lnTo>
                  <a:pt x="459" y="62"/>
                </a:lnTo>
                <a:lnTo>
                  <a:pt x="459" y="62"/>
                </a:lnTo>
                <a:lnTo>
                  <a:pt x="459" y="62"/>
                </a:lnTo>
                <a:lnTo>
                  <a:pt x="459" y="62"/>
                </a:lnTo>
                <a:lnTo>
                  <a:pt x="459" y="62"/>
                </a:lnTo>
                <a:lnTo>
                  <a:pt x="459" y="63"/>
                </a:lnTo>
                <a:lnTo>
                  <a:pt x="459" y="63"/>
                </a:lnTo>
                <a:lnTo>
                  <a:pt x="461" y="63"/>
                </a:lnTo>
                <a:lnTo>
                  <a:pt x="461" y="63"/>
                </a:lnTo>
                <a:lnTo>
                  <a:pt x="461" y="63"/>
                </a:lnTo>
                <a:lnTo>
                  <a:pt x="461" y="63"/>
                </a:lnTo>
                <a:lnTo>
                  <a:pt x="461" y="63"/>
                </a:lnTo>
                <a:lnTo>
                  <a:pt x="461" y="63"/>
                </a:lnTo>
                <a:lnTo>
                  <a:pt x="461" y="63"/>
                </a:lnTo>
                <a:lnTo>
                  <a:pt x="462" y="63"/>
                </a:lnTo>
                <a:lnTo>
                  <a:pt x="462" y="63"/>
                </a:lnTo>
                <a:lnTo>
                  <a:pt x="462" y="63"/>
                </a:lnTo>
                <a:lnTo>
                  <a:pt x="462" y="64"/>
                </a:lnTo>
                <a:lnTo>
                  <a:pt x="462" y="64"/>
                </a:lnTo>
                <a:lnTo>
                  <a:pt x="462" y="64"/>
                </a:lnTo>
                <a:lnTo>
                  <a:pt x="462" y="64"/>
                </a:lnTo>
                <a:lnTo>
                  <a:pt x="463" y="64"/>
                </a:lnTo>
                <a:lnTo>
                  <a:pt x="463" y="64"/>
                </a:lnTo>
                <a:lnTo>
                  <a:pt x="463" y="64"/>
                </a:lnTo>
                <a:lnTo>
                  <a:pt x="463" y="64"/>
                </a:lnTo>
                <a:lnTo>
                  <a:pt x="463" y="64"/>
                </a:lnTo>
                <a:lnTo>
                  <a:pt x="463" y="64"/>
                </a:lnTo>
                <a:lnTo>
                  <a:pt x="463" y="64"/>
                </a:lnTo>
                <a:lnTo>
                  <a:pt x="464" y="64"/>
                </a:lnTo>
                <a:lnTo>
                  <a:pt x="464" y="64"/>
                </a:lnTo>
                <a:lnTo>
                  <a:pt x="464" y="65"/>
                </a:lnTo>
                <a:lnTo>
                  <a:pt x="464" y="65"/>
                </a:lnTo>
                <a:lnTo>
                  <a:pt x="464" y="65"/>
                </a:lnTo>
                <a:lnTo>
                  <a:pt x="464" y="65"/>
                </a:lnTo>
                <a:lnTo>
                  <a:pt x="464" y="65"/>
                </a:lnTo>
                <a:lnTo>
                  <a:pt x="465" y="65"/>
                </a:lnTo>
                <a:lnTo>
                  <a:pt x="465" y="65"/>
                </a:lnTo>
                <a:lnTo>
                  <a:pt x="465" y="65"/>
                </a:lnTo>
                <a:lnTo>
                  <a:pt x="465" y="65"/>
                </a:lnTo>
                <a:lnTo>
                  <a:pt x="465" y="65"/>
                </a:lnTo>
                <a:lnTo>
                  <a:pt x="465" y="65"/>
                </a:lnTo>
                <a:lnTo>
                  <a:pt x="465" y="65"/>
                </a:lnTo>
                <a:lnTo>
                  <a:pt x="466" y="65"/>
                </a:lnTo>
                <a:lnTo>
                  <a:pt x="466" y="65"/>
                </a:lnTo>
                <a:lnTo>
                  <a:pt x="466" y="65"/>
                </a:lnTo>
                <a:lnTo>
                  <a:pt x="466" y="65"/>
                </a:lnTo>
                <a:lnTo>
                  <a:pt x="466" y="65"/>
                </a:lnTo>
                <a:lnTo>
                  <a:pt x="466" y="66"/>
                </a:lnTo>
                <a:lnTo>
                  <a:pt x="467" y="66"/>
                </a:lnTo>
                <a:lnTo>
                  <a:pt x="467" y="66"/>
                </a:lnTo>
                <a:lnTo>
                  <a:pt x="467" y="66"/>
                </a:lnTo>
                <a:lnTo>
                  <a:pt x="467" y="66"/>
                </a:lnTo>
                <a:lnTo>
                  <a:pt x="467" y="66"/>
                </a:lnTo>
                <a:lnTo>
                  <a:pt x="467" y="66"/>
                </a:lnTo>
                <a:lnTo>
                  <a:pt x="467" y="66"/>
                </a:lnTo>
                <a:lnTo>
                  <a:pt x="469" y="66"/>
                </a:lnTo>
                <a:lnTo>
                  <a:pt x="469" y="66"/>
                </a:lnTo>
                <a:lnTo>
                  <a:pt x="469" y="66"/>
                </a:lnTo>
                <a:lnTo>
                  <a:pt x="469" y="66"/>
                </a:lnTo>
                <a:lnTo>
                  <a:pt x="469" y="66"/>
                </a:lnTo>
                <a:lnTo>
                  <a:pt x="469" y="66"/>
                </a:lnTo>
                <a:lnTo>
                  <a:pt x="470" y="66"/>
                </a:lnTo>
                <a:lnTo>
                  <a:pt x="470" y="66"/>
                </a:lnTo>
                <a:lnTo>
                  <a:pt x="470" y="66"/>
                </a:lnTo>
                <a:lnTo>
                  <a:pt x="470" y="66"/>
                </a:lnTo>
                <a:lnTo>
                  <a:pt x="470" y="66"/>
                </a:lnTo>
                <a:lnTo>
                  <a:pt x="470" y="66"/>
                </a:lnTo>
                <a:lnTo>
                  <a:pt x="470" y="66"/>
                </a:lnTo>
                <a:lnTo>
                  <a:pt x="471" y="66"/>
                </a:lnTo>
                <a:lnTo>
                  <a:pt x="471" y="66"/>
                </a:lnTo>
                <a:lnTo>
                  <a:pt x="471" y="66"/>
                </a:lnTo>
                <a:lnTo>
                  <a:pt x="471" y="68"/>
                </a:lnTo>
                <a:lnTo>
                  <a:pt x="471" y="68"/>
                </a:lnTo>
                <a:lnTo>
                  <a:pt x="471" y="68"/>
                </a:lnTo>
                <a:lnTo>
                  <a:pt x="472" y="68"/>
                </a:lnTo>
                <a:lnTo>
                  <a:pt x="472" y="68"/>
                </a:lnTo>
                <a:lnTo>
                  <a:pt x="472" y="68"/>
                </a:lnTo>
                <a:lnTo>
                  <a:pt x="472" y="68"/>
                </a:lnTo>
                <a:lnTo>
                  <a:pt x="472" y="68"/>
                </a:lnTo>
                <a:lnTo>
                  <a:pt x="472" y="68"/>
                </a:lnTo>
                <a:lnTo>
                  <a:pt x="473" y="68"/>
                </a:lnTo>
                <a:lnTo>
                  <a:pt x="473" y="68"/>
                </a:lnTo>
                <a:lnTo>
                  <a:pt x="473" y="68"/>
                </a:lnTo>
                <a:lnTo>
                  <a:pt x="473" y="68"/>
                </a:lnTo>
                <a:lnTo>
                  <a:pt x="473" y="68"/>
                </a:lnTo>
                <a:lnTo>
                  <a:pt x="473" y="68"/>
                </a:lnTo>
                <a:lnTo>
                  <a:pt x="474" y="68"/>
                </a:lnTo>
                <a:lnTo>
                  <a:pt x="474" y="68"/>
                </a:lnTo>
                <a:lnTo>
                  <a:pt x="474" y="68"/>
                </a:lnTo>
                <a:lnTo>
                  <a:pt x="474" y="68"/>
                </a:lnTo>
                <a:lnTo>
                  <a:pt x="474" y="68"/>
                </a:lnTo>
                <a:lnTo>
                  <a:pt x="474" y="68"/>
                </a:lnTo>
                <a:lnTo>
                  <a:pt x="475" y="68"/>
                </a:lnTo>
                <a:lnTo>
                  <a:pt x="475" y="68"/>
                </a:lnTo>
                <a:lnTo>
                  <a:pt x="475" y="68"/>
                </a:lnTo>
                <a:lnTo>
                  <a:pt x="475" y="68"/>
                </a:lnTo>
                <a:lnTo>
                  <a:pt x="475" y="68"/>
                </a:lnTo>
                <a:lnTo>
                  <a:pt x="475" y="68"/>
                </a:lnTo>
                <a:lnTo>
                  <a:pt x="476" y="68"/>
                </a:lnTo>
                <a:lnTo>
                  <a:pt x="476" y="68"/>
                </a:lnTo>
                <a:lnTo>
                  <a:pt x="476" y="68"/>
                </a:lnTo>
                <a:lnTo>
                  <a:pt x="476" y="68"/>
                </a:lnTo>
                <a:lnTo>
                  <a:pt x="476" y="68"/>
                </a:lnTo>
                <a:lnTo>
                  <a:pt x="476" y="68"/>
                </a:lnTo>
                <a:lnTo>
                  <a:pt x="478" y="68"/>
                </a:lnTo>
                <a:lnTo>
                  <a:pt x="478" y="68"/>
                </a:lnTo>
                <a:lnTo>
                  <a:pt x="478" y="68"/>
                </a:lnTo>
                <a:lnTo>
                  <a:pt x="478" y="68"/>
                </a:lnTo>
                <a:lnTo>
                  <a:pt x="478" y="68"/>
                </a:lnTo>
                <a:lnTo>
                  <a:pt x="478" y="68"/>
                </a:lnTo>
                <a:lnTo>
                  <a:pt x="479" y="68"/>
                </a:lnTo>
                <a:lnTo>
                  <a:pt x="479" y="68"/>
                </a:lnTo>
                <a:lnTo>
                  <a:pt x="479" y="68"/>
                </a:lnTo>
                <a:lnTo>
                  <a:pt x="479" y="68"/>
                </a:lnTo>
                <a:lnTo>
                  <a:pt x="479" y="68"/>
                </a:lnTo>
                <a:lnTo>
                  <a:pt x="479" y="68"/>
                </a:lnTo>
                <a:lnTo>
                  <a:pt x="480" y="68"/>
                </a:lnTo>
                <a:lnTo>
                  <a:pt x="480" y="68"/>
                </a:lnTo>
                <a:lnTo>
                  <a:pt x="480" y="68"/>
                </a:lnTo>
                <a:lnTo>
                  <a:pt x="480" y="68"/>
                </a:lnTo>
                <a:lnTo>
                  <a:pt x="480" y="68"/>
                </a:lnTo>
                <a:lnTo>
                  <a:pt x="480" y="68"/>
                </a:lnTo>
                <a:lnTo>
                  <a:pt x="481" y="68"/>
                </a:lnTo>
                <a:lnTo>
                  <a:pt x="481" y="68"/>
                </a:lnTo>
                <a:lnTo>
                  <a:pt x="481" y="68"/>
                </a:lnTo>
                <a:lnTo>
                  <a:pt x="481" y="68"/>
                </a:lnTo>
                <a:lnTo>
                  <a:pt x="481" y="68"/>
                </a:lnTo>
                <a:lnTo>
                  <a:pt x="481" y="68"/>
                </a:lnTo>
                <a:lnTo>
                  <a:pt x="482" y="66"/>
                </a:lnTo>
                <a:lnTo>
                  <a:pt x="482" y="66"/>
                </a:lnTo>
                <a:lnTo>
                  <a:pt x="482" y="66"/>
                </a:lnTo>
                <a:lnTo>
                  <a:pt x="482" y="66"/>
                </a:lnTo>
                <a:lnTo>
                  <a:pt x="482" y="66"/>
                </a:lnTo>
                <a:lnTo>
                  <a:pt x="482" y="66"/>
                </a:lnTo>
                <a:lnTo>
                  <a:pt x="483" y="66"/>
                </a:lnTo>
                <a:lnTo>
                  <a:pt x="483" y="66"/>
                </a:lnTo>
                <a:lnTo>
                  <a:pt x="483" y="66"/>
                </a:lnTo>
                <a:lnTo>
                  <a:pt x="483" y="66"/>
                </a:lnTo>
                <a:lnTo>
                  <a:pt x="483" y="66"/>
                </a:lnTo>
                <a:lnTo>
                  <a:pt x="483" y="66"/>
                </a:lnTo>
                <a:lnTo>
                  <a:pt x="484" y="66"/>
                </a:lnTo>
                <a:lnTo>
                  <a:pt x="484" y="66"/>
                </a:lnTo>
                <a:lnTo>
                  <a:pt x="484" y="66"/>
                </a:lnTo>
                <a:lnTo>
                  <a:pt x="484" y="66"/>
                </a:lnTo>
                <a:lnTo>
                  <a:pt x="484" y="66"/>
                </a:lnTo>
                <a:lnTo>
                  <a:pt x="484" y="66"/>
                </a:lnTo>
                <a:lnTo>
                  <a:pt x="484" y="66"/>
                </a:lnTo>
                <a:lnTo>
                  <a:pt x="485" y="66"/>
                </a:lnTo>
                <a:lnTo>
                  <a:pt x="485" y="66"/>
                </a:lnTo>
                <a:lnTo>
                  <a:pt x="485" y="66"/>
                </a:lnTo>
                <a:lnTo>
                  <a:pt x="485" y="66"/>
                </a:lnTo>
                <a:lnTo>
                  <a:pt x="485" y="66"/>
                </a:lnTo>
                <a:lnTo>
                  <a:pt x="485" y="65"/>
                </a:lnTo>
                <a:lnTo>
                  <a:pt x="487" y="65"/>
                </a:lnTo>
                <a:lnTo>
                  <a:pt x="487" y="65"/>
                </a:lnTo>
                <a:lnTo>
                  <a:pt x="487" y="65"/>
                </a:lnTo>
                <a:lnTo>
                  <a:pt x="487" y="65"/>
                </a:lnTo>
                <a:lnTo>
                  <a:pt x="487" y="65"/>
                </a:lnTo>
                <a:lnTo>
                  <a:pt x="487" y="65"/>
                </a:lnTo>
                <a:lnTo>
                  <a:pt x="487" y="65"/>
                </a:lnTo>
                <a:lnTo>
                  <a:pt x="488" y="65"/>
                </a:lnTo>
                <a:lnTo>
                  <a:pt x="488" y="65"/>
                </a:lnTo>
                <a:lnTo>
                  <a:pt x="488" y="65"/>
                </a:lnTo>
                <a:lnTo>
                  <a:pt x="488" y="65"/>
                </a:lnTo>
                <a:lnTo>
                  <a:pt x="488" y="65"/>
                </a:lnTo>
                <a:lnTo>
                  <a:pt x="488" y="65"/>
                </a:lnTo>
                <a:lnTo>
                  <a:pt x="488" y="65"/>
                </a:lnTo>
                <a:lnTo>
                  <a:pt x="489" y="65"/>
                </a:lnTo>
                <a:lnTo>
                  <a:pt x="489" y="65"/>
                </a:lnTo>
                <a:lnTo>
                  <a:pt x="489" y="64"/>
                </a:lnTo>
                <a:lnTo>
                  <a:pt x="489" y="64"/>
                </a:lnTo>
                <a:lnTo>
                  <a:pt x="489" y="64"/>
                </a:lnTo>
                <a:lnTo>
                  <a:pt x="489" y="64"/>
                </a:lnTo>
                <a:lnTo>
                  <a:pt x="489" y="64"/>
                </a:lnTo>
                <a:lnTo>
                  <a:pt x="490" y="64"/>
                </a:lnTo>
                <a:lnTo>
                  <a:pt x="490" y="64"/>
                </a:lnTo>
                <a:lnTo>
                  <a:pt x="490" y="64"/>
                </a:lnTo>
                <a:lnTo>
                  <a:pt x="490" y="64"/>
                </a:lnTo>
                <a:lnTo>
                  <a:pt x="490" y="64"/>
                </a:lnTo>
                <a:lnTo>
                  <a:pt x="490" y="64"/>
                </a:lnTo>
                <a:lnTo>
                  <a:pt x="490" y="64"/>
                </a:lnTo>
                <a:lnTo>
                  <a:pt x="491" y="64"/>
                </a:lnTo>
                <a:lnTo>
                  <a:pt x="491" y="63"/>
                </a:lnTo>
                <a:lnTo>
                  <a:pt x="491" y="63"/>
                </a:lnTo>
                <a:lnTo>
                  <a:pt x="491" y="63"/>
                </a:lnTo>
                <a:lnTo>
                  <a:pt x="491" y="63"/>
                </a:lnTo>
                <a:lnTo>
                  <a:pt x="491" y="63"/>
                </a:lnTo>
                <a:lnTo>
                  <a:pt x="491" y="63"/>
                </a:lnTo>
                <a:lnTo>
                  <a:pt x="492" y="63"/>
                </a:lnTo>
                <a:lnTo>
                  <a:pt x="492" y="63"/>
                </a:lnTo>
                <a:lnTo>
                  <a:pt x="492" y="63"/>
                </a:lnTo>
                <a:lnTo>
                  <a:pt x="492" y="63"/>
                </a:lnTo>
                <a:lnTo>
                  <a:pt x="492" y="63"/>
                </a:lnTo>
                <a:lnTo>
                  <a:pt x="492" y="63"/>
                </a:lnTo>
                <a:lnTo>
                  <a:pt x="492" y="62"/>
                </a:lnTo>
                <a:lnTo>
                  <a:pt x="493" y="62"/>
                </a:lnTo>
                <a:lnTo>
                  <a:pt x="493" y="62"/>
                </a:lnTo>
                <a:lnTo>
                  <a:pt x="493" y="62"/>
                </a:lnTo>
                <a:lnTo>
                  <a:pt x="493" y="62"/>
                </a:lnTo>
                <a:lnTo>
                  <a:pt x="493" y="62"/>
                </a:lnTo>
                <a:lnTo>
                  <a:pt x="493" y="62"/>
                </a:lnTo>
                <a:lnTo>
                  <a:pt x="493" y="62"/>
                </a:lnTo>
                <a:lnTo>
                  <a:pt x="493" y="62"/>
                </a:lnTo>
                <a:lnTo>
                  <a:pt x="494" y="62"/>
                </a:lnTo>
                <a:lnTo>
                  <a:pt x="494" y="62"/>
                </a:lnTo>
                <a:lnTo>
                  <a:pt x="494" y="61"/>
                </a:lnTo>
                <a:lnTo>
                  <a:pt x="494" y="61"/>
                </a:lnTo>
                <a:lnTo>
                  <a:pt x="494" y="61"/>
                </a:lnTo>
                <a:lnTo>
                  <a:pt x="494" y="61"/>
                </a:lnTo>
                <a:lnTo>
                  <a:pt x="494" y="61"/>
                </a:lnTo>
                <a:lnTo>
                  <a:pt x="494" y="61"/>
                </a:lnTo>
                <a:lnTo>
                  <a:pt x="496" y="61"/>
                </a:lnTo>
                <a:lnTo>
                  <a:pt x="496" y="61"/>
                </a:lnTo>
                <a:lnTo>
                  <a:pt x="496" y="61"/>
                </a:lnTo>
                <a:lnTo>
                  <a:pt x="496" y="61"/>
                </a:lnTo>
                <a:lnTo>
                  <a:pt x="496" y="60"/>
                </a:lnTo>
                <a:lnTo>
                  <a:pt x="496" y="60"/>
                </a:lnTo>
                <a:lnTo>
                  <a:pt x="496" y="60"/>
                </a:lnTo>
                <a:lnTo>
                  <a:pt x="496" y="60"/>
                </a:lnTo>
                <a:lnTo>
                  <a:pt x="497" y="60"/>
                </a:lnTo>
                <a:lnTo>
                  <a:pt x="497" y="60"/>
                </a:lnTo>
                <a:lnTo>
                  <a:pt x="497" y="60"/>
                </a:lnTo>
                <a:lnTo>
                  <a:pt x="497" y="60"/>
                </a:lnTo>
                <a:lnTo>
                  <a:pt x="497" y="60"/>
                </a:lnTo>
                <a:lnTo>
                  <a:pt x="497" y="60"/>
                </a:lnTo>
                <a:lnTo>
                  <a:pt x="497" y="59"/>
                </a:lnTo>
                <a:lnTo>
                  <a:pt x="497" y="59"/>
                </a:lnTo>
                <a:lnTo>
                  <a:pt x="497" y="59"/>
                </a:lnTo>
                <a:lnTo>
                  <a:pt x="498" y="59"/>
                </a:lnTo>
                <a:lnTo>
                  <a:pt x="498" y="59"/>
                </a:lnTo>
                <a:lnTo>
                  <a:pt x="498" y="59"/>
                </a:lnTo>
                <a:lnTo>
                  <a:pt x="498" y="59"/>
                </a:lnTo>
                <a:lnTo>
                  <a:pt x="498" y="59"/>
                </a:lnTo>
                <a:lnTo>
                  <a:pt x="498" y="57"/>
                </a:lnTo>
                <a:lnTo>
                  <a:pt x="498" y="57"/>
                </a:lnTo>
                <a:lnTo>
                  <a:pt x="498" y="57"/>
                </a:lnTo>
                <a:lnTo>
                  <a:pt x="498" y="57"/>
                </a:lnTo>
                <a:lnTo>
                  <a:pt x="499" y="57"/>
                </a:lnTo>
                <a:lnTo>
                  <a:pt x="499" y="57"/>
                </a:lnTo>
                <a:lnTo>
                  <a:pt x="499" y="57"/>
                </a:lnTo>
                <a:lnTo>
                  <a:pt x="499" y="57"/>
                </a:lnTo>
                <a:lnTo>
                  <a:pt x="499" y="57"/>
                </a:lnTo>
                <a:lnTo>
                  <a:pt x="499" y="56"/>
                </a:lnTo>
                <a:lnTo>
                  <a:pt x="499" y="56"/>
                </a:lnTo>
                <a:lnTo>
                  <a:pt x="499" y="56"/>
                </a:lnTo>
                <a:lnTo>
                  <a:pt x="499" y="56"/>
                </a:lnTo>
                <a:lnTo>
                  <a:pt x="499" y="56"/>
                </a:lnTo>
                <a:lnTo>
                  <a:pt x="500" y="56"/>
                </a:lnTo>
                <a:lnTo>
                  <a:pt x="500" y="56"/>
                </a:lnTo>
                <a:lnTo>
                  <a:pt x="500" y="56"/>
                </a:lnTo>
                <a:lnTo>
                  <a:pt x="500" y="55"/>
                </a:lnTo>
                <a:lnTo>
                  <a:pt x="500" y="55"/>
                </a:lnTo>
                <a:lnTo>
                  <a:pt x="500" y="55"/>
                </a:lnTo>
                <a:lnTo>
                  <a:pt x="500" y="55"/>
                </a:lnTo>
                <a:lnTo>
                  <a:pt x="500" y="55"/>
                </a:lnTo>
                <a:lnTo>
                  <a:pt x="500" y="55"/>
                </a:lnTo>
                <a:lnTo>
                  <a:pt x="500" y="55"/>
                </a:lnTo>
                <a:lnTo>
                  <a:pt x="500" y="55"/>
                </a:lnTo>
                <a:lnTo>
                  <a:pt x="501" y="54"/>
                </a:lnTo>
                <a:lnTo>
                  <a:pt x="501" y="54"/>
                </a:lnTo>
                <a:lnTo>
                  <a:pt x="501" y="54"/>
                </a:lnTo>
                <a:lnTo>
                  <a:pt x="501" y="54"/>
                </a:lnTo>
                <a:lnTo>
                  <a:pt x="501" y="54"/>
                </a:lnTo>
                <a:lnTo>
                  <a:pt x="501" y="54"/>
                </a:lnTo>
                <a:lnTo>
                  <a:pt x="501" y="54"/>
                </a:lnTo>
                <a:lnTo>
                  <a:pt x="501" y="53"/>
                </a:lnTo>
                <a:lnTo>
                  <a:pt x="501" y="53"/>
                </a:lnTo>
                <a:lnTo>
                  <a:pt x="501" y="53"/>
                </a:lnTo>
                <a:lnTo>
                  <a:pt x="501" y="53"/>
                </a:lnTo>
                <a:lnTo>
                  <a:pt x="502" y="53"/>
                </a:lnTo>
                <a:lnTo>
                  <a:pt x="502" y="53"/>
                </a:lnTo>
                <a:lnTo>
                  <a:pt x="502" y="53"/>
                </a:lnTo>
                <a:lnTo>
                  <a:pt x="502" y="53"/>
                </a:lnTo>
                <a:lnTo>
                  <a:pt x="502" y="52"/>
                </a:lnTo>
                <a:lnTo>
                  <a:pt x="502" y="52"/>
                </a:lnTo>
                <a:lnTo>
                  <a:pt x="502" y="52"/>
                </a:lnTo>
                <a:lnTo>
                  <a:pt x="502" y="52"/>
                </a:lnTo>
                <a:lnTo>
                  <a:pt x="502" y="52"/>
                </a:lnTo>
                <a:lnTo>
                  <a:pt x="502" y="52"/>
                </a:lnTo>
                <a:lnTo>
                  <a:pt x="502" y="52"/>
                </a:lnTo>
                <a:lnTo>
                  <a:pt x="502" y="51"/>
                </a:lnTo>
                <a:lnTo>
                  <a:pt x="502" y="51"/>
                </a:lnTo>
                <a:lnTo>
                  <a:pt x="502" y="51"/>
                </a:lnTo>
                <a:lnTo>
                  <a:pt x="503" y="51"/>
                </a:lnTo>
                <a:lnTo>
                  <a:pt x="503" y="51"/>
                </a:lnTo>
                <a:lnTo>
                  <a:pt x="503" y="51"/>
                </a:lnTo>
                <a:lnTo>
                  <a:pt x="503" y="51"/>
                </a:lnTo>
                <a:lnTo>
                  <a:pt x="503" y="50"/>
                </a:lnTo>
                <a:lnTo>
                  <a:pt x="503" y="50"/>
                </a:lnTo>
                <a:lnTo>
                  <a:pt x="503" y="50"/>
                </a:lnTo>
                <a:lnTo>
                  <a:pt x="503" y="50"/>
                </a:lnTo>
                <a:lnTo>
                  <a:pt x="503" y="50"/>
                </a:lnTo>
                <a:lnTo>
                  <a:pt x="503" y="50"/>
                </a:lnTo>
                <a:lnTo>
                  <a:pt x="503" y="48"/>
                </a:lnTo>
                <a:lnTo>
                  <a:pt x="503" y="48"/>
                </a:lnTo>
                <a:lnTo>
                  <a:pt x="503" y="48"/>
                </a:lnTo>
                <a:lnTo>
                  <a:pt x="503" y="48"/>
                </a:lnTo>
                <a:lnTo>
                  <a:pt x="503" y="48"/>
                </a:lnTo>
                <a:lnTo>
                  <a:pt x="505" y="48"/>
                </a:lnTo>
                <a:lnTo>
                  <a:pt x="505" y="48"/>
                </a:lnTo>
                <a:lnTo>
                  <a:pt x="505" y="47"/>
                </a:lnTo>
                <a:lnTo>
                  <a:pt x="505" y="47"/>
                </a:lnTo>
                <a:lnTo>
                  <a:pt x="505" y="47"/>
                </a:lnTo>
                <a:lnTo>
                  <a:pt x="505" y="47"/>
                </a:lnTo>
                <a:lnTo>
                  <a:pt x="505" y="47"/>
                </a:lnTo>
                <a:lnTo>
                  <a:pt x="505" y="47"/>
                </a:lnTo>
                <a:lnTo>
                  <a:pt x="505" y="47"/>
                </a:lnTo>
                <a:lnTo>
                  <a:pt x="505" y="46"/>
                </a:lnTo>
                <a:lnTo>
                  <a:pt x="505" y="46"/>
                </a:lnTo>
                <a:lnTo>
                  <a:pt x="505" y="46"/>
                </a:lnTo>
                <a:lnTo>
                  <a:pt x="505" y="46"/>
                </a:lnTo>
                <a:lnTo>
                  <a:pt x="505" y="46"/>
                </a:lnTo>
                <a:lnTo>
                  <a:pt x="505" y="46"/>
                </a:lnTo>
                <a:lnTo>
                  <a:pt x="505" y="45"/>
                </a:lnTo>
                <a:lnTo>
                  <a:pt x="505" y="45"/>
                </a:lnTo>
                <a:lnTo>
                  <a:pt x="505" y="45"/>
                </a:lnTo>
                <a:lnTo>
                  <a:pt x="505" y="45"/>
                </a:lnTo>
                <a:lnTo>
                  <a:pt x="505" y="45"/>
                </a:lnTo>
                <a:lnTo>
                  <a:pt x="505" y="45"/>
                </a:lnTo>
                <a:lnTo>
                  <a:pt x="505" y="44"/>
                </a:lnTo>
                <a:lnTo>
                  <a:pt x="506" y="44"/>
                </a:lnTo>
                <a:lnTo>
                  <a:pt x="506" y="44"/>
                </a:lnTo>
                <a:lnTo>
                  <a:pt x="506" y="44"/>
                </a:lnTo>
                <a:lnTo>
                  <a:pt x="506" y="44"/>
                </a:lnTo>
                <a:lnTo>
                  <a:pt x="506" y="44"/>
                </a:lnTo>
                <a:lnTo>
                  <a:pt x="506" y="44"/>
                </a:lnTo>
                <a:lnTo>
                  <a:pt x="506" y="43"/>
                </a:lnTo>
                <a:lnTo>
                  <a:pt x="506" y="43"/>
                </a:lnTo>
                <a:lnTo>
                  <a:pt x="506" y="43"/>
                </a:lnTo>
                <a:lnTo>
                  <a:pt x="506" y="43"/>
                </a:lnTo>
                <a:lnTo>
                  <a:pt x="506" y="43"/>
                </a:lnTo>
                <a:lnTo>
                  <a:pt x="506" y="43"/>
                </a:lnTo>
                <a:lnTo>
                  <a:pt x="506" y="42"/>
                </a:lnTo>
                <a:lnTo>
                  <a:pt x="506" y="42"/>
                </a:lnTo>
                <a:lnTo>
                  <a:pt x="506" y="42"/>
                </a:lnTo>
                <a:lnTo>
                  <a:pt x="506" y="42"/>
                </a:lnTo>
                <a:lnTo>
                  <a:pt x="506" y="42"/>
                </a:lnTo>
                <a:lnTo>
                  <a:pt x="506" y="42"/>
                </a:lnTo>
                <a:lnTo>
                  <a:pt x="506" y="41"/>
                </a:lnTo>
                <a:lnTo>
                  <a:pt x="506" y="41"/>
                </a:lnTo>
                <a:lnTo>
                  <a:pt x="506" y="41"/>
                </a:lnTo>
                <a:lnTo>
                  <a:pt x="506" y="41"/>
                </a:lnTo>
                <a:lnTo>
                  <a:pt x="506" y="41"/>
                </a:lnTo>
                <a:lnTo>
                  <a:pt x="506" y="41"/>
                </a:lnTo>
                <a:lnTo>
                  <a:pt x="506" y="39"/>
                </a:lnTo>
                <a:lnTo>
                  <a:pt x="506" y="39"/>
                </a:lnTo>
                <a:lnTo>
                  <a:pt x="506" y="39"/>
                </a:lnTo>
                <a:lnTo>
                  <a:pt x="506" y="39"/>
                </a:lnTo>
                <a:lnTo>
                  <a:pt x="506" y="39"/>
                </a:lnTo>
                <a:lnTo>
                  <a:pt x="506" y="39"/>
                </a:lnTo>
                <a:lnTo>
                  <a:pt x="506" y="38"/>
                </a:lnTo>
                <a:lnTo>
                  <a:pt x="506" y="38"/>
                </a:lnTo>
                <a:lnTo>
                  <a:pt x="506" y="38"/>
                </a:lnTo>
                <a:lnTo>
                  <a:pt x="506" y="38"/>
                </a:lnTo>
                <a:lnTo>
                  <a:pt x="506" y="38"/>
                </a:lnTo>
                <a:lnTo>
                  <a:pt x="506" y="38"/>
                </a:lnTo>
                <a:lnTo>
                  <a:pt x="506" y="37"/>
                </a:lnTo>
                <a:lnTo>
                  <a:pt x="506" y="37"/>
                </a:lnTo>
                <a:lnTo>
                  <a:pt x="506" y="37"/>
                </a:lnTo>
                <a:lnTo>
                  <a:pt x="506" y="37"/>
                </a:lnTo>
                <a:lnTo>
                  <a:pt x="506" y="37"/>
                </a:lnTo>
                <a:lnTo>
                  <a:pt x="506" y="37"/>
                </a:lnTo>
                <a:lnTo>
                  <a:pt x="506" y="36"/>
                </a:lnTo>
                <a:lnTo>
                  <a:pt x="506" y="36"/>
                </a:lnTo>
                <a:lnTo>
                  <a:pt x="506" y="36"/>
                </a:lnTo>
                <a:lnTo>
                  <a:pt x="506" y="36"/>
                </a:lnTo>
                <a:lnTo>
                  <a:pt x="506" y="36"/>
                </a:lnTo>
                <a:lnTo>
                  <a:pt x="506" y="36"/>
                </a:lnTo>
                <a:lnTo>
                  <a:pt x="506" y="35"/>
                </a:lnTo>
                <a:lnTo>
                  <a:pt x="506" y="35"/>
                </a:lnTo>
                <a:lnTo>
                  <a:pt x="506" y="35"/>
                </a:lnTo>
                <a:lnTo>
                  <a:pt x="506" y="35"/>
                </a:lnTo>
                <a:lnTo>
                  <a:pt x="506" y="35"/>
                </a:lnTo>
                <a:lnTo>
                  <a:pt x="506" y="35"/>
                </a:lnTo>
                <a:lnTo>
                  <a:pt x="506" y="34"/>
                </a:lnTo>
                <a:lnTo>
                  <a:pt x="506" y="34"/>
                </a:lnTo>
                <a:lnTo>
                  <a:pt x="506" y="34"/>
                </a:lnTo>
                <a:lnTo>
                  <a:pt x="506" y="34"/>
                </a:lnTo>
                <a:lnTo>
                  <a:pt x="506" y="34"/>
                </a:lnTo>
                <a:lnTo>
                  <a:pt x="506" y="34"/>
                </a:lnTo>
                <a:lnTo>
                  <a:pt x="506" y="33"/>
                </a:lnTo>
                <a:lnTo>
                  <a:pt x="506" y="33"/>
                </a:lnTo>
                <a:lnTo>
                  <a:pt x="506" y="33"/>
                </a:lnTo>
                <a:lnTo>
                  <a:pt x="506" y="33"/>
                </a:lnTo>
                <a:lnTo>
                  <a:pt x="506" y="33"/>
                </a:lnTo>
                <a:lnTo>
                  <a:pt x="506" y="33"/>
                </a:lnTo>
                <a:lnTo>
                  <a:pt x="506" y="32"/>
                </a:lnTo>
                <a:lnTo>
                  <a:pt x="506" y="32"/>
                </a:lnTo>
                <a:lnTo>
                  <a:pt x="506" y="32"/>
                </a:lnTo>
                <a:lnTo>
                  <a:pt x="506" y="32"/>
                </a:lnTo>
                <a:lnTo>
                  <a:pt x="506" y="32"/>
                </a:lnTo>
                <a:lnTo>
                  <a:pt x="505" y="32"/>
                </a:lnTo>
                <a:lnTo>
                  <a:pt x="505" y="30"/>
                </a:lnTo>
                <a:lnTo>
                  <a:pt x="505" y="30"/>
                </a:lnTo>
                <a:lnTo>
                  <a:pt x="505" y="30"/>
                </a:lnTo>
                <a:lnTo>
                  <a:pt x="505" y="30"/>
                </a:lnTo>
                <a:lnTo>
                  <a:pt x="505" y="30"/>
                </a:lnTo>
                <a:lnTo>
                  <a:pt x="505" y="30"/>
                </a:lnTo>
                <a:lnTo>
                  <a:pt x="505" y="30"/>
                </a:lnTo>
                <a:lnTo>
                  <a:pt x="505" y="29"/>
                </a:lnTo>
                <a:lnTo>
                  <a:pt x="505" y="29"/>
                </a:lnTo>
                <a:lnTo>
                  <a:pt x="505" y="29"/>
                </a:lnTo>
                <a:lnTo>
                  <a:pt x="505" y="29"/>
                </a:lnTo>
                <a:lnTo>
                  <a:pt x="505" y="29"/>
                </a:lnTo>
                <a:lnTo>
                  <a:pt x="505" y="29"/>
                </a:lnTo>
                <a:lnTo>
                  <a:pt x="505" y="28"/>
                </a:lnTo>
                <a:lnTo>
                  <a:pt x="505" y="28"/>
                </a:lnTo>
                <a:lnTo>
                  <a:pt x="505" y="28"/>
                </a:lnTo>
                <a:lnTo>
                  <a:pt x="505" y="28"/>
                </a:lnTo>
                <a:lnTo>
                  <a:pt x="505" y="28"/>
                </a:lnTo>
                <a:lnTo>
                  <a:pt x="505" y="28"/>
                </a:lnTo>
                <a:lnTo>
                  <a:pt x="505" y="27"/>
                </a:lnTo>
                <a:lnTo>
                  <a:pt x="505" y="27"/>
                </a:lnTo>
                <a:lnTo>
                  <a:pt x="503" y="27"/>
                </a:lnTo>
                <a:lnTo>
                  <a:pt x="503" y="27"/>
                </a:lnTo>
                <a:lnTo>
                  <a:pt x="503" y="27"/>
                </a:lnTo>
                <a:lnTo>
                  <a:pt x="503" y="27"/>
                </a:lnTo>
                <a:lnTo>
                  <a:pt x="503" y="27"/>
                </a:lnTo>
                <a:lnTo>
                  <a:pt x="503" y="26"/>
                </a:lnTo>
                <a:lnTo>
                  <a:pt x="503" y="26"/>
                </a:lnTo>
                <a:lnTo>
                  <a:pt x="503" y="26"/>
                </a:lnTo>
                <a:lnTo>
                  <a:pt x="503" y="26"/>
                </a:lnTo>
                <a:lnTo>
                  <a:pt x="503" y="26"/>
                </a:lnTo>
                <a:lnTo>
                  <a:pt x="503" y="26"/>
                </a:lnTo>
                <a:lnTo>
                  <a:pt x="503" y="26"/>
                </a:lnTo>
                <a:lnTo>
                  <a:pt x="503" y="25"/>
                </a:lnTo>
                <a:lnTo>
                  <a:pt x="503" y="25"/>
                </a:lnTo>
                <a:lnTo>
                  <a:pt x="503" y="25"/>
                </a:lnTo>
                <a:lnTo>
                  <a:pt x="502" y="25"/>
                </a:lnTo>
                <a:lnTo>
                  <a:pt x="502" y="25"/>
                </a:lnTo>
                <a:lnTo>
                  <a:pt x="502" y="25"/>
                </a:lnTo>
                <a:lnTo>
                  <a:pt x="502" y="25"/>
                </a:lnTo>
                <a:lnTo>
                  <a:pt x="502" y="24"/>
                </a:lnTo>
                <a:lnTo>
                  <a:pt x="502" y="24"/>
                </a:lnTo>
                <a:lnTo>
                  <a:pt x="502" y="24"/>
                </a:lnTo>
                <a:lnTo>
                  <a:pt x="502" y="24"/>
                </a:lnTo>
                <a:lnTo>
                  <a:pt x="502" y="24"/>
                </a:lnTo>
                <a:lnTo>
                  <a:pt x="502" y="24"/>
                </a:lnTo>
                <a:lnTo>
                  <a:pt x="502" y="24"/>
                </a:lnTo>
                <a:lnTo>
                  <a:pt x="502" y="23"/>
                </a:lnTo>
                <a:lnTo>
                  <a:pt x="502" y="23"/>
                </a:lnTo>
                <a:lnTo>
                  <a:pt x="502" y="23"/>
                </a:lnTo>
                <a:lnTo>
                  <a:pt x="501" y="23"/>
                </a:lnTo>
                <a:lnTo>
                  <a:pt x="501" y="23"/>
                </a:lnTo>
                <a:lnTo>
                  <a:pt x="501" y="23"/>
                </a:lnTo>
                <a:lnTo>
                  <a:pt x="501" y="23"/>
                </a:lnTo>
                <a:lnTo>
                  <a:pt x="501" y="21"/>
                </a:lnTo>
                <a:lnTo>
                  <a:pt x="501" y="21"/>
                </a:lnTo>
                <a:lnTo>
                  <a:pt x="501" y="21"/>
                </a:lnTo>
                <a:lnTo>
                  <a:pt x="501" y="21"/>
                </a:lnTo>
                <a:lnTo>
                  <a:pt x="501" y="21"/>
                </a:lnTo>
                <a:lnTo>
                  <a:pt x="501" y="21"/>
                </a:lnTo>
                <a:lnTo>
                  <a:pt x="501" y="21"/>
                </a:lnTo>
                <a:lnTo>
                  <a:pt x="500" y="21"/>
                </a:lnTo>
                <a:lnTo>
                  <a:pt x="500" y="20"/>
                </a:lnTo>
                <a:lnTo>
                  <a:pt x="500" y="20"/>
                </a:lnTo>
                <a:lnTo>
                  <a:pt x="500" y="20"/>
                </a:lnTo>
                <a:lnTo>
                  <a:pt x="500" y="20"/>
                </a:lnTo>
                <a:lnTo>
                  <a:pt x="500" y="20"/>
                </a:lnTo>
                <a:lnTo>
                  <a:pt x="500" y="20"/>
                </a:lnTo>
                <a:lnTo>
                  <a:pt x="500" y="20"/>
                </a:lnTo>
                <a:lnTo>
                  <a:pt x="500" y="20"/>
                </a:lnTo>
                <a:lnTo>
                  <a:pt x="500" y="19"/>
                </a:lnTo>
                <a:lnTo>
                  <a:pt x="500" y="19"/>
                </a:lnTo>
                <a:lnTo>
                  <a:pt x="499" y="19"/>
                </a:lnTo>
                <a:lnTo>
                  <a:pt x="499" y="19"/>
                </a:lnTo>
                <a:lnTo>
                  <a:pt x="499" y="19"/>
                </a:lnTo>
                <a:lnTo>
                  <a:pt x="499" y="19"/>
                </a:lnTo>
                <a:lnTo>
                  <a:pt x="499" y="19"/>
                </a:lnTo>
                <a:lnTo>
                  <a:pt x="499" y="19"/>
                </a:lnTo>
                <a:lnTo>
                  <a:pt x="499" y="18"/>
                </a:lnTo>
                <a:lnTo>
                  <a:pt x="499" y="18"/>
                </a:lnTo>
                <a:lnTo>
                  <a:pt x="499" y="18"/>
                </a:lnTo>
                <a:lnTo>
                  <a:pt x="499" y="18"/>
                </a:lnTo>
                <a:lnTo>
                  <a:pt x="498" y="18"/>
                </a:lnTo>
                <a:lnTo>
                  <a:pt x="498" y="18"/>
                </a:lnTo>
                <a:lnTo>
                  <a:pt x="498" y="18"/>
                </a:lnTo>
                <a:lnTo>
                  <a:pt x="498" y="18"/>
                </a:lnTo>
                <a:lnTo>
                  <a:pt x="498" y="17"/>
                </a:lnTo>
                <a:lnTo>
                  <a:pt x="498" y="17"/>
                </a:lnTo>
                <a:lnTo>
                  <a:pt x="498" y="17"/>
                </a:lnTo>
                <a:lnTo>
                  <a:pt x="498" y="17"/>
                </a:lnTo>
                <a:lnTo>
                  <a:pt x="498" y="17"/>
                </a:lnTo>
                <a:lnTo>
                  <a:pt x="497" y="17"/>
                </a:lnTo>
                <a:lnTo>
                  <a:pt x="497" y="17"/>
                </a:lnTo>
                <a:lnTo>
                  <a:pt x="497" y="17"/>
                </a:lnTo>
                <a:lnTo>
                  <a:pt x="497" y="17"/>
                </a:lnTo>
                <a:lnTo>
                  <a:pt x="497" y="16"/>
                </a:lnTo>
                <a:lnTo>
                  <a:pt x="497" y="16"/>
                </a:lnTo>
                <a:lnTo>
                  <a:pt x="497" y="16"/>
                </a:lnTo>
                <a:lnTo>
                  <a:pt x="497" y="16"/>
                </a:lnTo>
                <a:lnTo>
                  <a:pt x="497" y="16"/>
                </a:lnTo>
                <a:lnTo>
                  <a:pt x="496" y="16"/>
                </a:lnTo>
                <a:lnTo>
                  <a:pt x="496" y="16"/>
                </a:lnTo>
                <a:lnTo>
                  <a:pt x="496" y="16"/>
                </a:lnTo>
                <a:lnTo>
                  <a:pt x="496" y="16"/>
                </a:lnTo>
                <a:lnTo>
                  <a:pt x="496" y="16"/>
                </a:lnTo>
                <a:lnTo>
                  <a:pt x="496" y="15"/>
                </a:lnTo>
                <a:lnTo>
                  <a:pt x="496" y="15"/>
                </a:lnTo>
                <a:lnTo>
                  <a:pt x="496" y="15"/>
                </a:lnTo>
                <a:lnTo>
                  <a:pt x="494" y="15"/>
                </a:lnTo>
                <a:lnTo>
                  <a:pt x="494" y="15"/>
                </a:lnTo>
                <a:lnTo>
                  <a:pt x="494" y="15"/>
                </a:lnTo>
                <a:lnTo>
                  <a:pt x="494" y="15"/>
                </a:lnTo>
                <a:lnTo>
                  <a:pt x="494" y="15"/>
                </a:lnTo>
                <a:lnTo>
                  <a:pt x="494" y="15"/>
                </a:lnTo>
                <a:lnTo>
                  <a:pt x="494" y="15"/>
                </a:lnTo>
                <a:lnTo>
                  <a:pt x="494" y="14"/>
                </a:lnTo>
                <a:lnTo>
                  <a:pt x="493" y="14"/>
                </a:lnTo>
                <a:lnTo>
                  <a:pt x="493" y="14"/>
                </a:lnTo>
                <a:lnTo>
                  <a:pt x="493" y="14"/>
                </a:lnTo>
                <a:lnTo>
                  <a:pt x="493" y="14"/>
                </a:lnTo>
                <a:lnTo>
                  <a:pt x="493" y="14"/>
                </a:lnTo>
                <a:lnTo>
                  <a:pt x="493" y="14"/>
                </a:lnTo>
                <a:lnTo>
                  <a:pt x="493" y="14"/>
                </a:lnTo>
                <a:lnTo>
                  <a:pt x="493" y="14"/>
                </a:lnTo>
                <a:lnTo>
                  <a:pt x="492" y="14"/>
                </a:lnTo>
                <a:lnTo>
                  <a:pt x="492" y="14"/>
                </a:lnTo>
                <a:lnTo>
                  <a:pt x="492" y="12"/>
                </a:lnTo>
                <a:lnTo>
                  <a:pt x="492" y="12"/>
                </a:lnTo>
                <a:lnTo>
                  <a:pt x="492" y="12"/>
                </a:lnTo>
                <a:lnTo>
                  <a:pt x="492" y="12"/>
                </a:lnTo>
                <a:lnTo>
                  <a:pt x="492" y="12"/>
                </a:lnTo>
                <a:lnTo>
                  <a:pt x="491" y="12"/>
                </a:lnTo>
                <a:lnTo>
                  <a:pt x="491" y="12"/>
                </a:lnTo>
                <a:lnTo>
                  <a:pt x="491" y="12"/>
                </a:lnTo>
                <a:lnTo>
                  <a:pt x="491" y="12"/>
                </a:lnTo>
                <a:lnTo>
                  <a:pt x="491" y="12"/>
                </a:lnTo>
                <a:lnTo>
                  <a:pt x="491" y="12"/>
                </a:lnTo>
                <a:lnTo>
                  <a:pt x="491" y="12"/>
                </a:lnTo>
                <a:lnTo>
                  <a:pt x="490" y="11"/>
                </a:lnTo>
                <a:lnTo>
                  <a:pt x="490" y="11"/>
                </a:lnTo>
                <a:lnTo>
                  <a:pt x="490" y="11"/>
                </a:lnTo>
                <a:lnTo>
                  <a:pt x="490" y="11"/>
                </a:lnTo>
                <a:lnTo>
                  <a:pt x="490" y="11"/>
                </a:lnTo>
                <a:lnTo>
                  <a:pt x="490" y="11"/>
                </a:lnTo>
                <a:lnTo>
                  <a:pt x="490" y="11"/>
                </a:lnTo>
                <a:lnTo>
                  <a:pt x="489" y="11"/>
                </a:lnTo>
                <a:lnTo>
                  <a:pt x="489" y="11"/>
                </a:lnTo>
                <a:lnTo>
                  <a:pt x="489" y="11"/>
                </a:lnTo>
                <a:lnTo>
                  <a:pt x="489" y="11"/>
                </a:lnTo>
                <a:lnTo>
                  <a:pt x="489" y="11"/>
                </a:lnTo>
                <a:lnTo>
                  <a:pt x="489" y="11"/>
                </a:lnTo>
                <a:lnTo>
                  <a:pt x="489" y="11"/>
                </a:lnTo>
                <a:lnTo>
                  <a:pt x="488" y="10"/>
                </a:lnTo>
                <a:lnTo>
                  <a:pt x="488" y="10"/>
                </a:lnTo>
                <a:lnTo>
                  <a:pt x="488" y="10"/>
                </a:lnTo>
                <a:lnTo>
                  <a:pt x="488" y="10"/>
                </a:lnTo>
                <a:lnTo>
                  <a:pt x="488" y="10"/>
                </a:lnTo>
                <a:lnTo>
                  <a:pt x="488" y="10"/>
                </a:lnTo>
                <a:lnTo>
                  <a:pt x="488" y="10"/>
                </a:lnTo>
                <a:lnTo>
                  <a:pt x="487" y="10"/>
                </a:lnTo>
                <a:lnTo>
                  <a:pt x="487" y="10"/>
                </a:lnTo>
                <a:lnTo>
                  <a:pt x="487" y="10"/>
                </a:lnTo>
                <a:lnTo>
                  <a:pt x="487" y="10"/>
                </a:lnTo>
                <a:lnTo>
                  <a:pt x="487" y="10"/>
                </a:lnTo>
                <a:lnTo>
                  <a:pt x="487" y="10"/>
                </a:lnTo>
                <a:lnTo>
                  <a:pt x="487" y="10"/>
                </a:lnTo>
                <a:lnTo>
                  <a:pt x="485" y="10"/>
                </a:lnTo>
                <a:lnTo>
                  <a:pt x="485" y="10"/>
                </a:lnTo>
                <a:lnTo>
                  <a:pt x="485" y="10"/>
                </a:lnTo>
                <a:lnTo>
                  <a:pt x="485" y="9"/>
                </a:lnTo>
                <a:lnTo>
                  <a:pt x="485" y="9"/>
                </a:lnTo>
                <a:lnTo>
                  <a:pt x="485" y="9"/>
                </a:lnTo>
                <a:lnTo>
                  <a:pt x="484" y="9"/>
                </a:lnTo>
                <a:lnTo>
                  <a:pt x="484" y="9"/>
                </a:lnTo>
                <a:lnTo>
                  <a:pt x="484" y="9"/>
                </a:lnTo>
                <a:lnTo>
                  <a:pt x="484" y="9"/>
                </a:lnTo>
                <a:lnTo>
                  <a:pt x="484" y="9"/>
                </a:lnTo>
                <a:lnTo>
                  <a:pt x="484" y="9"/>
                </a:lnTo>
                <a:lnTo>
                  <a:pt x="484" y="9"/>
                </a:lnTo>
                <a:lnTo>
                  <a:pt x="483" y="9"/>
                </a:lnTo>
                <a:lnTo>
                  <a:pt x="483" y="9"/>
                </a:lnTo>
                <a:lnTo>
                  <a:pt x="483" y="9"/>
                </a:lnTo>
                <a:lnTo>
                  <a:pt x="483" y="9"/>
                </a:lnTo>
                <a:lnTo>
                  <a:pt x="483" y="9"/>
                </a:lnTo>
                <a:lnTo>
                  <a:pt x="483" y="9"/>
                </a:lnTo>
                <a:lnTo>
                  <a:pt x="482" y="9"/>
                </a:lnTo>
                <a:lnTo>
                  <a:pt x="482" y="9"/>
                </a:lnTo>
                <a:lnTo>
                  <a:pt x="482" y="9"/>
                </a:lnTo>
                <a:lnTo>
                  <a:pt x="482" y="9"/>
                </a:lnTo>
                <a:lnTo>
                  <a:pt x="482" y="9"/>
                </a:lnTo>
                <a:lnTo>
                  <a:pt x="482" y="9"/>
                </a:lnTo>
                <a:lnTo>
                  <a:pt x="481" y="9"/>
                </a:lnTo>
                <a:lnTo>
                  <a:pt x="481" y="9"/>
                </a:lnTo>
                <a:lnTo>
                  <a:pt x="481" y="9"/>
                </a:lnTo>
                <a:lnTo>
                  <a:pt x="481" y="9"/>
                </a:lnTo>
                <a:lnTo>
                  <a:pt x="481" y="8"/>
                </a:lnTo>
                <a:lnTo>
                  <a:pt x="481" y="8"/>
                </a:lnTo>
                <a:lnTo>
                  <a:pt x="480" y="8"/>
                </a:lnTo>
                <a:lnTo>
                  <a:pt x="480" y="8"/>
                </a:lnTo>
                <a:lnTo>
                  <a:pt x="480" y="8"/>
                </a:lnTo>
                <a:lnTo>
                  <a:pt x="480" y="8"/>
                </a:lnTo>
                <a:lnTo>
                  <a:pt x="480" y="8"/>
                </a:lnTo>
                <a:lnTo>
                  <a:pt x="480" y="8"/>
                </a:lnTo>
                <a:lnTo>
                  <a:pt x="479" y="8"/>
                </a:lnTo>
                <a:lnTo>
                  <a:pt x="479" y="8"/>
                </a:lnTo>
                <a:lnTo>
                  <a:pt x="479" y="8"/>
                </a:lnTo>
                <a:lnTo>
                  <a:pt x="479" y="8"/>
                </a:lnTo>
                <a:lnTo>
                  <a:pt x="479" y="8"/>
                </a:lnTo>
                <a:lnTo>
                  <a:pt x="479" y="8"/>
                </a:lnTo>
                <a:lnTo>
                  <a:pt x="478" y="8"/>
                </a:lnTo>
                <a:lnTo>
                  <a:pt x="478" y="8"/>
                </a:lnTo>
                <a:lnTo>
                  <a:pt x="478" y="8"/>
                </a:lnTo>
                <a:lnTo>
                  <a:pt x="478" y="8"/>
                </a:lnTo>
                <a:lnTo>
                  <a:pt x="478" y="8"/>
                </a:lnTo>
                <a:lnTo>
                  <a:pt x="478" y="8"/>
                </a:lnTo>
                <a:lnTo>
                  <a:pt x="476" y="8"/>
                </a:lnTo>
                <a:lnTo>
                  <a:pt x="476" y="8"/>
                </a:lnTo>
                <a:lnTo>
                  <a:pt x="476" y="8"/>
                </a:lnTo>
                <a:lnTo>
                  <a:pt x="476" y="8"/>
                </a:lnTo>
                <a:lnTo>
                  <a:pt x="476" y="8"/>
                </a:lnTo>
                <a:lnTo>
                  <a:pt x="476" y="8"/>
                </a:lnTo>
                <a:close/>
                <a:moveTo>
                  <a:pt x="439" y="34"/>
                </a:moveTo>
                <a:lnTo>
                  <a:pt x="439" y="34"/>
                </a:lnTo>
                <a:lnTo>
                  <a:pt x="439" y="34"/>
                </a:lnTo>
                <a:lnTo>
                  <a:pt x="439" y="34"/>
                </a:lnTo>
                <a:lnTo>
                  <a:pt x="439" y="33"/>
                </a:lnTo>
                <a:lnTo>
                  <a:pt x="439" y="33"/>
                </a:lnTo>
                <a:lnTo>
                  <a:pt x="439" y="33"/>
                </a:lnTo>
                <a:lnTo>
                  <a:pt x="439" y="33"/>
                </a:lnTo>
                <a:lnTo>
                  <a:pt x="439" y="32"/>
                </a:lnTo>
                <a:lnTo>
                  <a:pt x="439" y="32"/>
                </a:lnTo>
                <a:lnTo>
                  <a:pt x="439" y="32"/>
                </a:lnTo>
                <a:lnTo>
                  <a:pt x="439" y="32"/>
                </a:lnTo>
                <a:lnTo>
                  <a:pt x="439" y="32"/>
                </a:lnTo>
                <a:lnTo>
                  <a:pt x="439" y="30"/>
                </a:lnTo>
                <a:lnTo>
                  <a:pt x="439" y="30"/>
                </a:lnTo>
                <a:lnTo>
                  <a:pt x="439" y="30"/>
                </a:lnTo>
                <a:lnTo>
                  <a:pt x="439" y="30"/>
                </a:lnTo>
                <a:lnTo>
                  <a:pt x="439" y="30"/>
                </a:lnTo>
                <a:lnTo>
                  <a:pt x="439" y="29"/>
                </a:lnTo>
                <a:lnTo>
                  <a:pt x="439" y="29"/>
                </a:lnTo>
                <a:lnTo>
                  <a:pt x="439" y="29"/>
                </a:lnTo>
                <a:lnTo>
                  <a:pt x="439" y="29"/>
                </a:lnTo>
                <a:lnTo>
                  <a:pt x="439" y="29"/>
                </a:lnTo>
                <a:lnTo>
                  <a:pt x="439" y="28"/>
                </a:lnTo>
                <a:lnTo>
                  <a:pt x="439" y="28"/>
                </a:lnTo>
                <a:lnTo>
                  <a:pt x="440" y="28"/>
                </a:lnTo>
                <a:lnTo>
                  <a:pt x="440" y="28"/>
                </a:lnTo>
                <a:lnTo>
                  <a:pt x="440" y="28"/>
                </a:lnTo>
                <a:lnTo>
                  <a:pt x="440" y="27"/>
                </a:lnTo>
                <a:lnTo>
                  <a:pt x="440" y="27"/>
                </a:lnTo>
                <a:lnTo>
                  <a:pt x="440" y="27"/>
                </a:lnTo>
                <a:lnTo>
                  <a:pt x="440" y="27"/>
                </a:lnTo>
                <a:lnTo>
                  <a:pt x="440" y="27"/>
                </a:lnTo>
                <a:lnTo>
                  <a:pt x="440" y="26"/>
                </a:lnTo>
                <a:lnTo>
                  <a:pt x="440" y="26"/>
                </a:lnTo>
                <a:lnTo>
                  <a:pt x="440" y="26"/>
                </a:lnTo>
                <a:lnTo>
                  <a:pt x="440" y="26"/>
                </a:lnTo>
                <a:lnTo>
                  <a:pt x="440" y="26"/>
                </a:lnTo>
                <a:lnTo>
                  <a:pt x="440" y="25"/>
                </a:lnTo>
                <a:lnTo>
                  <a:pt x="440" y="25"/>
                </a:lnTo>
                <a:lnTo>
                  <a:pt x="440" y="25"/>
                </a:lnTo>
                <a:lnTo>
                  <a:pt x="441" y="25"/>
                </a:lnTo>
                <a:lnTo>
                  <a:pt x="441" y="25"/>
                </a:lnTo>
                <a:lnTo>
                  <a:pt x="441" y="24"/>
                </a:lnTo>
                <a:lnTo>
                  <a:pt x="441" y="24"/>
                </a:lnTo>
                <a:lnTo>
                  <a:pt x="441" y="24"/>
                </a:lnTo>
                <a:lnTo>
                  <a:pt x="441" y="24"/>
                </a:lnTo>
                <a:lnTo>
                  <a:pt x="441" y="24"/>
                </a:lnTo>
                <a:lnTo>
                  <a:pt x="441" y="24"/>
                </a:lnTo>
                <a:lnTo>
                  <a:pt x="441" y="23"/>
                </a:lnTo>
                <a:lnTo>
                  <a:pt x="441" y="23"/>
                </a:lnTo>
                <a:lnTo>
                  <a:pt x="441" y="23"/>
                </a:lnTo>
                <a:lnTo>
                  <a:pt x="441" y="23"/>
                </a:lnTo>
                <a:lnTo>
                  <a:pt x="441" y="23"/>
                </a:lnTo>
                <a:lnTo>
                  <a:pt x="443" y="21"/>
                </a:lnTo>
                <a:lnTo>
                  <a:pt x="443" y="21"/>
                </a:lnTo>
                <a:lnTo>
                  <a:pt x="443" y="21"/>
                </a:lnTo>
                <a:lnTo>
                  <a:pt x="443" y="21"/>
                </a:lnTo>
                <a:lnTo>
                  <a:pt x="443" y="21"/>
                </a:lnTo>
                <a:lnTo>
                  <a:pt x="443" y="21"/>
                </a:lnTo>
                <a:lnTo>
                  <a:pt x="443" y="20"/>
                </a:lnTo>
                <a:lnTo>
                  <a:pt x="443" y="20"/>
                </a:lnTo>
                <a:lnTo>
                  <a:pt x="443" y="20"/>
                </a:lnTo>
                <a:lnTo>
                  <a:pt x="443" y="20"/>
                </a:lnTo>
                <a:lnTo>
                  <a:pt x="443" y="20"/>
                </a:lnTo>
                <a:lnTo>
                  <a:pt x="444" y="19"/>
                </a:lnTo>
                <a:lnTo>
                  <a:pt x="444" y="19"/>
                </a:lnTo>
                <a:lnTo>
                  <a:pt x="444" y="19"/>
                </a:lnTo>
                <a:lnTo>
                  <a:pt x="444" y="19"/>
                </a:lnTo>
                <a:lnTo>
                  <a:pt x="444" y="19"/>
                </a:lnTo>
                <a:lnTo>
                  <a:pt x="444" y="19"/>
                </a:lnTo>
                <a:lnTo>
                  <a:pt x="444" y="18"/>
                </a:lnTo>
                <a:lnTo>
                  <a:pt x="444" y="18"/>
                </a:lnTo>
                <a:lnTo>
                  <a:pt x="444" y="18"/>
                </a:lnTo>
                <a:lnTo>
                  <a:pt x="444" y="18"/>
                </a:lnTo>
                <a:lnTo>
                  <a:pt x="445" y="18"/>
                </a:lnTo>
                <a:lnTo>
                  <a:pt x="445" y="18"/>
                </a:lnTo>
                <a:lnTo>
                  <a:pt x="445" y="17"/>
                </a:lnTo>
                <a:lnTo>
                  <a:pt x="445" y="17"/>
                </a:lnTo>
                <a:lnTo>
                  <a:pt x="445" y="17"/>
                </a:lnTo>
                <a:lnTo>
                  <a:pt x="445" y="17"/>
                </a:lnTo>
                <a:lnTo>
                  <a:pt x="445" y="17"/>
                </a:lnTo>
                <a:lnTo>
                  <a:pt x="445" y="17"/>
                </a:lnTo>
                <a:lnTo>
                  <a:pt x="445" y="16"/>
                </a:lnTo>
                <a:lnTo>
                  <a:pt x="446" y="16"/>
                </a:lnTo>
                <a:lnTo>
                  <a:pt x="446" y="16"/>
                </a:lnTo>
                <a:lnTo>
                  <a:pt x="446" y="16"/>
                </a:lnTo>
                <a:lnTo>
                  <a:pt x="446" y="16"/>
                </a:lnTo>
                <a:lnTo>
                  <a:pt x="446" y="16"/>
                </a:lnTo>
                <a:lnTo>
                  <a:pt x="446" y="15"/>
                </a:lnTo>
                <a:lnTo>
                  <a:pt x="446" y="15"/>
                </a:lnTo>
                <a:lnTo>
                  <a:pt x="446" y="15"/>
                </a:lnTo>
                <a:lnTo>
                  <a:pt x="447" y="15"/>
                </a:lnTo>
                <a:lnTo>
                  <a:pt x="447" y="15"/>
                </a:lnTo>
                <a:lnTo>
                  <a:pt x="447" y="15"/>
                </a:lnTo>
                <a:lnTo>
                  <a:pt x="447" y="14"/>
                </a:lnTo>
                <a:lnTo>
                  <a:pt x="447" y="14"/>
                </a:lnTo>
                <a:lnTo>
                  <a:pt x="447" y="14"/>
                </a:lnTo>
                <a:lnTo>
                  <a:pt x="447" y="14"/>
                </a:lnTo>
                <a:lnTo>
                  <a:pt x="447" y="14"/>
                </a:lnTo>
                <a:lnTo>
                  <a:pt x="448" y="14"/>
                </a:lnTo>
                <a:lnTo>
                  <a:pt x="448" y="14"/>
                </a:lnTo>
                <a:lnTo>
                  <a:pt x="448" y="12"/>
                </a:lnTo>
                <a:lnTo>
                  <a:pt x="448" y="12"/>
                </a:lnTo>
                <a:lnTo>
                  <a:pt x="448" y="12"/>
                </a:lnTo>
                <a:lnTo>
                  <a:pt x="448" y="12"/>
                </a:lnTo>
                <a:lnTo>
                  <a:pt x="448" y="12"/>
                </a:lnTo>
                <a:lnTo>
                  <a:pt x="448" y="12"/>
                </a:lnTo>
                <a:lnTo>
                  <a:pt x="449" y="12"/>
                </a:lnTo>
                <a:lnTo>
                  <a:pt x="449" y="11"/>
                </a:lnTo>
                <a:lnTo>
                  <a:pt x="449" y="11"/>
                </a:lnTo>
                <a:lnTo>
                  <a:pt x="449" y="11"/>
                </a:lnTo>
                <a:lnTo>
                  <a:pt x="449" y="11"/>
                </a:lnTo>
                <a:lnTo>
                  <a:pt x="449" y="11"/>
                </a:lnTo>
                <a:lnTo>
                  <a:pt x="449" y="11"/>
                </a:lnTo>
                <a:lnTo>
                  <a:pt x="450" y="11"/>
                </a:lnTo>
                <a:lnTo>
                  <a:pt x="450" y="10"/>
                </a:lnTo>
                <a:lnTo>
                  <a:pt x="450" y="10"/>
                </a:lnTo>
                <a:lnTo>
                  <a:pt x="450" y="10"/>
                </a:lnTo>
                <a:lnTo>
                  <a:pt x="450" y="10"/>
                </a:lnTo>
                <a:lnTo>
                  <a:pt x="450" y="10"/>
                </a:lnTo>
                <a:lnTo>
                  <a:pt x="452" y="10"/>
                </a:lnTo>
                <a:lnTo>
                  <a:pt x="452" y="10"/>
                </a:lnTo>
                <a:lnTo>
                  <a:pt x="452" y="9"/>
                </a:lnTo>
                <a:lnTo>
                  <a:pt x="452" y="9"/>
                </a:lnTo>
                <a:lnTo>
                  <a:pt x="452" y="9"/>
                </a:lnTo>
                <a:lnTo>
                  <a:pt x="452" y="9"/>
                </a:lnTo>
                <a:lnTo>
                  <a:pt x="452" y="9"/>
                </a:lnTo>
                <a:lnTo>
                  <a:pt x="453" y="9"/>
                </a:lnTo>
                <a:lnTo>
                  <a:pt x="453" y="9"/>
                </a:lnTo>
                <a:lnTo>
                  <a:pt x="453" y="9"/>
                </a:lnTo>
                <a:lnTo>
                  <a:pt x="453" y="8"/>
                </a:lnTo>
                <a:lnTo>
                  <a:pt x="453" y="8"/>
                </a:lnTo>
                <a:lnTo>
                  <a:pt x="453" y="8"/>
                </a:lnTo>
                <a:lnTo>
                  <a:pt x="454" y="8"/>
                </a:lnTo>
                <a:lnTo>
                  <a:pt x="454" y="8"/>
                </a:lnTo>
                <a:lnTo>
                  <a:pt x="454" y="8"/>
                </a:lnTo>
                <a:lnTo>
                  <a:pt x="454" y="8"/>
                </a:lnTo>
                <a:lnTo>
                  <a:pt x="454" y="8"/>
                </a:lnTo>
                <a:lnTo>
                  <a:pt x="454" y="7"/>
                </a:lnTo>
                <a:lnTo>
                  <a:pt x="454" y="7"/>
                </a:lnTo>
                <a:lnTo>
                  <a:pt x="455" y="7"/>
                </a:lnTo>
                <a:lnTo>
                  <a:pt x="455" y="7"/>
                </a:lnTo>
                <a:lnTo>
                  <a:pt x="455" y="7"/>
                </a:lnTo>
                <a:lnTo>
                  <a:pt x="455" y="7"/>
                </a:lnTo>
                <a:lnTo>
                  <a:pt x="455" y="7"/>
                </a:lnTo>
                <a:lnTo>
                  <a:pt x="455" y="7"/>
                </a:lnTo>
                <a:lnTo>
                  <a:pt x="456" y="7"/>
                </a:lnTo>
                <a:lnTo>
                  <a:pt x="456" y="6"/>
                </a:lnTo>
                <a:lnTo>
                  <a:pt x="456" y="6"/>
                </a:lnTo>
                <a:lnTo>
                  <a:pt x="456" y="6"/>
                </a:lnTo>
                <a:lnTo>
                  <a:pt x="456" y="6"/>
                </a:lnTo>
                <a:lnTo>
                  <a:pt x="456" y="6"/>
                </a:lnTo>
                <a:lnTo>
                  <a:pt x="457" y="6"/>
                </a:lnTo>
                <a:lnTo>
                  <a:pt x="457" y="6"/>
                </a:lnTo>
                <a:lnTo>
                  <a:pt x="457" y="6"/>
                </a:lnTo>
                <a:lnTo>
                  <a:pt x="457" y="6"/>
                </a:lnTo>
                <a:lnTo>
                  <a:pt x="457" y="5"/>
                </a:lnTo>
                <a:lnTo>
                  <a:pt x="458" y="5"/>
                </a:lnTo>
                <a:lnTo>
                  <a:pt x="458" y="5"/>
                </a:lnTo>
                <a:lnTo>
                  <a:pt x="458" y="5"/>
                </a:lnTo>
                <a:lnTo>
                  <a:pt x="458" y="5"/>
                </a:lnTo>
                <a:lnTo>
                  <a:pt x="458" y="5"/>
                </a:lnTo>
                <a:lnTo>
                  <a:pt x="458" y="5"/>
                </a:lnTo>
                <a:lnTo>
                  <a:pt x="459" y="5"/>
                </a:lnTo>
                <a:lnTo>
                  <a:pt x="459" y="5"/>
                </a:lnTo>
                <a:lnTo>
                  <a:pt x="459" y="5"/>
                </a:lnTo>
                <a:lnTo>
                  <a:pt x="459" y="5"/>
                </a:lnTo>
                <a:lnTo>
                  <a:pt x="459" y="3"/>
                </a:lnTo>
                <a:lnTo>
                  <a:pt x="461" y="3"/>
                </a:lnTo>
                <a:lnTo>
                  <a:pt x="461" y="3"/>
                </a:lnTo>
                <a:lnTo>
                  <a:pt x="461" y="3"/>
                </a:lnTo>
                <a:lnTo>
                  <a:pt x="461" y="3"/>
                </a:lnTo>
                <a:lnTo>
                  <a:pt x="461" y="3"/>
                </a:lnTo>
                <a:lnTo>
                  <a:pt x="461" y="3"/>
                </a:lnTo>
                <a:lnTo>
                  <a:pt x="462" y="3"/>
                </a:lnTo>
                <a:lnTo>
                  <a:pt x="462" y="3"/>
                </a:lnTo>
                <a:lnTo>
                  <a:pt x="462" y="3"/>
                </a:lnTo>
                <a:lnTo>
                  <a:pt x="462" y="3"/>
                </a:lnTo>
                <a:lnTo>
                  <a:pt x="462" y="3"/>
                </a:lnTo>
                <a:lnTo>
                  <a:pt x="463" y="2"/>
                </a:lnTo>
                <a:lnTo>
                  <a:pt x="463" y="2"/>
                </a:lnTo>
                <a:lnTo>
                  <a:pt x="463" y="2"/>
                </a:lnTo>
                <a:lnTo>
                  <a:pt x="463" y="2"/>
                </a:lnTo>
                <a:lnTo>
                  <a:pt x="463" y="2"/>
                </a:lnTo>
                <a:lnTo>
                  <a:pt x="464" y="2"/>
                </a:lnTo>
                <a:lnTo>
                  <a:pt x="464" y="2"/>
                </a:lnTo>
                <a:lnTo>
                  <a:pt x="464" y="2"/>
                </a:lnTo>
                <a:lnTo>
                  <a:pt x="464" y="2"/>
                </a:lnTo>
                <a:lnTo>
                  <a:pt x="464" y="2"/>
                </a:lnTo>
                <a:lnTo>
                  <a:pt x="464" y="2"/>
                </a:lnTo>
                <a:lnTo>
                  <a:pt x="465" y="2"/>
                </a:lnTo>
                <a:lnTo>
                  <a:pt x="465" y="2"/>
                </a:lnTo>
                <a:lnTo>
                  <a:pt x="465" y="2"/>
                </a:lnTo>
                <a:lnTo>
                  <a:pt x="465" y="2"/>
                </a:lnTo>
                <a:lnTo>
                  <a:pt x="465" y="1"/>
                </a:lnTo>
                <a:lnTo>
                  <a:pt x="466" y="1"/>
                </a:lnTo>
                <a:lnTo>
                  <a:pt x="466" y="1"/>
                </a:lnTo>
                <a:lnTo>
                  <a:pt x="466" y="1"/>
                </a:lnTo>
                <a:lnTo>
                  <a:pt x="466" y="1"/>
                </a:lnTo>
                <a:lnTo>
                  <a:pt x="466" y="1"/>
                </a:lnTo>
                <a:lnTo>
                  <a:pt x="467" y="1"/>
                </a:lnTo>
                <a:lnTo>
                  <a:pt x="467" y="1"/>
                </a:lnTo>
                <a:lnTo>
                  <a:pt x="467" y="1"/>
                </a:lnTo>
                <a:lnTo>
                  <a:pt x="467" y="1"/>
                </a:lnTo>
                <a:lnTo>
                  <a:pt x="467" y="1"/>
                </a:lnTo>
                <a:lnTo>
                  <a:pt x="469" y="1"/>
                </a:lnTo>
                <a:lnTo>
                  <a:pt x="469" y="1"/>
                </a:lnTo>
                <a:lnTo>
                  <a:pt x="469" y="1"/>
                </a:lnTo>
                <a:lnTo>
                  <a:pt x="469" y="1"/>
                </a:lnTo>
                <a:lnTo>
                  <a:pt x="469" y="1"/>
                </a:lnTo>
                <a:lnTo>
                  <a:pt x="470" y="1"/>
                </a:lnTo>
                <a:lnTo>
                  <a:pt x="470" y="1"/>
                </a:lnTo>
                <a:lnTo>
                  <a:pt x="470" y="1"/>
                </a:lnTo>
                <a:lnTo>
                  <a:pt x="470" y="1"/>
                </a:lnTo>
                <a:lnTo>
                  <a:pt x="471" y="1"/>
                </a:lnTo>
                <a:lnTo>
                  <a:pt x="471" y="1"/>
                </a:lnTo>
                <a:lnTo>
                  <a:pt x="471" y="0"/>
                </a:lnTo>
                <a:lnTo>
                  <a:pt x="471" y="0"/>
                </a:lnTo>
                <a:lnTo>
                  <a:pt x="471" y="0"/>
                </a:lnTo>
                <a:lnTo>
                  <a:pt x="472" y="0"/>
                </a:lnTo>
                <a:lnTo>
                  <a:pt x="472" y="0"/>
                </a:lnTo>
                <a:lnTo>
                  <a:pt x="472" y="0"/>
                </a:lnTo>
                <a:lnTo>
                  <a:pt x="472" y="0"/>
                </a:lnTo>
                <a:lnTo>
                  <a:pt x="472" y="0"/>
                </a:lnTo>
                <a:lnTo>
                  <a:pt x="473" y="0"/>
                </a:lnTo>
                <a:lnTo>
                  <a:pt x="473" y="0"/>
                </a:lnTo>
                <a:lnTo>
                  <a:pt x="473" y="0"/>
                </a:lnTo>
                <a:lnTo>
                  <a:pt x="473" y="0"/>
                </a:lnTo>
                <a:lnTo>
                  <a:pt x="473" y="0"/>
                </a:lnTo>
                <a:lnTo>
                  <a:pt x="474" y="0"/>
                </a:lnTo>
                <a:lnTo>
                  <a:pt x="474" y="0"/>
                </a:lnTo>
                <a:lnTo>
                  <a:pt x="474" y="0"/>
                </a:lnTo>
                <a:lnTo>
                  <a:pt x="474" y="0"/>
                </a:lnTo>
                <a:lnTo>
                  <a:pt x="475" y="0"/>
                </a:lnTo>
                <a:lnTo>
                  <a:pt x="475" y="0"/>
                </a:lnTo>
                <a:lnTo>
                  <a:pt x="475" y="0"/>
                </a:lnTo>
                <a:lnTo>
                  <a:pt x="475" y="0"/>
                </a:lnTo>
                <a:lnTo>
                  <a:pt x="475" y="0"/>
                </a:lnTo>
                <a:lnTo>
                  <a:pt x="476" y="0"/>
                </a:lnTo>
                <a:lnTo>
                  <a:pt x="476" y="0"/>
                </a:lnTo>
                <a:lnTo>
                  <a:pt x="476" y="0"/>
                </a:lnTo>
                <a:lnTo>
                  <a:pt x="476" y="0"/>
                </a:lnTo>
                <a:lnTo>
                  <a:pt x="476" y="0"/>
                </a:lnTo>
                <a:lnTo>
                  <a:pt x="478" y="0"/>
                </a:lnTo>
                <a:lnTo>
                  <a:pt x="478" y="0"/>
                </a:lnTo>
                <a:lnTo>
                  <a:pt x="478" y="0"/>
                </a:lnTo>
                <a:lnTo>
                  <a:pt x="478" y="0"/>
                </a:lnTo>
                <a:lnTo>
                  <a:pt x="479" y="0"/>
                </a:lnTo>
                <a:lnTo>
                  <a:pt x="479" y="0"/>
                </a:lnTo>
                <a:lnTo>
                  <a:pt x="479" y="0"/>
                </a:lnTo>
                <a:lnTo>
                  <a:pt x="479" y="0"/>
                </a:lnTo>
                <a:lnTo>
                  <a:pt x="479" y="0"/>
                </a:lnTo>
                <a:lnTo>
                  <a:pt x="480" y="0"/>
                </a:lnTo>
                <a:lnTo>
                  <a:pt x="480" y="0"/>
                </a:lnTo>
                <a:lnTo>
                  <a:pt x="480" y="0"/>
                </a:lnTo>
                <a:lnTo>
                  <a:pt x="480" y="0"/>
                </a:lnTo>
                <a:lnTo>
                  <a:pt x="480" y="0"/>
                </a:lnTo>
                <a:lnTo>
                  <a:pt x="481" y="0"/>
                </a:lnTo>
                <a:lnTo>
                  <a:pt x="481" y="0"/>
                </a:lnTo>
                <a:lnTo>
                  <a:pt x="481" y="0"/>
                </a:lnTo>
                <a:lnTo>
                  <a:pt x="481" y="0"/>
                </a:lnTo>
                <a:lnTo>
                  <a:pt x="481" y="0"/>
                </a:lnTo>
                <a:lnTo>
                  <a:pt x="482" y="0"/>
                </a:lnTo>
                <a:lnTo>
                  <a:pt x="482" y="1"/>
                </a:lnTo>
                <a:lnTo>
                  <a:pt x="482" y="1"/>
                </a:lnTo>
                <a:lnTo>
                  <a:pt x="482" y="1"/>
                </a:lnTo>
                <a:lnTo>
                  <a:pt x="482" y="1"/>
                </a:lnTo>
                <a:lnTo>
                  <a:pt x="483" y="1"/>
                </a:lnTo>
                <a:lnTo>
                  <a:pt x="483" y="1"/>
                </a:lnTo>
                <a:lnTo>
                  <a:pt x="483" y="1"/>
                </a:lnTo>
                <a:lnTo>
                  <a:pt x="483" y="1"/>
                </a:lnTo>
                <a:lnTo>
                  <a:pt x="484" y="1"/>
                </a:lnTo>
                <a:lnTo>
                  <a:pt x="484" y="1"/>
                </a:lnTo>
                <a:lnTo>
                  <a:pt x="484" y="1"/>
                </a:lnTo>
                <a:lnTo>
                  <a:pt x="484" y="1"/>
                </a:lnTo>
                <a:lnTo>
                  <a:pt x="484" y="1"/>
                </a:lnTo>
                <a:lnTo>
                  <a:pt x="485" y="1"/>
                </a:lnTo>
                <a:lnTo>
                  <a:pt x="485" y="1"/>
                </a:lnTo>
                <a:lnTo>
                  <a:pt x="485" y="1"/>
                </a:lnTo>
                <a:lnTo>
                  <a:pt x="485" y="1"/>
                </a:lnTo>
                <a:lnTo>
                  <a:pt x="485" y="1"/>
                </a:lnTo>
                <a:lnTo>
                  <a:pt x="487" y="1"/>
                </a:lnTo>
                <a:lnTo>
                  <a:pt x="487" y="1"/>
                </a:lnTo>
                <a:lnTo>
                  <a:pt x="487" y="1"/>
                </a:lnTo>
                <a:lnTo>
                  <a:pt x="487" y="1"/>
                </a:lnTo>
                <a:lnTo>
                  <a:pt x="487" y="2"/>
                </a:lnTo>
                <a:lnTo>
                  <a:pt x="488" y="2"/>
                </a:lnTo>
                <a:lnTo>
                  <a:pt x="488" y="2"/>
                </a:lnTo>
                <a:lnTo>
                  <a:pt x="488" y="2"/>
                </a:lnTo>
                <a:lnTo>
                  <a:pt x="488" y="2"/>
                </a:lnTo>
                <a:lnTo>
                  <a:pt x="488" y="2"/>
                </a:lnTo>
                <a:lnTo>
                  <a:pt x="488" y="2"/>
                </a:lnTo>
                <a:lnTo>
                  <a:pt x="489" y="2"/>
                </a:lnTo>
                <a:lnTo>
                  <a:pt x="489" y="2"/>
                </a:lnTo>
                <a:lnTo>
                  <a:pt x="489" y="2"/>
                </a:lnTo>
                <a:lnTo>
                  <a:pt x="489" y="2"/>
                </a:lnTo>
                <a:lnTo>
                  <a:pt x="489" y="2"/>
                </a:lnTo>
                <a:lnTo>
                  <a:pt x="490" y="2"/>
                </a:lnTo>
                <a:lnTo>
                  <a:pt x="490" y="2"/>
                </a:lnTo>
                <a:lnTo>
                  <a:pt x="490" y="2"/>
                </a:lnTo>
                <a:lnTo>
                  <a:pt x="490" y="3"/>
                </a:lnTo>
                <a:lnTo>
                  <a:pt x="490" y="3"/>
                </a:lnTo>
                <a:lnTo>
                  <a:pt x="491" y="3"/>
                </a:lnTo>
                <a:lnTo>
                  <a:pt x="491" y="3"/>
                </a:lnTo>
                <a:lnTo>
                  <a:pt x="491" y="3"/>
                </a:lnTo>
                <a:lnTo>
                  <a:pt x="491" y="3"/>
                </a:lnTo>
                <a:lnTo>
                  <a:pt x="491" y="3"/>
                </a:lnTo>
                <a:lnTo>
                  <a:pt x="492" y="3"/>
                </a:lnTo>
                <a:lnTo>
                  <a:pt x="492" y="3"/>
                </a:lnTo>
                <a:lnTo>
                  <a:pt x="492" y="3"/>
                </a:lnTo>
                <a:lnTo>
                  <a:pt x="492" y="3"/>
                </a:lnTo>
                <a:lnTo>
                  <a:pt x="492" y="3"/>
                </a:lnTo>
                <a:lnTo>
                  <a:pt x="492" y="5"/>
                </a:lnTo>
                <a:lnTo>
                  <a:pt x="493" y="5"/>
                </a:lnTo>
                <a:lnTo>
                  <a:pt x="493" y="5"/>
                </a:lnTo>
                <a:lnTo>
                  <a:pt x="493" y="5"/>
                </a:lnTo>
                <a:lnTo>
                  <a:pt x="493" y="5"/>
                </a:lnTo>
                <a:lnTo>
                  <a:pt x="493" y="5"/>
                </a:lnTo>
                <a:lnTo>
                  <a:pt x="494" y="5"/>
                </a:lnTo>
                <a:lnTo>
                  <a:pt x="494" y="5"/>
                </a:lnTo>
                <a:lnTo>
                  <a:pt x="494" y="5"/>
                </a:lnTo>
                <a:lnTo>
                  <a:pt x="494" y="5"/>
                </a:lnTo>
                <a:lnTo>
                  <a:pt x="494" y="5"/>
                </a:lnTo>
                <a:lnTo>
                  <a:pt x="494" y="6"/>
                </a:lnTo>
                <a:lnTo>
                  <a:pt x="496" y="6"/>
                </a:lnTo>
                <a:lnTo>
                  <a:pt x="496" y="6"/>
                </a:lnTo>
                <a:lnTo>
                  <a:pt x="496" y="6"/>
                </a:lnTo>
                <a:lnTo>
                  <a:pt x="496" y="6"/>
                </a:lnTo>
                <a:lnTo>
                  <a:pt x="496" y="6"/>
                </a:lnTo>
                <a:lnTo>
                  <a:pt x="496" y="6"/>
                </a:lnTo>
                <a:lnTo>
                  <a:pt x="497" y="6"/>
                </a:lnTo>
                <a:lnTo>
                  <a:pt x="497" y="6"/>
                </a:lnTo>
                <a:lnTo>
                  <a:pt x="497" y="7"/>
                </a:lnTo>
                <a:lnTo>
                  <a:pt x="497" y="7"/>
                </a:lnTo>
                <a:lnTo>
                  <a:pt x="497" y="7"/>
                </a:lnTo>
                <a:lnTo>
                  <a:pt x="497" y="7"/>
                </a:lnTo>
                <a:lnTo>
                  <a:pt x="498" y="7"/>
                </a:lnTo>
                <a:lnTo>
                  <a:pt x="498" y="7"/>
                </a:lnTo>
                <a:lnTo>
                  <a:pt x="498" y="7"/>
                </a:lnTo>
                <a:lnTo>
                  <a:pt x="498" y="7"/>
                </a:lnTo>
                <a:lnTo>
                  <a:pt x="498" y="7"/>
                </a:lnTo>
                <a:lnTo>
                  <a:pt x="498" y="8"/>
                </a:lnTo>
                <a:lnTo>
                  <a:pt x="499" y="8"/>
                </a:lnTo>
                <a:lnTo>
                  <a:pt x="499" y="8"/>
                </a:lnTo>
                <a:lnTo>
                  <a:pt x="499" y="8"/>
                </a:lnTo>
                <a:lnTo>
                  <a:pt x="499" y="8"/>
                </a:lnTo>
                <a:lnTo>
                  <a:pt x="499" y="8"/>
                </a:lnTo>
                <a:lnTo>
                  <a:pt x="499" y="8"/>
                </a:lnTo>
                <a:lnTo>
                  <a:pt x="500" y="8"/>
                </a:lnTo>
                <a:lnTo>
                  <a:pt x="500" y="9"/>
                </a:lnTo>
                <a:lnTo>
                  <a:pt x="500" y="9"/>
                </a:lnTo>
                <a:lnTo>
                  <a:pt x="500" y="9"/>
                </a:lnTo>
                <a:lnTo>
                  <a:pt x="500" y="9"/>
                </a:lnTo>
                <a:lnTo>
                  <a:pt x="500" y="9"/>
                </a:lnTo>
                <a:lnTo>
                  <a:pt x="500" y="9"/>
                </a:lnTo>
                <a:lnTo>
                  <a:pt x="501" y="9"/>
                </a:lnTo>
                <a:lnTo>
                  <a:pt x="501" y="9"/>
                </a:lnTo>
                <a:lnTo>
                  <a:pt x="501" y="10"/>
                </a:lnTo>
                <a:lnTo>
                  <a:pt x="501" y="10"/>
                </a:lnTo>
                <a:lnTo>
                  <a:pt x="501" y="10"/>
                </a:lnTo>
                <a:lnTo>
                  <a:pt x="501" y="10"/>
                </a:lnTo>
                <a:lnTo>
                  <a:pt x="502" y="10"/>
                </a:lnTo>
                <a:lnTo>
                  <a:pt x="502" y="10"/>
                </a:lnTo>
                <a:lnTo>
                  <a:pt x="502" y="10"/>
                </a:lnTo>
                <a:lnTo>
                  <a:pt x="502" y="11"/>
                </a:lnTo>
                <a:lnTo>
                  <a:pt x="502" y="11"/>
                </a:lnTo>
                <a:lnTo>
                  <a:pt x="502" y="11"/>
                </a:lnTo>
                <a:lnTo>
                  <a:pt x="502" y="11"/>
                </a:lnTo>
                <a:lnTo>
                  <a:pt x="503" y="11"/>
                </a:lnTo>
                <a:lnTo>
                  <a:pt x="503" y="11"/>
                </a:lnTo>
                <a:lnTo>
                  <a:pt x="503" y="11"/>
                </a:lnTo>
                <a:lnTo>
                  <a:pt x="503" y="12"/>
                </a:lnTo>
                <a:lnTo>
                  <a:pt x="503" y="12"/>
                </a:lnTo>
                <a:lnTo>
                  <a:pt x="503" y="12"/>
                </a:lnTo>
                <a:lnTo>
                  <a:pt x="503" y="12"/>
                </a:lnTo>
                <a:lnTo>
                  <a:pt x="505" y="12"/>
                </a:lnTo>
                <a:lnTo>
                  <a:pt x="505" y="12"/>
                </a:lnTo>
                <a:lnTo>
                  <a:pt x="505" y="12"/>
                </a:lnTo>
                <a:lnTo>
                  <a:pt x="505" y="14"/>
                </a:lnTo>
                <a:lnTo>
                  <a:pt x="505" y="14"/>
                </a:lnTo>
                <a:lnTo>
                  <a:pt x="505" y="14"/>
                </a:lnTo>
                <a:lnTo>
                  <a:pt x="505" y="14"/>
                </a:lnTo>
                <a:lnTo>
                  <a:pt x="505" y="14"/>
                </a:lnTo>
                <a:lnTo>
                  <a:pt x="506" y="14"/>
                </a:lnTo>
                <a:lnTo>
                  <a:pt x="506" y="14"/>
                </a:lnTo>
                <a:lnTo>
                  <a:pt x="506" y="15"/>
                </a:lnTo>
                <a:lnTo>
                  <a:pt x="506" y="15"/>
                </a:lnTo>
                <a:lnTo>
                  <a:pt x="506" y="15"/>
                </a:lnTo>
                <a:lnTo>
                  <a:pt x="506" y="15"/>
                </a:lnTo>
                <a:lnTo>
                  <a:pt x="506" y="15"/>
                </a:lnTo>
                <a:lnTo>
                  <a:pt x="506" y="15"/>
                </a:lnTo>
                <a:lnTo>
                  <a:pt x="507" y="16"/>
                </a:lnTo>
                <a:lnTo>
                  <a:pt x="507" y="16"/>
                </a:lnTo>
                <a:lnTo>
                  <a:pt x="507" y="16"/>
                </a:lnTo>
                <a:lnTo>
                  <a:pt x="507" y="16"/>
                </a:lnTo>
                <a:lnTo>
                  <a:pt x="507" y="16"/>
                </a:lnTo>
                <a:lnTo>
                  <a:pt x="507" y="16"/>
                </a:lnTo>
                <a:lnTo>
                  <a:pt x="507" y="17"/>
                </a:lnTo>
                <a:lnTo>
                  <a:pt x="507" y="17"/>
                </a:lnTo>
                <a:lnTo>
                  <a:pt x="507" y="17"/>
                </a:lnTo>
                <a:lnTo>
                  <a:pt x="508" y="17"/>
                </a:lnTo>
                <a:lnTo>
                  <a:pt x="508" y="17"/>
                </a:lnTo>
                <a:lnTo>
                  <a:pt x="508" y="17"/>
                </a:lnTo>
                <a:lnTo>
                  <a:pt x="508" y="18"/>
                </a:lnTo>
                <a:lnTo>
                  <a:pt x="508" y="18"/>
                </a:lnTo>
                <a:lnTo>
                  <a:pt x="508" y="18"/>
                </a:lnTo>
                <a:lnTo>
                  <a:pt x="508" y="18"/>
                </a:lnTo>
                <a:lnTo>
                  <a:pt x="508" y="18"/>
                </a:lnTo>
                <a:lnTo>
                  <a:pt x="508" y="18"/>
                </a:lnTo>
                <a:lnTo>
                  <a:pt x="509" y="19"/>
                </a:lnTo>
                <a:lnTo>
                  <a:pt x="509" y="19"/>
                </a:lnTo>
                <a:lnTo>
                  <a:pt x="509" y="19"/>
                </a:lnTo>
                <a:lnTo>
                  <a:pt x="509" y="19"/>
                </a:lnTo>
                <a:lnTo>
                  <a:pt x="509" y="19"/>
                </a:lnTo>
                <a:lnTo>
                  <a:pt x="509" y="19"/>
                </a:lnTo>
                <a:lnTo>
                  <a:pt x="509" y="20"/>
                </a:lnTo>
                <a:lnTo>
                  <a:pt x="509" y="20"/>
                </a:lnTo>
                <a:lnTo>
                  <a:pt x="509" y="20"/>
                </a:lnTo>
                <a:lnTo>
                  <a:pt x="509" y="20"/>
                </a:lnTo>
                <a:lnTo>
                  <a:pt x="510" y="20"/>
                </a:lnTo>
                <a:lnTo>
                  <a:pt x="510" y="21"/>
                </a:lnTo>
                <a:lnTo>
                  <a:pt x="510" y="21"/>
                </a:lnTo>
                <a:lnTo>
                  <a:pt x="510" y="21"/>
                </a:lnTo>
                <a:lnTo>
                  <a:pt x="510" y="21"/>
                </a:lnTo>
                <a:lnTo>
                  <a:pt x="510" y="21"/>
                </a:lnTo>
                <a:lnTo>
                  <a:pt x="510" y="21"/>
                </a:lnTo>
                <a:lnTo>
                  <a:pt x="510" y="23"/>
                </a:lnTo>
                <a:lnTo>
                  <a:pt x="510" y="23"/>
                </a:lnTo>
                <a:lnTo>
                  <a:pt x="510" y="23"/>
                </a:lnTo>
                <a:lnTo>
                  <a:pt x="510" y="23"/>
                </a:lnTo>
                <a:lnTo>
                  <a:pt x="510" y="23"/>
                </a:lnTo>
                <a:lnTo>
                  <a:pt x="511" y="24"/>
                </a:lnTo>
                <a:lnTo>
                  <a:pt x="511" y="24"/>
                </a:lnTo>
                <a:lnTo>
                  <a:pt x="511" y="24"/>
                </a:lnTo>
                <a:lnTo>
                  <a:pt x="511" y="24"/>
                </a:lnTo>
                <a:lnTo>
                  <a:pt x="511" y="24"/>
                </a:lnTo>
                <a:lnTo>
                  <a:pt x="511" y="24"/>
                </a:lnTo>
                <a:lnTo>
                  <a:pt x="511" y="25"/>
                </a:lnTo>
                <a:lnTo>
                  <a:pt x="511" y="25"/>
                </a:lnTo>
                <a:lnTo>
                  <a:pt x="511" y="25"/>
                </a:lnTo>
                <a:lnTo>
                  <a:pt x="511" y="25"/>
                </a:lnTo>
                <a:lnTo>
                  <a:pt x="511" y="25"/>
                </a:lnTo>
                <a:lnTo>
                  <a:pt x="511" y="26"/>
                </a:lnTo>
                <a:lnTo>
                  <a:pt x="511" y="26"/>
                </a:lnTo>
                <a:lnTo>
                  <a:pt x="512" y="26"/>
                </a:lnTo>
                <a:lnTo>
                  <a:pt x="512" y="26"/>
                </a:lnTo>
                <a:lnTo>
                  <a:pt x="512" y="26"/>
                </a:lnTo>
                <a:lnTo>
                  <a:pt x="512" y="27"/>
                </a:lnTo>
                <a:lnTo>
                  <a:pt x="512" y="27"/>
                </a:lnTo>
                <a:lnTo>
                  <a:pt x="512" y="27"/>
                </a:lnTo>
                <a:lnTo>
                  <a:pt x="512" y="27"/>
                </a:lnTo>
                <a:lnTo>
                  <a:pt x="512" y="27"/>
                </a:lnTo>
                <a:lnTo>
                  <a:pt x="512" y="28"/>
                </a:lnTo>
                <a:lnTo>
                  <a:pt x="512" y="28"/>
                </a:lnTo>
                <a:lnTo>
                  <a:pt x="512" y="28"/>
                </a:lnTo>
                <a:lnTo>
                  <a:pt x="512" y="28"/>
                </a:lnTo>
                <a:lnTo>
                  <a:pt x="512" y="28"/>
                </a:lnTo>
                <a:lnTo>
                  <a:pt x="512" y="29"/>
                </a:lnTo>
                <a:lnTo>
                  <a:pt x="512" y="29"/>
                </a:lnTo>
                <a:lnTo>
                  <a:pt x="512" y="29"/>
                </a:lnTo>
                <a:lnTo>
                  <a:pt x="512" y="29"/>
                </a:lnTo>
                <a:lnTo>
                  <a:pt x="512" y="29"/>
                </a:lnTo>
                <a:lnTo>
                  <a:pt x="512" y="30"/>
                </a:lnTo>
                <a:lnTo>
                  <a:pt x="514" y="30"/>
                </a:lnTo>
                <a:lnTo>
                  <a:pt x="514" y="30"/>
                </a:lnTo>
                <a:lnTo>
                  <a:pt x="514" y="30"/>
                </a:lnTo>
                <a:lnTo>
                  <a:pt x="514" y="30"/>
                </a:lnTo>
                <a:lnTo>
                  <a:pt x="514" y="32"/>
                </a:lnTo>
                <a:lnTo>
                  <a:pt x="514" y="32"/>
                </a:lnTo>
                <a:lnTo>
                  <a:pt x="514" y="32"/>
                </a:lnTo>
                <a:lnTo>
                  <a:pt x="514" y="32"/>
                </a:lnTo>
                <a:lnTo>
                  <a:pt x="514" y="32"/>
                </a:lnTo>
                <a:lnTo>
                  <a:pt x="514" y="33"/>
                </a:lnTo>
                <a:lnTo>
                  <a:pt x="514" y="33"/>
                </a:lnTo>
                <a:lnTo>
                  <a:pt x="514" y="33"/>
                </a:lnTo>
                <a:lnTo>
                  <a:pt x="514" y="33"/>
                </a:lnTo>
                <a:lnTo>
                  <a:pt x="514" y="34"/>
                </a:lnTo>
                <a:lnTo>
                  <a:pt x="514" y="34"/>
                </a:lnTo>
                <a:lnTo>
                  <a:pt x="514" y="34"/>
                </a:lnTo>
                <a:lnTo>
                  <a:pt x="514" y="34"/>
                </a:lnTo>
                <a:lnTo>
                  <a:pt x="514" y="34"/>
                </a:lnTo>
                <a:lnTo>
                  <a:pt x="514" y="35"/>
                </a:lnTo>
                <a:lnTo>
                  <a:pt x="514" y="35"/>
                </a:lnTo>
                <a:lnTo>
                  <a:pt x="514" y="35"/>
                </a:lnTo>
                <a:lnTo>
                  <a:pt x="514" y="35"/>
                </a:lnTo>
                <a:lnTo>
                  <a:pt x="514" y="35"/>
                </a:lnTo>
                <a:lnTo>
                  <a:pt x="514" y="36"/>
                </a:lnTo>
                <a:lnTo>
                  <a:pt x="514" y="36"/>
                </a:lnTo>
                <a:lnTo>
                  <a:pt x="514" y="36"/>
                </a:lnTo>
                <a:lnTo>
                  <a:pt x="514" y="36"/>
                </a:lnTo>
                <a:lnTo>
                  <a:pt x="514" y="36"/>
                </a:lnTo>
                <a:lnTo>
                  <a:pt x="514" y="37"/>
                </a:lnTo>
                <a:lnTo>
                  <a:pt x="514" y="37"/>
                </a:lnTo>
                <a:lnTo>
                  <a:pt x="514" y="37"/>
                </a:lnTo>
                <a:lnTo>
                  <a:pt x="514" y="37"/>
                </a:lnTo>
                <a:lnTo>
                  <a:pt x="514" y="38"/>
                </a:lnTo>
                <a:lnTo>
                  <a:pt x="514" y="38"/>
                </a:lnTo>
                <a:lnTo>
                  <a:pt x="514" y="38"/>
                </a:lnTo>
                <a:lnTo>
                  <a:pt x="514" y="38"/>
                </a:lnTo>
                <a:lnTo>
                  <a:pt x="514" y="38"/>
                </a:lnTo>
                <a:lnTo>
                  <a:pt x="514" y="39"/>
                </a:lnTo>
                <a:lnTo>
                  <a:pt x="514" y="39"/>
                </a:lnTo>
                <a:lnTo>
                  <a:pt x="514" y="39"/>
                </a:lnTo>
                <a:lnTo>
                  <a:pt x="514" y="39"/>
                </a:lnTo>
                <a:lnTo>
                  <a:pt x="514" y="39"/>
                </a:lnTo>
                <a:lnTo>
                  <a:pt x="514" y="41"/>
                </a:lnTo>
                <a:lnTo>
                  <a:pt x="514" y="41"/>
                </a:lnTo>
                <a:lnTo>
                  <a:pt x="514" y="41"/>
                </a:lnTo>
                <a:lnTo>
                  <a:pt x="514" y="41"/>
                </a:lnTo>
                <a:lnTo>
                  <a:pt x="514" y="42"/>
                </a:lnTo>
                <a:lnTo>
                  <a:pt x="514" y="42"/>
                </a:lnTo>
                <a:lnTo>
                  <a:pt x="514" y="42"/>
                </a:lnTo>
                <a:lnTo>
                  <a:pt x="514" y="42"/>
                </a:lnTo>
                <a:lnTo>
                  <a:pt x="514" y="42"/>
                </a:lnTo>
                <a:lnTo>
                  <a:pt x="514" y="43"/>
                </a:lnTo>
                <a:lnTo>
                  <a:pt x="514" y="43"/>
                </a:lnTo>
                <a:lnTo>
                  <a:pt x="514" y="43"/>
                </a:lnTo>
                <a:lnTo>
                  <a:pt x="514" y="43"/>
                </a:lnTo>
                <a:lnTo>
                  <a:pt x="514" y="43"/>
                </a:lnTo>
                <a:lnTo>
                  <a:pt x="514" y="44"/>
                </a:lnTo>
                <a:lnTo>
                  <a:pt x="514" y="44"/>
                </a:lnTo>
                <a:lnTo>
                  <a:pt x="514" y="44"/>
                </a:lnTo>
                <a:lnTo>
                  <a:pt x="514" y="44"/>
                </a:lnTo>
                <a:lnTo>
                  <a:pt x="514" y="44"/>
                </a:lnTo>
                <a:lnTo>
                  <a:pt x="514" y="45"/>
                </a:lnTo>
                <a:lnTo>
                  <a:pt x="514" y="45"/>
                </a:lnTo>
                <a:lnTo>
                  <a:pt x="514" y="45"/>
                </a:lnTo>
                <a:lnTo>
                  <a:pt x="514" y="45"/>
                </a:lnTo>
                <a:lnTo>
                  <a:pt x="512" y="45"/>
                </a:lnTo>
                <a:lnTo>
                  <a:pt x="512" y="46"/>
                </a:lnTo>
                <a:lnTo>
                  <a:pt x="512" y="46"/>
                </a:lnTo>
                <a:lnTo>
                  <a:pt x="512" y="46"/>
                </a:lnTo>
                <a:lnTo>
                  <a:pt x="512" y="46"/>
                </a:lnTo>
                <a:lnTo>
                  <a:pt x="512" y="46"/>
                </a:lnTo>
                <a:lnTo>
                  <a:pt x="512" y="47"/>
                </a:lnTo>
                <a:lnTo>
                  <a:pt x="512" y="47"/>
                </a:lnTo>
                <a:lnTo>
                  <a:pt x="512" y="47"/>
                </a:lnTo>
                <a:lnTo>
                  <a:pt x="512" y="47"/>
                </a:lnTo>
                <a:lnTo>
                  <a:pt x="512" y="47"/>
                </a:lnTo>
                <a:lnTo>
                  <a:pt x="512" y="48"/>
                </a:lnTo>
                <a:lnTo>
                  <a:pt x="512" y="48"/>
                </a:lnTo>
                <a:lnTo>
                  <a:pt x="512" y="48"/>
                </a:lnTo>
                <a:lnTo>
                  <a:pt x="512" y="48"/>
                </a:lnTo>
                <a:lnTo>
                  <a:pt x="512" y="48"/>
                </a:lnTo>
                <a:lnTo>
                  <a:pt x="512" y="50"/>
                </a:lnTo>
                <a:lnTo>
                  <a:pt x="512" y="50"/>
                </a:lnTo>
                <a:lnTo>
                  <a:pt x="512" y="50"/>
                </a:lnTo>
                <a:lnTo>
                  <a:pt x="511" y="50"/>
                </a:lnTo>
                <a:lnTo>
                  <a:pt x="511" y="50"/>
                </a:lnTo>
                <a:lnTo>
                  <a:pt x="511" y="51"/>
                </a:lnTo>
                <a:lnTo>
                  <a:pt x="511" y="51"/>
                </a:lnTo>
                <a:lnTo>
                  <a:pt x="511" y="51"/>
                </a:lnTo>
                <a:lnTo>
                  <a:pt x="511" y="51"/>
                </a:lnTo>
                <a:lnTo>
                  <a:pt x="511" y="51"/>
                </a:lnTo>
                <a:lnTo>
                  <a:pt x="511" y="52"/>
                </a:lnTo>
                <a:lnTo>
                  <a:pt x="511" y="52"/>
                </a:lnTo>
                <a:lnTo>
                  <a:pt x="511" y="52"/>
                </a:lnTo>
                <a:lnTo>
                  <a:pt x="511" y="52"/>
                </a:lnTo>
                <a:lnTo>
                  <a:pt x="511" y="52"/>
                </a:lnTo>
                <a:lnTo>
                  <a:pt x="511" y="53"/>
                </a:lnTo>
                <a:lnTo>
                  <a:pt x="510" y="53"/>
                </a:lnTo>
                <a:lnTo>
                  <a:pt x="510" y="53"/>
                </a:lnTo>
                <a:lnTo>
                  <a:pt x="510" y="53"/>
                </a:lnTo>
                <a:lnTo>
                  <a:pt x="510" y="53"/>
                </a:lnTo>
                <a:lnTo>
                  <a:pt x="510" y="53"/>
                </a:lnTo>
                <a:lnTo>
                  <a:pt x="510" y="54"/>
                </a:lnTo>
                <a:lnTo>
                  <a:pt x="510" y="54"/>
                </a:lnTo>
                <a:lnTo>
                  <a:pt x="510" y="54"/>
                </a:lnTo>
                <a:lnTo>
                  <a:pt x="510" y="54"/>
                </a:lnTo>
                <a:lnTo>
                  <a:pt x="510" y="54"/>
                </a:lnTo>
                <a:lnTo>
                  <a:pt x="510" y="55"/>
                </a:lnTo>
                <a:lnTo>
                  <a:pt x="510" y="55"/>
                </a:lnTo>
                <a:lnTo>
                  <a:pt x="509" y="55"/>
                </a:lnTo>
                <a:lnTo>
                  <a:pt x="509" y="55"/>
                </a:lnTo>
                <a:lnTo>
                  <a:pt x="509" y="55"/>
                </a:lnTo>
                <a:lnTo>
                  <a:pt x="509" y="55"/>
                </a:lnTo>
                <a:lnTo>
                  <a:pt x="509" y="56"/>
                </a:lnTo>
                <a:lnTo>
                  <a:pt x="509" y="56"/>
                </a:lnTo>
                <a:lnTo>
                  <a:pt x="509" y="56"/>
                </a:lnTo>
                <a:lnTo>
                  <a:pt x="509" y="56"/>
                </a:lnTo>
                <a:lnTo>
                  <a:pt x="509" y="56"/>
                </a:lnTo>
                <a:lnTo>
                  <a:pt x="509" y="57"/>
                </a:lnTo>
                <a:lnTo>
                  <a:pt x="508" y="57"/>
                </a:lnTo>
                <a:lnTo>
                  <a:pt x="508" y="57"/>
                </a:lnTo>
                <a:lnTo>
                  <a:pt x="508" y="57"/>
                </a:lnTo>
                <a:lnTo>
                  <a:pt x="508" y="57"/>
                </a:lnTo>
                <a:lnTo>
                  <a:pt x="508" y="57"/>
                </a:lnTo>
                <a:lnTo>
                  <a:pt x="508" y="59"/>
                </a:lnTo>
                <a:lnTo>
                  <a:pt x="508" y="59"/>
                </a:lnTo>
                <a:lnTo>
                  <a:pt x="508" y="59"/>
                </a:lnTo>
                <a:lnTo>
                  <a:pt x="508" y="59"/>
                </a:lnTo>
                <a:lnTo>
                  <a:pt x="507" y="59"/>
                </a:lnTo>
                <a:lnTo>
                  <a:pt x="507" y="59"/>
                </a:lnTo>
                <a:lnTo>
                  <a:pt x="507" y="60"/>
                </a:lnTo>
                <a:lnTo>
                  <a:pt x="507" y="60"/>
                </a:lnTo>
                <a:lnTo>
                  <a:pt x="507" y="60"/>
                </a:lnTo>
                <a:lnTo>
                  <a:pt x="507" y="60"/>
                </a:lnTo>
                <a:lnTo>
                  <a:pt x="507" y="60"/>
                </a:lnTo>
                <a:lnTo>
                  <a:pt x="507" y="60"/>
                </a:lnTo>
                <a:lnTo>
                  <a:pt x="507" y="61"/>
                </a:lnTo>
                <a:lnTo>
                  <a:pt x="506" y="61"/>
                </a:lnTo>
                <a:lnTo>
                  <a:pt x="506" y="61"/>
                </a:lnTo>
                <a:lnTo>
                  <a:pt x="506" y="61"/>
                </a:lnTo>
                <a:lnTo>
                  <a:pt x="506" y="61"/>
                </a:lnTo>
                <a:lnTo>
                  <a:pt x="506" y="61"/>
                </a:lnTo>
                <a:lnTo>
                  <a:pt x="506" y="61"/>
                </a:lnTo>
                <a:lnTo>
                  <a:pt x="506" y="62"/>
                </a:lnTo>
                <a:lnTo>
                  <a:pt x="506" y="62"/>
                </a:lnTo>
                <a:lnTo>
                  <a:pt x="505" y="62"/>
                </a:lnTo>
                <a:lnTo>
                  <a:pt x="505" y="62"/>
                </a:lnTo>
                <a:lnTo>
                  <a:pt x="505" y="62"/>
                </a:lnTo>
                <a:lnTo>
                  <a:pt x="505" y="62"/>
                </a:lnTo>
                <a:lnTo>
                  <a:pt x="505" y="63"/>
                </a:lnTo>
                <a:lnTo>
                  <a:pt x="505" y="63"/>
                </a:lnTo>
                <a:lnTo>
                  <a:pt x="505" y="63"/>
                </a:lnTo>
                <a:lnTo>
                  <a:pt x="505" y="63"/>
                </a:lnTo>
                <a:lnTo>
                  <a:pt x="503" y="63"/>
                </a:lnTo>
                <a:lnTo>
                  <a:pt x="503" y="63"/>
                </a:lnTo>
                <a:lnTo>
                  <a:pt x="503" y="63"/>
                </a:lnTo>
                <a:lnTo>
                  <a:pt x="503" y="64"/>
                </a:lnTo>
                <a:lnTo>
                  <a:pt x="503" y="64"/>
                </a:lnTo>
                <a:lnTo>
                  <a:pt x="503" y="64"/>
                </a:lnTo>
                <a:lnTo>
                  <a:pt x="503" y="64"/>
                </a:lnTo>
                <a:lnTo>
                  <a:pt x="502" y="64"/>
                </a:lnTo>
                <a:lnTo>
                  <a:pt x="502" y="64"/>
                </a:lnTo>
                <a:lnTo>
                  <a:pt x="502" y="64"/>
                </a:lnTo>
                <a:lnTo>
                  <a:pt x="502" y="65"/>
                </a:lnTo>
                <a:lnTo>
                  <a:pt x="502" y="65"/>
                </a:lnTo>
                <a:lnTo>
                  <a:pt x="502" y="65"/>
                </a:lnTo>
                <a:lnTo>
                  <a:pt x="502" y="65"/>
                </a:lnTo>
                <a:lnTo>
                  <a:pt x="501" y="65"/>
                </a:lnTo>
                <a:lnTo>
                  <a:pt x="501" y="65"/>
                </a:lnTo>
                <a:lnTo>
                  <a:pt x="501" y="65"/>
                </a:lnTo>
                <a:lnTo>
                  <a:pt x="501" y="66"/>
                </a:lnTo>
                <a:lnTo>
                  <a:pt x="501" y="66"/>
                </a:lnTo>
                <a:lnTo>
                  <a:pt x="501" y="66"/>
                </a:lnTo>
                <a:lnTo>
                  <a:pt x="500" y="66"/>
                </a:lnTo>
                <a:lnTo>
                  <a:pt x="500" y="66"/>
                </a:lnTo>
                <a:lnTo>
                  <a:pt x="500" y="66"/>
                </a:lnTo>
                <a:lnTo>
                  <a:pt x="500" y="66"/>
                </a:lnTo>
                <a:lnTo>
                  <a:pt x="500" y="66"/>
                </a:lnTo>
                <a:lnTo>
                  <a:pt x="500" y="68"/>
                </a:lnTo>
                <a:lnTo>
                  <a:pt x="500" y="68"/>
                </a:lnTo>
                <a:lnTo>
                  <a:pt x="499" y="68"/>
                </a:lnTo>
                <a:lnTo>
                  <a:pt x="499" y="68"/>
                </a:lnTo>
                <a:lnTo>
                  <a:pt x="499" y="68"/>
                </a:lnTo>
                <a:lnTo>
                  <a:pt x="499" y="68"/>
                </a:lnTo>
                <a:lnTo>
                  <a:pt x="499" y="68"/>
                </a:lnTo>
                <a:lnTo>
                  <a:pt x="499" y="68"/>
                </a:lnTo>
                <a:lnTo>
                  <a:pt x="498" y="69"/>
                </a:lnTo>
                <a:lnTo>
                  <a:pt x="498" y="69"/>
                </a:lnTo>
                <a:lnTo>
                  <a:pt x="498" y="69"/>
                </a:lnTo>
                <a:lnTo>
                  <a:pt x="498" y="69"/>
                </a:lnTo>
                <a:lnTo>
                  <a:pt x="498" y="69"/>
                </a:lnTo>
                <a:lnTo>
                  <a:pt x="498" y="69"/>
                </a:lnTo>
                <a:lnTo>
                  <a:pt x="497" y="69"/>
                </a:lnTo>
                <a:lnTo>
                  <a:pt x="497" y="69"/>
                </a:lnTo>
                <a:lnTo>
                  <a:pt x="497" y="69"/>
                </a:lnTo>
                <a:lnTo>
                  <a:pt x="497" y="70"/>
                </a:lnTo>
                <a:lnTo>
                  <a:pt x="497" y="70"/>
                </a:lnTo>
                <a:lnTo>
                  <a:pt x="497" y="70"/>
                </a:lnTo>
                <a:lnTo>
                  <a:pt x="496" y="70"/>
                </a:lnTo>
                <a:lnTo>
                  <a:pt x="496" y="70"/>
                </a:lnTo>
                <a:lnTo>
                  <a:pt x="496" y="70"/>
                </a:lnTo>
                <a:lnTo>
                  <a:pt x="496" y="70"/>
                </a:lnTo>
                <a:lnTo>
                  <a:pt x="496" y="70"/>
                </a:lnTo>
                <a:lnTo>
                  <a:pt x="496" y="70"/>
                </a:lnTo>
                <a:lnTo>
                  <a:pt x="494" y="71"/>
                </a:lnTo>
                <a:lnTo>
                  <a:pt x="494" y="71"/>
                </a:lnTo>
                <a:lnTo>
                  <a:pt x="494" y="71"/>
                </a:lnTo>
                <a:lnTo>
                  <a:pt x="494" y="71"/>
                </a:lnTo>
                <a:lnTo>
                  <a:pt x="494" y="71"/>
                </a:lnTo>
                <a:lnTo>
                  <a:pt x="494" y="71"/>
                </a:lnTo>
                <a:lnTo>
                  <a:pt x="493" y="71"/>
                </a:lnTo>
                <a:lnTo>
                  <a:pt x="493" y="71"/>
                </a:lnTo>
                <a:lnTo>
                  <a:pt x="493" y="71"/>
                </a:lnTo>
                <a:lnTo>
                  <a:pt x="493" y="71"/>
                </a:lnTo>
                <a:lnTo>
                  <a:pt x="493" y="71"/>
                </a:lnTo>
                <a:lnTo>
                  <a:pt x="492" y="72"/>
                </a:lnTo>
                <a:lnTo>
                  <a:pt x="492" y="72"/>
                </a:lnTo>
                <a:lnTo>
                  <a:pt x="492" y="72"/>
                </a:lnTo>
                <a:lnTo>
                  <a:pt x="492" y="72"/>
                </a:lnTo>
                <a:lnTo>
                  <a:pt x="492" y="72"/>
                </a:lnTo>
                <a:lnTo>
                  <a:pt x="492" y="72"/>
                </a:lnTo>
                <a:lnTo>
                  <a:pt x="491" y="72"/>
                </a:lnTo>
                <a:lnTo>
                  <a:pt x="491" y="72"/>
                </a:lnTo>
                <a:lnTo>
                  <a:pt x="491" y="72"/>
                </a:lnTo>
                <a:lnTo>
                  <a:pt x="491" y="72"/>
                </a:lnTo>
                <a:lnTo>
                  <a:pt x="491" y="72"/>
                </a:lnTo>
                <a:lnTo>
                  <a:pt x="490" y="72"/>
                </a:lnTo>
                <a:lnTo>
                  <a:pt x="490" y="73"/>
                </a:lnTo>
                <a:lnTo>
                  <a:pt x="490" y="73"/>
                </a:lnTo>
                <a:lnTo>
                  <a:pt x="490" y="73"/>
                </a:lnTo>
                <a:lnTo>
                  <a:pt x="490" y="73"/>
                </a:lnTo>
                <a:lnTo>
                  <a:pt x="489" y="73"/>
                </a:lnTo>
                <a:lnTo>
                  <a:pt x="489" y="73"/>
                </a:lnTo>
                <a:lnTo>
                  <a:pt x="489" y="73"/>
                </a:lnTo>
                <a:lnTo>
                  <a:pt x="489" y="73"/>
                </a:lnTo>
                <a:lnTo>
                  <a:pt x="489" y="73"/>
                </a:lnTo>
                <a:lnTo>
                  <a:pt x="488" y="73"/>
                </a:lnTo>
                <a:lnTo>
                  <a:pt x="488" y="73"/>
                </a:lnTo>
                <a:lnTo>
                  <a:pt x="488" y="73"/>
                </a:lnTo>
                <a:lnTo>
                  <a:pt x="488" y="73"/>
                </a:lnTo>
                <a:lnTo>
                  <a:pt x="488" y="73"/>
                </a:lnTo>
                <a:lnTo>
                  <a:pt x="488" y="74"/>
                </a:lnTo>
                <a:lnTo>
                  <a:pt x="487" y="74"/>
                </a:lnTo>
                <a:lnTo>
                  <a:pt x="487" y="74"/>
                </a:lnTo>
                <a:lnTo>
                  <a:pt x="487" y="74"/>
                </a:lnTo>
                <a:lnTo>
                  <a:pt x="487" y="74"/>
                </a:lnTo>
                <a:lnTo>
                  <a:pt x="487" y="74"/>
                </a:lnTo>
                <a:lnTo>
                  <a:pt x="485" y="74"/>
                </a:lnTo>
                <a:lnTo>
                  <a:pt x="485" y="74"/>
                </a:lnTo>
                <a:lnTo>
                  <a:pt x="485" y="74"/>
                </a:lnTo>
                <a:lnTo>
                  <a:pt x="485" y="74"/>
                </a:lnTo>
                <a:lnTo>
                  <a:pt x="485" y="74"/>
                </a:lnTo>
                <a:lnTo>
                  <a:pt x="484" y="74"/>
                </a:lnTo>
                <a:lnTo>
                  <a:pt x="484" y="74"/>
                </a:lnTo>
                <a:lnTo>
                  <a:pt x="484" y="74"/>
                </a:lnTo>
                <a:lnTo>
                  <a:pt x="484" y="74"/>
                </a:lnTo>
                <a:lnTo>
                  <a:pt x="484" y="74"/>
                </a:lnTo>
                <a:lnTo>
                  <a:pt x="483" y="74"/>
                </a:lnTo>
                <a:lnTo>
                  <a:pt x="483" y="74"/>
                </a:lnTo>
                <a:lnTo>
                  <a:pt x="483" y="74"/>
                </a:lnTo>
                <a:lnTo>
                  <a:pt x="483" y="74"/>
                </a:lnTo>
                <a:lnTo>
                  <a:pt x="482" y="74"/>
                </a:lnTo>
                <a:lnTo>
                  <a:pt x="482" y="74"/>
                </a:lnTo>
                <a:lnTo>
                  <a:pt x="482" y="76"/>
                </a:lnTo>
                <a:lnTo>
                  <a:pt x="482" y="76"/>
                </a:lnTo>
                <a:lnTo>
                  <a:pt x="482" y="76"/>
                </a:lnTo>
                <a:lnTo>
                  <a:pt x="481" y="76"/>
                </a:lnTo>
                <a:lnTo>
                  <a:pt x="481" y="76"/>
                </a:lnTo>
                <a:lnTo>
                  <a:pt x="481" y="76"/>
                </a:lnTo>
                <a:lnTo>
                  <a:pt x="481" y="76"/>
                </a:lnTo>
                <a:lnTo>
                  <a:pt x="481" y="76"/>
                </a:lnTo>
                <a:lnTo>
                  <a:pt x="480" y="76"/>
                </a:lnTo>
                <a:lnTo>
                  <a:pt x="480" y="76"/>
                </a:lnTo>
                <a:lnTo>
                  <a:pt x="480" y="76"/>
                </a:lnTo>
                <a:lnTo>
                  <a:pt x="480" y="76"/>
                </a:lnTo>
                <a:lnTo>
                  <a:pt x="480" y="76"/>
                </a:lnTo>
                <a:lnTo>
                  <a:pt x="479" y="76"/>
                </a:lnTo>
                <a:lnTo>
                  <a:pt x="479" y="76"/>
                </a:lnTo>
                <a:lnTo>
                  <a:pt x="479" y="76"/>
                </a:lnTo>
                <a:lnTo>
                  <a:pt x="479" y="76"/>
                </a:lnTo>
                <a:lnTo>
                  <a:pt x="479" y="76"/>
                </a:lnTo>
                <a:lnTo>
                  <a:pt x="478" y="76"/>
                </a:lnTo>
                <a:lnTo>
                  <a:pt x="478" y="76"/>
                </a:lnTo>
                <a:lnTo>
                  <a:pt x="478" y="76"/>
                </a:lnTo>
                <a:lnTo>
                  <a:pt x="478" y="76"/>
                </a:lnTo>
                <a:lnTo>
                  <a:pt x="476" y="76"/>
                </a:lnTo>
                <a:lnTo>
                  <a:pt x="476" y="76"/>
                </a:lnTo>
                <a:lnTo>
                  <a:pt x="476" y="76"/>
                </a:lnTo>
                <a:lnTo>
                  <a:pt x="476" y="76"/>
                </a:lnTo>
                <a:lnTo>
                  <a:pt x="476" y="76"/>
                </a:lnTo>
                <a:lnTo>
                  <a:pt x="475" y="76"/>
                </a:lnTo>
                <a:lnTo>
                  <a:pt x="475" y="76"/>
                </a:lnTo>
                <a:lnTo>
                  <a:pt x="475" y="76"/>
                </a:lnTo>
                <a:lnTo>
                  <a:pt x="475" y="76"/>
                </a:lnTo>
                <a:lnTo>
                  <a:pt x="475" y="76"/>
                </a:lnTo>
                <a:lnTo>
                  <a:pt x="474" y="76"/>
                </a:lnTo>
                <a:lnTo>
                  <a:pt x="474" y="76"/>
                </a:lnTo>
                <a:lnTo>
                  <a:pt x="474" y="76"/>
                </a:lnTo>
                <a:lnTo>
                  <a:pt x="474" y="76"/>
                </a:lnTo>
                <a:lnTo>
                  <a:pt x="473" y="76"/>
                </a:lnTo>
                <a:lnTo>
                  <a:pt x="473" y="76"/>
                </a:lnTo>
                <a:lnTo>
                  <a:pt x="473" y="76"/>
                </a:lnTo>
                <a:lnTo>
                  <a:pt x="473" y="76"/>
                </a:lnTo>
                <a:lnTo>
                  <a:pt x="473" y="76"/>
                </a:lnTo>
                <a:lnTo>
                  <a:pt x="472" y="76"/>
                </a:lnTo>
                <a:lnTo>
                  <a:pt x="472" y="76"/>
                </a:lnTo>
                <a:lnTo>
                  <a:pt x="472" y="76"/>
                </a:lnTo>
                <a:lnTo>
                  <a:pt x="472" y="76"/>
                </a:lnTo>
                <a:lnTo>
                  <a:pt x="472" y="76"/>
                </a:lnTo>
                <a:lnTo>
                  <a:pt x="471" y="76"/>
                </a:lnTo>
                <a:lnTo>
                  <a:pt x="471" y="76"/>
                </a:lnTo>
                <a:lnTo>
                  <a:pt x="471" y="76"/>
                </a:lnTo>
                <a:lnTo>
                  <a:pt x="471" y="76"/>
                </a:lnTo>
                <a:lnTo>
                  <a:pt x="471" y="76"/>
                </a:lnTo>
                <a:lnTo>
                  <a:pt x="470" y="74"/>
                </a:lnTo>
                <a:lnTo>
                  <a:pt x="470" y="74"/>
                </a:lnTo>
                <a:lnTo>
                  <a:pt x="470" y="74"/>
                </a:lnTo>
                <a:lnTo>
                  <a:pt x="470" y="74"/>
                </a:lnTo>
                <a:lnTo>
                  <a:pt x="469" y="74"/>
                </a:lnTo>
                <a:lnTo>
                  <a:pt x="469" y="74"/>
                </a:lnTo>
                <a:lnTo>
                  <a:pt x="469" y="74"/>
                </a:lnTo>
                <a:lnTo>
                  <a:pt x="469" y="74"/>
                </a:lnTo>
                <a:lnTo>
                  <a:pt x="469" y="74"/>
                </a:lnTo>
                <a:lnTo>
                  <a:pt x="467" y="74"/>
                </a:lnTo>
                <a:lnTo>
                  <a:pt x="467" y="74"/>
                </a:lnTo>
                <a:lnTo>
                  <a:pt x="467" y="74"/>
                </a:lnTo>
                <a:lnTo>
                  <a:pt x="467" y="74"/>
                </a:lnTo>
                <a:lnTo>
                  <a:pt x="467" y="74"/>
                </a:lnTo>
                <a:lnTo>
                  <a:pt x="466" y="74"/>
                </a:lnTo>
                <a:lnTo>
                  <a:pt x="466" y="74"/>
                </a:lnTo>
                <a:lnTo>
                  <a:pt x="466" y="74"/>
                </a:lnTo>
                <a:lnTo>
                  <a:pt x="466" y="74"/>
                </a:lnTo>
                <a:lnTo>
                  <a:pt x="466" y="74"/>
                </a:lnTo>
                <a:lnTo>
                  <a:pt x="465" y="74"/>
                </a:lnTo>
                <a:lnTo>
                  <a:pt x="465" y="74"/>
                </a:lnTo>
                <a:lnTo>
                  <a:pt x="465" y="74"/>
                </a:lnTo>
                <a:lnTo>
                  <a:pt x="465" y="73"/>
                </a:lnTo>
                <a:lnTo>
                  <a:pt x="465" y="73"/>
                </a:lnTo>
                <a:lnTo>
                  <a:pt x="464" y="73"/>
                </a:lnTo>
                <a:lnTo>
                  <a:pt x="464" y="73"/>
                </a:lnTo>
                <a:lnTo>
                  <a:pt x="464" y="73"/>
                </a:lnTo>
                <a:lnTo>
                  <a:pt x="464" y="73"/>
                </a:lnTo>
                <a:lnTo>
                  <a:pt x="464" y="73"/>
                </a:lnTo>
                <a:lnTo>
                  <a:pt x="464" y="73"/>
                </a:lnTo>
                <a:lnTo>
                  <a:pt x="463" y="73"/>
                </a:lnTo>
                <a:lnTo>
                  <a:pt x="463" y="73"/>
                </a:lnTo>
                <a:lnTo>
                  <a:pt x="463" y="73"/>
                </a:lnTo>
                <a:lnTo>
                  <a:pt x="463" y="73"/>
                </a:lnTo>
                <a:lnTo>
                  <a:pt x="463" y="73"/>
                </a:lnTo>
                <a:lnTo>
                  <a:pt x="462" y="73"/>
                </a:lnTo>
                <a:lnTo>
                  <a:pt x="462" y="72"/>
                </a:lnTo>
                <a:lnTo>
                  <a:pt x="462" y="72"/>
                </a:lnTo>
                <a:lnTo>
                  <a:pt x="462" y="72"/>
                </a:lnTo>
                <a:lnTo>
                  <a:pt x="462" y="72"/>
                </a:lnTo>
                <a:lnTo>
                  <a:pt x="461" y="72"/>
                </a:lnTo>
                <a:lnTo>
                  <a:pt x="461" y="72"/>
                </a:lnTo>
                <a:lnTo>
                  <a:pt x="461" y="72"/>
                </a:lnTo>
                <a:lnTo>
                  <a:pt x="461" y="72"/>
                </a:lnTo>
                <a:lnTo>
                  <a:pt x="461" y="72"/>
                </a:lnTo>
                <a:lnTo>
                  <a:pt x="461" y="72"/>
                </a:lnTo>
                <a:lnTo>
                  <a:pt x="459" y="72"/>
                </a:lnTo>
                <a:lnTo>
                  <a:pt x="459" y="72"/>
                </a:lnTo>
                <a:lnTo>
                  <a:pt x="459" y="71"/>
                </a:lnTo>
                <a:lnTo>
                  <a:pt x="459" y="71"/>
                </a:lnTo>
                <a:lnTo>
                  <a:pt x="459" y="71"/>
                </a:lnTo>
                <a:lnTo>
                  <a:pt x="458" y="71"/>
                </a:lnTo>
                <a:lnTo>
                  <a:pt x="458" y="71"/>
                </a:lnTo>
                <a:lnTo>
                  <a:pt x="458" y="71"/>
                </a:lnTo>
                <a:lnTo>
                  <a:pt x="458" y="71"/>
                </a:lnTo>
                <a:lnTo>
                  <a:pt x="458" y="71"/>
                </a:lnTo>
                <a:lnTo>
                  <a:pt x="458" y="71"/>
                </a:lnTo>
                <a:lnTo>
                  <a:pt x="457" y="71"/>
                </a:lnTo>
                <a:lnTo>
                  <a:pt x="457" y="71"/>
                </a:lnTo>
                <a:lnTo>
                  <a:pt x="457" y="70"/>
                </a:lnTo>
                <a:lnTo>
                  <a:pt x="457" y="70"/>
                </a:lnTo>
                <a:lnTo>
                  <a:pt x="457" y="70"/>
                </a:lnTo>
                <a:lnTo>
                  <a:pt x="456" y="70"/>
                </a:lnTo>
                <a:lnTo>
                  <a:pt x="456" y="70"/>
                </a:lnTo>
                <a:lnTo>
                  <a:pt x="456" y="70"/>
                </a:lnTo>
                <a:lnTo>
                  <a:pt x="456" y="70"/>
                </a:lnTo>
                <a:lnTo>
                  <a:pt x="456" y="70"/>
                </a:lnTo>
                <a:lnTo>
                  <a:pt x="456" y="70"/>
                </a:lnTo>
                <a:lnTo>
                  <a:pt x="455" y="69"/>
                </a:lnTo>
                <a:lnTo>
                  <a:pt x="455" y="69"/>
                </a:lnTo>
                <a:lnTo>
                  <a:pt x="455" y="69"/>
                </a:lnTo>
                <a:lnTo>
                  <a:pt x="455" y="69"/>
                </a:lnTo>
                <a:lnTo>
                  <a:pt x="455" y="69"/>
                </a:lnTo>
                <a:lnTo>
                  <a:pt x="455" y="69"/>
                </a:lnTo>
                <a:lnTo>
                  <a:pt x="454" y="69"/>
                </a:lnTo>
                <a:lnTo>
                  <a:pt x="454" y="69"/>
                </a:lnTo>
                <a:lnTo>
                  <a:pt x="454" y="69"/>
                </a:lnTo>
                <a:lnTo>
                  <a:pt x="454" y="68"/>
                </a:lnTo>
                <a:lnTo>
                  <a:pt x="454" y="68"/>
                </a:lnTo>
                <a:lnTo>
                  <a:pt x="454" y="68"/>
                </a:lnTo>
                <a:lnTo>
                  <a:pt x="454" y="68"/>
                </a:lnTo>
                <a:lnTo>
                  <a:pt x="453" y="68"/>
                </a:lnTo>
                <a:lnTo>
                  <a:pt x="453" y="68"/>
                </a:lnTo>
                <a:lnTo>
                  <a:pt x="453" y="68"/>
                </a:lnTo>
                <a:lnTo>
                  <a:pt x="453" y="68"/>
                </a:lnTo>
                <a:lnTo>
                  <a:pt x="453" y="66"/>
                </a:lnTo>
                <a:lnTo>
                  <a:pt x="453" y="66"/>
                </a:lnTo>
                <a:lnTo>
                  <a:pt x="452" y="66"/>
                </a:lnTo>
                <a:lnTo>
                  <a:pt x="452" y="66"/>
                </a:lnTo>
                <a:lnTo>
                  <a:pt x="452" y="66"/>
                </a:lnTo>
                <a:lnTo>
                  <a:pt x="452" y="66"/>
                </a:lnTo>
                <a:lnTo>
                  <a:pt x="452" y="66"/>
                </a:lnTo>
                <a:lnTo>
                  <a:pt x="452" y="66"/>
                </a:lnTo>
                <a:lnTo>
                  <a:pt x="452" y="65"/>
                </a:lnTo>
                <a:lnTo>
                  <a:pt x="450" y="65"/>
                </a:lnTo>
                <a:lnTo>
                  <a:pt x="450" y="65"/>
                </a:lnTo>
                <a:lnTo>
                  <a:pt x="450" y="65"/>
                </a:lnTo>
                <a:lnTo>
                  <a:pt x="450" y="65"/>
                </a:lnTo>
                <a:lnTo>
                  <a:pt x="450" y="65"/>
                </a:lnTo>
                <a:lnTo>
                  <a:pt x="450" y="65"/>
                </a:lnTo>
                <a:lnTo>
                  <a:pt x="449" y="64"/>
                </a:lnTo>
                <a:lnTo>
                  <a:pt x="449" y="64"/>
                </a:lnTo>
                <a:lnTo>
                  <a:pt x="449" y="64"/>
                </a:lnTo>
                <a:lnTo>
                  <a:pt x="449" y="64"/>
                </a:lnTo>
                <a:lnTo>
                  <a:pt x="449" y="64"/>
                </a:lnTo>
                <a:lnTo>
                  <a:pt x="449" y="64"/>
                </a:lnTo>
                <a:lnTo>
                  <a:pt x="449" y="64"/>
                </a:lnTo>
                <a:lnTo>
                  <a:pt x="448" y="63"/>
                </a:lnTo>
                <a:lnTo>
                  <a:pt x="448" y="63"/>
                </a:lnTo>
                <a:lnTo>
                  <a:pt x="448" y="63"/>
                </a:lnTo>
                <a:lnTo>
                  <a:pt x="448" y="63"/>
                </a:lnTo>
                <a:lnTo>
                  <a:pt x="448" y="63"/>
                </a:lnTo>
                <a:lnTo>
                  <a:pt x="448" y="63"/>
                </a:lnTo>
                <a:lnTo>
                  <a:pt x="448" y="63"/>
                </a:lnTo>
                <a:lnTo>
                  <a:pt x="448" y="62"/>
                </a:lnTo>
                <a:lnTo>
                  <a:pt x="447" y="62"/>
                </a:lnTo>
                <a:lnTo>
                  <a:pt x="447" y="62"/>
                </a:lnTo>
                <a:lnTo>
                  <a:pt x="447" y="62"/>
                </a:lnTo>
                <a:lnTo>
                  <a:pt x="447" y="62"/>
                </a:lnTo>
                <a:lnTo>
                  <a:pt x="447" y="62"/>
                </a:lnTo>
                <a:lnTo>
                  <a:pt x="447" y="61"/>
                </a:lnTo>
                <a:lnTo>
                  <a:pt x="447" y="61"/>
                </a:lnTo>
                <a:lnTo>
                  <a:pt x="447" y="61"/>
                </a:lnTo>
                <a:lnTo>
                  <a:pt x="446" y="61"/>
                </a:lnTo>
                <a:lnTo>
                  <a:pt x="446" y="61"/>
                </a:lnTo>
                <a:lnTo>
                  <a:pt x="446" y="61"/>
                </a:lnTo>
                <a:lnTo>
                  <a:pt x="446" y="61"/>
                </a:lnTo>
                <a:lnTo>
                  <a:pt x="446" y="60"/>
                </a:lnTo>
                <a:lnTo>
                  <a:pt x="446" y="60"/>
                </a:lnTo>
                <a:lnTo>
                  <a:pt x="446" y="60"/>
                </a:lnTo>
                <a:lnTo>
                  <a:pt x="446" y="60"/>
                </a:lnTo>
                <a:lnTo>
                  <a:pt x="445" y="60"/>
                </a:lnTo>
                <a:lnTo>
                  <a:pt x="445" y="60"/>
                </a:lnTo>
                <a:lnTo>
                  <a:pt x="445" y="59"/>
                </a:lnTo>
                <a:lnTo>
                  <a:pt x="445" y="59"/>
                </a:lnTo>
                <a:lnTo>
                  <a:pt x="445" y="59"/>
                </a:lnTo>
                <a:lnTo>
                  <a:pt x="445" y="59"/>
                </a:lnTo>
                <a:lnTo>
                  <a:pt x="445" y="59"/>
                </a:lnTo>
                <a:lnTo>
                  <a:pt x="445" y="59"/>
                </a:lnTo>
                <a:lnTo>
                  <a:pt x="445" y="57"/>
                </a:lnTo>
                <a:lnTo>
                  <a:pt x="444" y="57"/>
                </a:lnTo>
                <a:lnTo>
                  <a:pt x="444" y="57"/>
                </a:lnTo>
                <a:lnTo>
                  <a:pt x="444" y="57"/>
                </a:lnTo>
                <a:lnTo>
                  <a:pt x="444" y="57"/>
                </a:lnTo>
                <a:lnTo>
                  <a:pt x="444" y="57"/>
                </a:lnTo>
                <a:lnTo>
                  <a:pt x="444" y="56"/>
                </a:lnTo>
                <a:lnTo>
                  <a:pt x="444" y="56"/>
                </a:lnTo>
                <a:lnTo>
                  <a:pt x="444" y="56"/>
                </a:lnTo>
                <a:lnTo>
                  <a:pt x="444" y="56"/>
                </a:lnTo>
                <a:lnTo>
                  <a:pt x="444" y="56"/>
                </a:lnTo>
                <a:lnTo>
                  <a:pt x="443" y="55"/>
                </a:lnTo>
                <a:lnTo>
                  <a:pt x="443" y="55"/>
                </a:lnTo>
                <a:lnTo>
                  <a:pt x="443" y="55"/>
                </a:lnTo>
                <a:lnTo>
                  <a:pt x="443" y="55"/>
                </a:lnTo>
                <a:lnTo>
                  <a:pt x="443" y="55"/>
                </a:lnTo>
                <a:lnTo>
                  <a:pt x="443" y="55"/>
                </a:lnTo>
                <a:lnTo>
                  <a:pt x="443" y="54"/>
                </a:lnTo>
                <a:lnTo>
                  <a:pt x="443" y="54"/>
                </a:lnTo>
                <a:lnTo>
                  <a:pt x="443" y="54"/>
                </a:lnTo>
                <a:lnTo>
                  <a:pt x="443" y="54"/>
                </a:lnTo>
                <a:lnTo>
                  <a:pt x="443" y="54"/>
                </a:lnTo>
                <a:lnTo>
                  <a:pt x="441" y="53"/>
                </a:lnTo>
                <a:lnTo>
                  <a:pt x="441" y="53"/>
                </a:lnTo>
                <a:lnTo>
                  <a:pt x="441" y="53"/>
                </a:lnTo>
                <a:lnTo>
                  <a:pt x="441" y="53"/>
                </a:lnTo>
                <a:lnTo>
                  <a:pt x="441" y="53"/>
                </a:lnTo>
                <a:lnTo>
                  <a:pt x="441" y="53"/>
                </a:lnTo>
                <a:lnTo>
                  <a:pt x="441" y="52"/>
                </a:lnTo>
                <a:lnTo>
                  <a:pt x="441" y="52"/>
                </a:lnTo>
                <a:lnTo>
                  <a:pt x="441" y="52"/>
                </a:lnTo>
                <a:lnTo>
                  <a:pt x="441" y="52"/>
                </a:lnTo>
                <a:lnTo>
                  <a:pt x="441" y="52"/>
                </a:lnTo>
                <a:lnTo>
                  <a:pt x="441" y="51"/>
                </a:lnTo>
                <a:lnTo>
                  <a:pt x="441" y="51"/>
                </a:lnTo>
                <a:lnTo>
                  <a:pt x="440" y="51"/>
                </a:lnTo>
                <a:lnTo>
                  <a:pt x="440" y="51"/>
                </a:lnTo>
                <a:lnTo>
                  <a:pt x="440" y="51"/>
                </a:lnTo>
                <a:lnTo>
                  <a:pt x="440" y="50"/>
                </a:lnTo>
                <a:lnTo>
                  <a:pt x="440" y="50"/>
                </a:lnTo>
                <a:lnTo>
                  <a:pt x="440" y="50"/>
                </a:lnTo>
                <a:lnTo>
                  <a:pt x="440" y="50"/>
                </a:lnTo>
                <a:lnTo>
                  <a:pt x="440" y="50"/>
                </a:lnTo>
                <a:lnTo>
                  <a:pt x="440" y="48"/>
                </a:lnTo>
                <a:lnTo>
                  <a:pt x="440" y="48"/>
                </a:lnTo>
                <a:lnTo>
                  <a:pt x="440" y="48"/>
                </a:lnTo>
                <a:lnTo>
                  <a:pt x="440" y="48"/>
                </a:lnTo>
                <a:lnTo>
                  <a:pt x="440" y="48"/>
                </a:lnTo>
                <a:lnTo>
                  <a:pt x="440" y="47"/>
                </a:lnTo>
                <a:lnTo>
                  <a:pt x="440" y="47"/>
                </a:lnTo>
                <a:lnTo>
                  <a:pt x="440" y="47"/>
                </a:lnTo>
                <a:lnTo>
                  <a:pt x="439" y="47"/>
                </a:lnTo>
                <a:lnTo>
                  <a:pt x="439" y="47"/>
                </a:lnTo>
                <a:lnTo>
                  <a:pt x="439" y="46"/>
                </a:lnTo>
                <a:lnTo>
                  <a:pt x="439" y="46"/>
                </a:lnTo>
                <a:lnTo>
                  <a:pt x="439" y="46"/>
                </a:lnTo>
                <a:lnTo>
                  <a:pt x="439" y="46"/>
                </a:lnTo>
                <a:lnTo>
                  <a:pt x="439" y="46"/>
                </a:lnTo>
                <a:lnTo>
                  <a:pt x="439" y="45"/>
                </a:lnTo>
                <a:lnTo>
                  <a:pt x="439" y="45"/>
                </a:lnTo>
                <a:lnTo>
                  <a:pt x="439" y="45"/>
                </a:lnTo>
                <a:lnTo>
                  <a:pt x="439" y="45"/>
                </a:lnTo>
                <a:lnTo>
                  <a:pt x="439" y="45"/>
                </a:lnTo>
                <a:lnTo>
                  <a:pt x="439" y="44"/>
                </a:lnTo>
                <a:lnTo>
                  <a:pt x="439" y="44"/>
                </a:lnTo>
                <a:lnTo>
                  <a:pt x="439" y="44"/>
                </a:lnTo>
                <a:lnTo>
                  <a:pt x="439" y="44"/>
                </a:lnTo>
                <a:lnTo>
                  <a:pt x="439" y="44"/>
                </a:lnTo>
                <a:lnTo>
                  <a:pt x="439" y="43"/>
                </a:lnTo>
                <a:lnTo>
                  <a:pt x="439" y="43"/>
                </a:lnTo>
                <a:lnTo>
                  <a:pt x="439" y="43"/>
                </a:lnTo>
                <a:lnTo>
                  <a:pt x="439" y="43"/>
                </a:lnTo>
                <a:lnTo>
                  <a:pt x="439" y="43"/>
                </a:lnTo>
                <a:lnTo>
                  <a:pt x="439" y="42"/>
                </a:lnTo>
                <a:lnTo>
                  <a:pt x="439" y="42"/>
                </a:lnTo>
                <a:lnTo>
                  <a:pt x="439" y="42"/>
                </a:lnTo>
                <a:lnTo>
                  <a:pt x="425" y="42"/>
                </a:lnTo>
                <a:lnTo>
                  <a:pt x="425" y="34"/>
                </a:lnTo>
                <a:lnTo>
                  <a:pt x="439" y="34"/>
                </a:lnTo>
                <a:lnTo>
                  <a:pt x="439" y="34"/>
                </a:lnTo>
                <a:close/>
                <a:moveTo>
                  <a:pt x="393" y="34"/>
                </a:moveTo>
                <a:lnTo>
                  <a:pt x="393" y="42"/>
                </a:lnTo>
                <a:lnTo>
                  <a:pt x="377" y="42"/>
                </a:lnTo>
                <a:lnTo>
                  <a:pt x="377" y="34"/>
                </a:lnTo>
                <a:lnTo>
                  <a:pt x="393" y="34"/>
                </a:lnTo>
                <a:lnTo>
                  <a:pt x="393" y="34"/>
                </a:lnTo>
                <a:close/>
                <a:moveTo>
                  <a:pt x="346" y="34"/>
                </a:moveTo>
                <a:lnTo>
                  <a:pt x="346" y="42"/>
                </a:lnTo>
                <a:lnTo>
                  <a:pt x="330" y="42"/>
                </a:lnTo>
                <a:lnTo>
                  <a:pt x="330" y="34"/>
                </a:lnTo>
                <a:lnTo>
                  <a:pt x="346" y="34"/>
                </a:lnTo>
                <a:lnTo>
                  <a:pt x="346" y="34"/>
                </a:lnTo>
                <a:close/>
                <a:moveTo>
                  <a:pt x="299" y="34"/>
                </a:moveTo>
                <a:lnTo>
                  <a:pt x="299" y="42"/>
                </a:lnTo>
                <a:lnTo>
                  <a:pt x="283" y="42"/>
                </a:lnTo>
                <a:lnTo>
                  <a:pt x="283" y="34"/>
                </a:lnTo>
                <a:lnTo>
                  <a:pt x="299" y="34"/>
                </a:lnTo>
                <a:lnTo>
                  <a:pt x="299" y="34"/>
                </a:lnTo>
                <a:close/>
                <a:moveTo>
                  <a:pt x="251" y="34"/>
                </a:moveTo>
                <a:lnTo>
                  <a:pt x="251" y="42"/>
                </a:lnTo>
                <a:lnTo>
                  <a:pt x="235" y="42"/>
                </a:lnTo>
                <a:lnTo>
                  <a:pt x="235" y="34"/>
                </a:lnTo>
                <a:lnTo>
                  <a:pt x="251" y="34"/>
                </a:lnTo>
                <a:lnTo>
                  <a:pt x="251" y="34"/>
                </a:lnTo>
                <a:close/>
                <a:moveTo>
                  <a:pt x="204" y="34"/>
                </a:moveTo>
                <a:lnTo>
                  <a:pt x="204" y="42"/>
                </a:lnTo>
                <a:lnTo>
                  <a:pt x="189" y="42"/>
                </a:lnTo>
                <a:lnTo>
                  <a:pt x="189" y="34"/>
                </a:lnTo>
                <a:lnTo>
                  <a:pt x="204" y="34"/>
                </a:lnTo>
                <a:lnTo>
                  <a:pt x="204" y="34"/>
                </a:lnTo>
                <a:close/>
                <a:moveTo>
                  <a:pt x="158" y="34"/>
                </a:moveTo>
                <a:lnTo>
                  <a:pt x="158" y="42"/>
                </a:lnTo>
                <a:lnTo>
                  <a:pt x="142" y="42"/>
                </a:lnTo>
                <a:lnTo>
                  <a:pt x="142" y="34"/>
                </a:lnTo>
                <a:lnTo>
                  <a:pt x="158" y="34"/>
                </a:lnTo>
                <a:lnTo>
                  <a:pt x="158" y="34"/>
                </a:lnTo>
                <a:close/>
                <a:moveTo>
                  <a:pt x="110" y="34"/>
                </a:moveTo>
                <a:lnTo>
                  <a:pt x="110" y="42"/>
                </a:lnTo>
                <a:lnTo>
                  <a:pt x="95" y="42"/>
                </a:lnTo>
                <a:lnTo>
                  <a:pt x="95" y="34"/>
                </a:lnTo>
                <a:lnTo>
                  <a:pt x="110" y="34"/>
                </a:lnTo>
                <a:lnTo>
                  <a:pt x="110" y="34"/>
                </a:lnTo>
                <a:close/>
                <a:moveTo>
                  <a:pt x="63" y="34"/>
                </a:moveTo>
                <a:lnTo>
                  <a:pt x="63" y="42"/>
                </a:lnTo>
                <a:lnTo>
                  <a:pt x="47" y="42"/>
                </a:lnTo>
                <a:lnTo>
                  <a:pt x="47" y="34"/>
                </a:lnTo>
                <a:lnTo>
                  <a:pt x="63" y="34"/>
                </a:lnTo>
                <a:close/>
              </a:path>
            </a:pathLst>
          </a:custGeom>
          <a:solidFill>
            <a:srgbClr val="8497B0"/>
          </a:solidFill>
          <a:ln>
            <a:solidFill>
              <a:srgbClr val="FFC000"/>
            </a:solidFill>
          </a:ln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1013"/>
          </a:p>
        </p:txBody>
      </p:sp>
      <p:sp>
        <p:nvSpPr>
          <p:cNvPr id="128" name="object 8">
            <a:extLst>
              <a:ext uri="{FF2B5EF4-FFF2-40B4-BE49-F238E27FC236}">
                <a16:creationId xmlns:a16="http://schemas.microsoft.com/office/drawing/2014/main" id="{57E10AA6-0997-4EFB-B87C-94F9E446E461}"/>
              </a:ext>
            </a:extLst>
          </p:cNvPr>
          <p:cNvSpPr txBox="1"/>
          <p:nvPr/>
        </p:nvSpPr>
        <p:spPr>
          <a:xfrm>
            <a:off x="502418" y="176251"/>
            <a:ext cx="6439579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ҚПАРАТТЫҚ-ТҮСІНДІРУ ЖҰМЫСТАРЫ</a:t>
            </a:r>
          </a:p>
        </p:txBody>
      </p:sp>
      <p:cxnSp>
        <p:nvCxnSpPr>
          <p:cNvPr id="39" name="Прямая соединительная линия 38">
            <a:extLst>
              <a:ext uri="{FF2B5EF4-FFF2-40B4-BE49-F238E27FC236}">
                <a16:creationId xmlns:a16="http://schemas.microsoft.com/office/drawing/2014/main" id="{D4946962-BA34-47C6-8C93-7AC91794F23D}"/>
              </a:ext>
            </a:extLst>
          </p:cNvPr>
          <p:cNvCxnSpPr>
            <a:cxnSpLocks/>
          </p:cNvCxnSpPr>
          <p:nvPr/>
        </p:nvCxnSpPr>
        <p:spPr>
          <a:xfrm flipV="1">
            <a:off x="209934" y="465423"/>
            <a:ext cx="6122286" cy="13991"/>
          </a:xfrm>
          <a:prstGeom prst="line">
            <a:avLst/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45" name="Прямоугольник 144">
            <a:extLst>
              <a:ext uri="{FF2B5EF4-FFF2-40B4-BE49-F238E27FC236}">
                <a16:creationId xmlns:a16="http://schemas.microsoft.com/office/drawing/2014/main" id="{B8DA9889-D0F6-4721-ABA5-0B653814B267}"/>
              </a:ext>
            </a:extLst>
          </p:cNvPr>
          <p:cNvSpPr/>
          <p:nvPr/>
        </p:nvSpPr>
        <p:spPr>
          <a:xfrm>
            <a:off x="264695" y="733926"/>
            <a:ext cx="6317078" cy="4156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24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ұрғындард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індетт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йес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қпараттандыр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е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уқымд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ұмыстар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ргізілд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grpSp>
        <p:nvGrpSpPr>
          <p:cNvPr id="146" name="Группа 145">
            <a:extLst>
              <a:ext uri="{FF2B5EF4-FFF2-40B4-BE49-F238E27FC236}">
                <a16:creationId xmlns:a16="http://schemas.microsoft.com/office/drawing/2014/main" id="{023A9AC2-3007-4423-975B-898B4B216E3E}"/>
              </a:ext>
            </a:extLst>
          </p:cNvPr>
          <p:cNvGrpSpPr/>
          <p:nvPr/>
        </p:nvGrpSpPr>
        <p:grpSpPr>
          <a:xfrm>
            <a:off x="4598054" y="1415071"/>
            <a:ext cx="1131195" cy="1101491"/>
            <a:chOff x="2942581" y="2419350"/>
            <a:chExt cx="912813" cy="911225"/>
          </a:xfrm>
        </p:grpSpPr>
        <p:sp>
          <p:nvSpPr>
            <p:cNvPr id="147" name="Freeform 54">
              <a:extLst>
                <a:ext uri="{FF2B5EF4-FFF2-40B4-BE49-F238E27FC236}">
                  <a16:creationId xmlns:a16="http://schemas.microsoft.com/office/drawing/2014/main" id="{8C7018D9-7C9F-4E4B-B013-E56710B62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2581" y="2419350"/>
              <a:ext cx="912813" cy="911225"/>
            </a:xfrm>
            <a:custGeom>
              <a:avLst/>
              <a:gdLst>
                <a:gd name="T0" fmla="*/ 62 w 510"/>
                <a:gd name="T1" fmla="*/ 143 h 510"/>
                <a:gd name="T2" fmla="*/ 367 w 510"/>
                <a:gd name="T3" fmla="*/ 61 h 510"/>
                <a:gd name="T4" fmla="*/ 449 w 510"/>
                <a:gd name="T5" fmla="*/ 366 h 510"/>
                <a:gd name="T6" fmla="*/ 144 w 510"/>
                <a:gd name="T7" fmla="*/ 448 h 510"/>
                <a:gd name="T8" fmla="*/ 62 w 510"/>
                <a:gd name="T9" fmla="*/ 143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0" h="510">
                  <a:moveTo>
                    <a:pt x="62" y="143"/>
                  </a:moveTo>
                  <a:cubicBezTo>
                    <a:pt x="124" y="36"/>
                    <a:pt x="260" y="0"/>
                    <a:pt x="367" y="61"/>
                  </a:cubicBezTo>
                  <a:cubicBezTo>
                    <a:pt x="474" y="123"/>
                    <a:pt x="510" y="260"/>
                    <a:pt x="449" y="366"/>
                  </a:cubicBezTo>
                  <a:cubicBezTo>
                    <a:pt x="387" y="473"/>
                    <a:pt x="250" y="510"/>
                    <a:pt x="144" y="448"/>
                  </a:cubicBezTo>
                  <a:cubicBezTo>
                    <a:pt x="37" y="386"/>
                    <a:pt x="0" y="250"/>
                    <a:pt x="62" y="143"/>
                  </a:cubicBezTo>
                  <a:close/>
                </a:path>
              </a:pathLst>
            </a:custGeom>
            <a:solidFill>
              <a:srgbClr val="006699"/>
            </a:solidFill>
            <a:ln>
              <a:noFill/>
            </a:ln>
            <a:effectLst/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148" name="Freeform 71">
              <a:extLst>
                <a:ext uri="{FF2B5EF4-FFF2-40B4-BE49-F238E27FC236}">
                  <a16:creationId xmlns:a16="http://schemas.microsoft.com/office/drawing/2014/main" id="{3D5B5ACE-9383-49AD-A86E-B28C52EAC60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287" y="2481262"/>
              <a:ext cx="787400" cy="787400"/>
            </a:xfrm>
            <a:custGeom>
              <a:avLst/>
              <a:gdLst>
                <a:gd name="T0" fmla="*/ 62 w 510"/>
                <a:gd name="T1" fmla="*/ 367 h 510"/>
                <a:gd name="T2" fmla="*/ 144 w 510"/>
                <a:gd name="T3" fmla="*/ 62 h 510"/>
                <a:gd name="T4" fmla="*/ 449 w 510"/>
                <a:gd name="T5" fmla="*/ 144 h 510"/>
                <a:gd name="T6" fmla="*/ 367 w 510"/>
                <a:gd name="T7" fmla="*/ 449 h 510"/>
                <a:gd name="T8" fmla="*/ 62 w 510"/>
                <a:gd name="T9" fmla="*/ 36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0" h="510">
                  <a:moveTo>
                    <a:pt x="62" y="367"/>
                  </a:moveTo>
                  <a:cubicBezTo>
                    <a:pt x="0" y="260"/>
                    <a:pt x="37" y="124"/>
                    <a:pt x="144" y="62"/>
                  </a:cubicBezTo>
                  <a:cubicBezTo>
                    <a:pt x="250" y="0"/>
                    <a:pt x="387" y="37"/>
                    <a:pt x="449" y="144"/>
                  </a:cubicBezTo>
                  <a:cubicBezTo>
                    <a:pt x="510" y="251"/>
                    <a:pt x="474" y="387"/>
                    <a:pt x="367" y="449"/>
                  </a:cubicBezTo>
                  <a:cubicBezTo>
                    <a:pt x="260" y="510"/>
                    <a:pt x="124" y="474"/>
                    <a:pt x="62" y="367"/>
                  </a:cubicBezTo>
                  <a:close/>
                </a:path>
              </a:pathLst>
            </a:custGeom>
            <a:noFill/>
            <a:ln w="19050">
              <a:solidFill>
                <a:schemeClr val="bg1"/>
              </a:solidFill>
            </a:ln>
            <a:effectLst/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</p:grpSp>
      <p:sp>
        <p:nvSpPr>
          <p:cNvPr id="149" name="TextBox 148">
            <a:extLst>
              <a:ext uri="{FF2B5EF4-FFF2-40B4-BE49-F238E27FC236}">
                <a16:creationId xmlns:a16="http://schemas.microsoft.com/office/drawing/2014/main" id="{4CD9D7EE-80BE-4976-BC4E-A98E7C6C69E7}"/>
              </a:ext>
            </a:extLst>
          </p:cNvPr>
          <p:cNvSpPr txBox="1"/>
          <p:nvPr/>
        </p:nvSpPr>
        <p:spPr>
          <a:xfrm>
            <a:off x="4906400" y="1820027"/>
            <a:ext cx="70181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854</a:t>
            </a:r>
            <a:endParaRPr lang="ru-KZ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4" name="Freeform 54">
            <a:extLst>
              <a:ext uri="{FF2B5EF4-FFF2-40B4-BE49-F238E27FC236}">
                <a16:creationId xmlns:a16="http://schemas.microsoft.com/office/drawing/2014/main" id="{FBDF5736-696B-4017-B3C7-192567A066C0}"/>
              </a:ext>
            </a:extLst>
          </p:cNvPr>
          <p:cNvSpPr>
            <a:spLocks/>
          </p:cNvSpPr>
          <p:nvPr/>
        </p:nvSpPr>
        <p:spPr bwMode="auto">
          <a:xfrm>
            <a:off x="4619967" y="2528407"/>
            <a:ext cx="1131195" cy="1101491"/>
          </a:xfrm>
          <a:custGeom>
            <a:avLst/>
            <a:gdLst>
              <a:gd name="T0" fmla="*/ 62 w 510"/>
              <a:gd name="T1" fmla="*/ 143 h 510"/>
              <a:gd name="T2" fmla="*/ 367 w 510"/>
              <a:gd name="T3" fmla="*/ 61 h 510"/>
              <a:gd name="T4" fmla="*/ 449 w 510"/>
              <a:gd name="T5" fmla="*/ 366 h 510"/>
              <a:gd name="T6" fmla="*/ 144 w 510"/>
              <a:gd name="T7" fmla="*/ 448 h 510"/>
              <a:gd name="T8" fmla="*/ 62 w 510"/>
              <a:gd name="T9" fmla="*/ 143 h 5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10" h="510">
                <a:moveTo>
                  <a:pt x="62" y="143"/>
                </a:moveTo>
                <a:cubicBezTo>
                  <a:pt x="124" y="36"/>
                  <a:pt x="260" y="0"/>
                  <a:pt x="367" y="61"/>
                </a:cubicBezTo>
                <a:cubicBezTo>
                  <a:pt x="474" y="123"/>
                  <a:pt x="510" y="260"/>
                  <a:pt x="449" y="366"/>
                </a:cubicBezTo>
                <a:cubicBezTo>
                  <a:pt x="387" y="473"/>
                  <a:pt x="250" y="510"/>
                  <a:pt x="144" y="448"/>
                </a:cubicBezTo>
                <a:cubicBezTo>
                  <a:pt x="37" y="386"/>
                  <a:pt x="0" y="250"/>
                  <a:pt x="62" y="143"/>
                </a:cubicBezTo>
                <a:close/>
              </a:path>
            </a:pathLst>
          </a:custGeom>
          <a:solidFill>
            <a:srgbClr val="006699"/>
          </a:solidFill>
          <a:ln>
            <a:noFill/>
          </a:ln>
          <a:effectLst/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900"/>
          </a:p>
        </p:txBody>
      </p:sp>
      <p:sp>
        <p:nvSpPr>
          <p:cNvPr id="166" name="Freeform 71">
            <a:extLst>
              <a:ext uri="{FF2B5EF4-FFF2-40B4-BE49-F238E27FC236}">
                <a16:creationId xmlns:a16="http://schemas.microsoft.com/office/drawing/2014/main" id="{CF412FAA-DC30-4895-A300-FB18218936C6}"/>
              </a:ext>
            </a:extLst>
          </p:cNvPr>
          <p:cNvSpPr>
            <a:spLocks/>
          </p:cNvSpPr>
          <p:nvPr/>
        </p:nvSpPr>
        <p:spPr bwMode="auto">
          <a:xfrm>
            <a:off x="4697675" y="2603246"/>
            <a:ext cx="975778" cy="951811"/>
          </a:xfrm>
          <a:custGeom>
            <a:avLst/>
            <a:gdLst>
              <a:gd name="T0" fmla="*/ 62 w 510"/>
              <a:gd name="T1" fmla="*/ 367 h 510"/>
              <a:gd name="T2" fmla="*/ 144 w 510"/>
              <a:gd name="T3" fmla="*/ 62 h 510"/>
              <a:gd name="T4" fmla="*/ 449 w 510"/>
              <a:gd name="T5" fmla="*/ 144 h 510"/>
              <a:gd name="T6" fmla="*/ 367 w 510"/>
              <a:gd name="T7" fmla="*/ 449 h 510"/>
              <a:gd name="T8" fmla="*/ 62 w 510"/>
              <a:gd name="T9" fmla="*/ 367 h 5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10" h="510">
                <a:moveTo>
                  <a:pt x="62" y="367"/>
                </a:moveTo>
                <a:cubicBezTo>
                  <a:pt x="0" y="260"/>
                  <a:pt x="37" y="124"/>
                  <a:pt x="144" y="62"/>
                </a:cubicBezTo>
                <a:cubicBezTo>
                  <a:pt x="250" y="0"/>
                  <a:pt x="387" y="37"/>
                  <a:pt x="449" y="144"/>
                </a:cubicBezTo>
                <a:cubicBezTo>
                  <a:pt x="510" y="251"/>
                  <a:pt x="474" y="387"/>
                  <a:pt x="367" y="449"/>
                </a:cubicBezTo>
                <a:cubicBezTo>
                  <a:pt x="260" y="510"/>
                  <a:pt x="124" y="474"/>
                  <a:pt x="62" y="367"/>
                </a:cubicBezTo>
                <a:close/>
              </a:path>
            </a:pathLst>
          </a:custGeom>
          <a:noFill/>
          <a:ln w="19050">
            <a:solidFill>
              <a:schemeClr val="bg1"/>
            </a:solidFill>
          </a:ln>
          <a:effectLst/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900"/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FDB8A8C0-A522-49FA-BF1B-9A5972022DE3}"/>
              </a:ext>
            </a:extLst>
          </p:cNvPr>
          <p:cNvSpPr txBox="1"/>
          <p:nvPr/>
        </p:nvSpPr>
        <p:spPr>
          <a:xfrm>
            <a:off x="4919181" y="2976459"/>
            <a:ext cx="977293" cy="213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88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2 830</a:t>
            </a:r>
            <a:endParaRPr lang="ru-KZ" sz="788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0" name="Freeform 54">
            <a:extLst>
              <a:ext uri="{FF2B5EF4-FFF2-40B4-BE49-F238E27FC236}">
                <a16:creationId xmlns:a16="http://schemas.microsoft.com/office/drawing/2014/main" id="{C804DD37-8096-4B2C-AAB8-0D68BB45CD46}"/>
              </a:ext>
            </a:extLst>
          </p:cNvPr>
          <p:cNvSpPr>
            <a:spLocks/>
          </p:cNvSpPr>
          <p:nvPr/>
        </p:nvSpPr>
        <p:spPr bwMode="auto">
          <a:xfrm>
            <a:off x="4635206" y="3688678"/>
            <a:ext cx="1131195" cy="1101491"/>
          </a:xfrm>
          <a:custGeom>
            <a:avLst/>
            <a:gdLst>
              <a:gd name="T0" fmla="*/ 62 w 510"/>
              <a:gd name="T1" fmla="*/ 143 h 510"/>
              <a:gd name="T2" fmla="*/ 367 w 510"/>
              <a:gd name="T3" fmla="*/ 61 h 510"/>
              <a:gd name="T4" fmla="*/ 449 w 510"/>
              <a:gd name="T5" fmla="*/ 366 h 510"/>
              <a:gd name="T6" fmla="*/ 144 w 510"/>
              <a:gd name="T7" fmla="*/ 448 h 510"/>
              <a:gd name="T8" fmla="*/ 62 w 510"/>
              <a:gd name="T9" fmla="*/ 143 h 5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10" h="510">
                <a:moveTo>
                  <a:pt x="62" y="143"/>
                </a:moveTo>
                <a:cubicBezTo>
                  <a:pt x="124" y="36"/>
                  <a:pt x="260" y="0"/>
                  <a:pt x="367" y="61"/>
                </a:cubicBezTo>
                <a:cubicBezTo>
                  <a:pt x="474" y="123"/>
                  <a:pt x="510" y="260"/>
                  <a:pt x="449" y="366"/>
                </a:cubicBezTo>
                <a:cubicBezTo>
                  <a:pt x="387" y="473"/>
                  <a:pt x="250" y="510"/>
                  <a:pt x="144" y="448"/>
                </a:cubicBezTo>
                <a:cubicBezTo>
                  <a:pt x="37" y="386"/>
                  <a:pt x="0" y="250"/>
                  <a:pt x="62" y="143"/>
                </a:cubicBezTo>
                <a:close/>
              </a:path>
            </a:pathLst>
          </a:custGeom>
          <a:solidFill>
            <a:srgbClr val="006699"/>
          </a:solidFill>
          <a:ln>
            <a:noFill/>
          </a:ln>
          <a:effectLst/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900"/>
          </a:p>
        </p:txBody>
      </p:sp>
      <p:sp>
        <p:nvSpPr>
          <p:cNvPr id="171" name="Freeform 71">
            <a:extLst>
              <a:ext uri="{FF2B5EF4-FFF2-40B4-BE49-F238E27FC236}">
                <a16:creationId xmlns:a16="http://schemas.microsoft.com/office/drawing/2014/main" id="{1D12C3B7-F1EB-46B0-B9B8-73A1F1B5616F}"/>
              </a:ext>
            </a:extLst>
          </p:cNvPr>
          <p:cNvSpPr>
            <a:spLocks/>
          </p:cNvSpPr>
          <p:nvPr/>
        </p:nvSpPr>
        <p:spPr bwMode="auto">
          <a:xfrm>
            <a:off x="4712914" y="3763517"/>
            <a:ext cx="975778" cy="951811"/>
          </a:xfrm>
          <a:custGeom>
            <a:avLst/>
            <a:gdLst>
              <a:gd name="T0" fmla="*/ 62 w 510"/>
              <a:gd name="T1" fmla="*/ 367 h 510"/>
              <a:gd name="T2" fmla="*/ 144 w 510"/>
              <a:gd name="T3" fmla="*/ 62 h 510"/>
              <a:gd name="T4" fmla="*/ 449 w 510"/>
              <a:gd name="T5" fmla="*/ 144 h 510"/>
              <a:gd name="T6" fmla="*/ 367 w 510"/>
              <a:gd name="T7" fmla="*/ 449 h 510"/>
              <a:gd name="T8" fmla="*/ 62 w 510"/>
              <a:gd name="T9" fmla="*/ 367 h 5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10" h="510">
                <a:moveTo>
                  <a:pt x="62" y="367"/>
                </a:moveTo>
                <a:cubicBezTo>
                  <a:pt x="0" y="260"/>
                  <a:pt x="37" y="124"/>
                  <a:pt x="144" y="62"/>
                </a:cubicBezTo>
                <a:cubicBezTo>
                  <a:pt x="250" y="0"/>
                  <a:pt x="387" y="37"/>
                  <a:pt x="449" y="144"/>
                </a:cubicBezTo>
                <a:cubicBezTo>
                  <a:pt x="510" y="251"/>
                  <a:pt x="474" y="387"/>
                  <a:pt x="367" y="449"/>
                </a:cubicBezTo>
                <a:cubicBezTo>
                  <a:pt x="260" y="510"/>
                  <a:pt x="124" y="474"/>
                  <a:pt x="62" y="367"/>
                </a:cubicBezTo>
                <a:close/>
              </a:path>
            </a:pathLst>
          </a:custGeom>
          <a:noFill/>
          <a:ln w="19050">
            <a:solidFill>
              <a:schemeClr val="bg1"/>
            </a:solidFill>
          </a:ln>
          <a:effectLst/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900"/>
          </a:p>
        </p:txBody>
      </p:sp>
      <p:sp>
        <p:nvSpPr>
          <p:cNvPr id="173" name="Freeform 54">
            <a:extLst>
              <a:ext uri="{FF2B5EF4-FFF2-40B4-BE49-F238E27FC236}">
                <a16:creationId xmlns:a16="http://schemas.microsoft.com/office/drawing/2014/main" id="{2F11578A-7321-4E5E-ACFC-08FA80592A18}"/>
              </a:ext>
            </a:extLst>
          </p:cNvPr>
          <p:cNvSpPr>
            <a:spLocks/>
          </p:cNvSpPr>
          <p:nvPr/>
        </p:nvSpPr>
        <p:spPr bwMode="auto">
          <a:xfrm>
            <a:off x="4632544" y="4943559"/>
            <a:ext cx="1131195" cy="1101491"/>
          </a:xfrm>
          <a:custGeom>
            <a:avLst/>
            <a:gdLst>
              <a:gd name="T0" fmla="*/ 62 w 510"/>
              <a:gd name="T1" fmla="*/ 143 h 510"/>
              <a:gd name="T2" fmla="*/ 367 w 510"/>
              <a:gd name="T3" fmla="*/ 61 h 510"/>
              <a:gd name="T4" fmla="*/ 449 w 510"/>
              <a:gd name="T5" fmla="*/ 366 h 510"/>
              <a:gd name="T6" fmla="*/ 144 w 510"/>
              <a:gd name="T7" fmla="*/ 448 h 510"/>
              <a:gd name="T8" fmla="*/ 62 w 510"/>
              <a:gd name="T9" fmla="*/ 143 h 5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10" h="510">
                <a:moveTo>
                  <a:pt x="62" y="143"/>
                </a:moveTo>
                <a:cubicBezTo>
                  <a:pt x="124" y="36"/>
                  <a:pt x="260" y="0"/>
                  <a:pt x="367" y="61"/>
                </a:cubicBezTo>
                <a:cubicBezTo>
                  <a:pt x="474" y="123"/>
                  <a:pt x="510" y="260"/>
                  <a:pt x="449" y="366"/>
                </a:cubicBezTo>
                <a:cubicBezTo>
                  <a:pt x="387" y="473"/>
                  <a:pt x="250" y="510"/>
                  <a:pt x="144" y="448"/>
                </a:cubicBezTo>
                <a:cubicBezTo>
                  <a:pt x="37" y="386"/>
                  <a:pt x="0" y="250"/>
                  <a:pt x="62" y="143"/>
                </a:cubicBezTo>
                <a:close/>
              </a:path>
            </a:pathLst>
          </a:custGeom>
          <a:solidFill>
            <a:srgbClr val="006699"/>
          </a:solidFill>
          <a:ln>
            <a:noFill/>
          </a:ln>
          <a:effectLst/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900"/>
          </a:p>
        </p:txBody>
      </p:sp>
      <p:sp>
        <p:nvSpPr>
          <p:cNvPr id="176" name="Freeform 71">
            <a:extLst>
              <a:ext uri="{FF2B5EF4-FFF2-40B4-BE49-F238E27FC236}">
                <a16:creationId xmlns:a16="http://schemas.microsoft.com/office/drawing/2014/main" id="{2AAF5247-BE6B-4D1E-B3F9-78D1D84D5278}"/>
              </a:ext>
            </a:extLst>
          </p:cNvPr>
          <p:cNvSpPr>
            <a:spLocks/>
          </p:cNvSpPr>
          <p:nvPr/>
        </p:nvSpPr>
        <p:spPr bwMode="auto">
          <a:xfrm>
            <a:off x="4710252" y="5018398"/>
            <a:ext cx="975778" cy="951811"/>
          </a:xfrm>
          <a:custGeom>
            <a:avLst/>
            <a:gdLst>
              <a:gd name="T0" fmla="*/ 62 w 510"/>
              <a:gd name="T1" fmla="*/ 367 h 510"/>
              <a:gd name="T2" fmla="*/ 144 w 510"/>
              <a:gd name="T3" fmla="*/ 62 h 510"/>
              <a:gd name="T4" fmla="*/ 449 w 510"/>
              <a:gd name="T5" fmla="*/ 144 h 510"/>
              <a:gd name="T6" fmla="*/ 367 w 510"/>
              <a:gd name="T7" fmla="*/ 449 h 510"/>
              <a:gd name="T8" fmla="*/ 62 w 510"/>
              <a:gd name="T9" fmla="*/ 367 h 5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10" h="510">
                <a:moveTo>
                  <a:pt x="62" y="367"/>
                </a:moveTo>
                <a:cubicBezTo>
                  <a:pt x="0" y="260"/>
                  <a:pt x="37" y="124"/>
                  <a:pt x="144" y="62"/>
                </a:cubicBezTo>
                <a:cubicBezTo>
                  <a:pt x="250" y="0"/>
                  <a:pt x="387" y="37"/>
                  <a:pt x="449" y="144"/>
                </a:cubicBezTo>
                <a:cubicBezTo>
                  <a:pt x="510" y="251"/>
                  <a:pt x="474" y="387"/>
                  <a:pt x="367" y="449"/>
                </a:cubicBezTo>
                <a:cubicBezTo>
                  <a:pt x="260" y="510"/>
                  <a:pt x="124" y="474"/>
                  <a:pt x="62" y="367"/>
                </a:cubicBezTo>
                <a:close/>
              </a:path>
            </a:pathLst>
          </a:custGeom>
          <a:noFill/>
          <a:ln w="19050">
            <a:solidFill>
              <a:schemeClr val="bg1"/>
            </a:solidFill>
          </a:ln>
          <a:effectLst/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900"/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90691673-A124-4276-97CB-3414655256E1}"/>
              </a:ext>
            </a:extLst>
          </p:cNvPr>
          <p:cNvSpPr txBox="1"/>
          <p:nvPr/>
        </p:nvSpPr>
        <p:spPr>
          <a:xfrm>
            <a:off x="4917957" y="4114134"/>
            <a:ext cx="60197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 003</a:t>
            </a:r>
            <a:endParaRPr lang="ru-KZ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id="{C525531B-C9F1-49B5-BA83-9D9C6B2408D2}"/>
              </a:ext>
            </a:extLst>
          </p:cNvPr>
          <p:cNvSpPr txBox="1"/>
          <p:nvPr/>
        </p:nvSpPr>
        <p:spPr>
          <a:xfrm>
            <a:off x="4952865" y="5364344"/>
            <a:ext cx="60197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 023</a:t>
            </a:r>
            <a:endParaRPr lang="ru-KZ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4" name="Freeform 54">
            <a:extLst>
              <a:ext uri="{FF2B5EF4-FFF2-40B4-BE49-F238E27FC236}">
                <a16:creationId xmlns:a16="http://schemas.microsoft.com/office/drawing/2014/main" id="{0D327478-C35E-404D-8953-5D39838AFEF9}"/>
              </a:ext>
            </a:extLst>
          </p:cNvPr>
          <p:cNvSpPr>
            <a:spLocks/>
          </p:cNvSpPr>
          <p:nvPr/>
        </p:nvSpPr>
        <p:spPr bwMode="auto">
          <a:xfrm>
            <a:off x="1127807" y="1415816"/>
            <a:ext cx="1131195" cy="1101491"/>
          </a:xfrm>
          <a:custGeom>
            <a:avLst/>
            <a:gdLst>
              <a:gd name="T0" fmla="*/ 62 w 510"/>
              <a:gd name="T1" fmla="*/ 143 h 510"/>
              <a:gd name="T2" fmla="*/ 367 w 510"/>
              <a:gd name="T3" fmla="*/ 61 h 510"/>
              <a:gd name="T4" fmla="*/ 449 w 510"/>
              <a:gd name="T5" fmla="*/ 366 h 510"/>
              <a:gd name="T6" fmla="*/ 144 w 510"/>
              <a:gd name="T7" fmla="*/ 448 h 510"/>
              <a:gd name="T8" fmla="*/ 62 w 510"/>
              <a:gd name="T9" fmla="*/ 143 h 5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10" h="510">
                <a:moveTo>
                  <a:pt x="62" y="143"/>
                </a:moveTo>
                <a:cubicBezTo>
                  <a:pt x="124" y="36"/>
                  <a:pt x="260" y="0"/>
                  <a:pt x="367" y="61"/>
                </a:cubicBezTo>
                <a:cubicBezTo>
                  <a:pt x="474" y="123"/>
                  <a:pt x="510" y="260"/>
                  <a:pt x="449" y="366"/>
                </a:cubicBezTo>
                <a:cubicBezTo>
                  <a:pt x="387" y="473"/>
                  <a:pt x="250" y="510"/>
                  <a:pt x="144" y="448"/>
                </a:cubicBezTo>
                <a:cubicBezTo>
                  <a:pt x="37" y="386"/>
                  <a:pt x="0" y="250"/>
                  <a:pt x="62" y="143"/>
                </a:cubicBezTo>
                <a:close/>
              </a:path>
            </a:pathLst>
          </a:custGeom>
          <a:solidFill>
            <a:srgbClr val="006699"/>
          </a:solidFill>
          <a:ln>
            <a:noFill/>
          </a:ln>
          <a:effectLst/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900"/>
          </a:p>
        </p:txBody>
      </p:sp>
      <p:sp>
        <p:nvSpPr>
          <p:cNvPr id="185" name="Freeform 71">
            <a:extLst>
              <a:ext uri="{FF2B5EF4-FFF2-40B4-BE49-F238E27FC236}">
                <a16:creationId xmlns:a16="http://schemas.microsoft.com/office/drawing/2014/main" id="{4A5D5668-4D07-4F19-A2B8-EF82471B14B5}"/>
              </a:ext>
            </a:extLst>
          </p:cNvPr>
          <p:cNvSpPr>
            <a:spLocks/>
          </p:cNvSpPr>
          <p:nvPr/>
        </p:nvSpPr>
        <p:spPr bwMode="auto">
          <a:xfrm>
            <a:off x="1205515" y="1490655"/>
            <a:ext cx="975778" cy="951811"/>
          </a:xfrm>
          <a:custGeom>
            <a:avLst/>
            <a:gdLst>
              <a:gd name="T0" fmla="*/ 62 w 510"/>
              <a:gd name="T1" fmla="*/ 367 h 510"/>
              <a:gd name="T2" fmla="*/ 144 w 510"/>
              <a:gd name="T3" fmla="*/ 62 h 510"/>
              <a:gd name="T4" fmla="*/ 449 w 510"/>
              <a:gd name="T5" fmla="*/ 144 h 510"/>
              <a:gd name="T6" fmla="*/ 367 w 510"/>
              <a:gd name="T7" fmla="*/ 449 h 510"/>
              <a:gd name="T8" fmla="*/ 62 w 510"/>
              <a:gd name="T9" fmla="*/ 367 h 5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10" h="510">
                <a:moveTo>
                  <a:pt x="62" y="367"/>
                </a:moveTo>
                <a:cubicBezTo>
                  <a:pt x="0" y="260"/>
                  <a:pt x="37" y="124"/>
                  <a:pt x="144" y="62"/>
                </a:cubicBezTo>
                <a:cubicBezTo>
                  <a:pt x="250" y="0"/>
                  <a:pt x="387" y="37"/>
                  <a:pt x="449" y="144"/>
                </a:cubicBezTo>
                <a:cubicBezTo>
                  <a:pt x="510" y="251"/>
                  <a:pt x="474" y="387"/>
                  <a:pt x="367" y="449"/>
                </a:cubicBezTo>
                <a:cubicBezTo>
                  <a:pt x="260" y="510"/>
                  <a:pt x="124" y="474"/>
                  <a:pt x="62" y="367"/>
                </a:cubicBezTo>
                <a:close/>
              </a:path>
            </a:pathLst>
          </a:custGeom>
          <a:noFill/>
          <a:ln w="19050">
            <a:solidFill>
              <a:schemeClr val="bg1"/>
            </a:solidFill>
          </a:ln>
          <a:effectLst/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900"/>
          </a:p>
        </p:txBody>
      </p:sp>
      <p:sp>
        <p:nvSpPr>
          <p:cNvPr id="186" name="Freeform 54">
            <a:extLst>
              <a:ext uri="{FF2B5EF4-FFF2-40B4-BE49-F238E27FC236}">
                <a16:creationId xmlns:a16="http://schemas.microsoft.com/office/drawing/2014/main" id="{2F8C7FE7-32D8-44AC-A4F0-E9CEC6E4DFDD}"/>
              </a:ext>
            </a:extLst>
          </p:cNvPr>
          <p:cNvSpPr>
            <a:spLocks/>
          </p:cNvSpPr>
          <p:nvPr/>
        </p:nvSpPr>
        <p:spPr bwMode="auto">
          <a:xfrm>
            <a:off x="1115290" y="2517227"/>
            <a:ext cx="1131195" cy="1101491"/>
          </a:xfrm>
          <a:custGeom>
            <a:avLst/>
            <a:gdLst>
              <a:gd name="T0" fmla="*/ 62 w 510"/>
              <a:gd name="T1" fmla="*/ 143 h 510"/>
              <a:gd name="T2" fmla="*/ 367 w 510"/>
              <a:gd name="T3" fmla="*/ 61 h 510"/>
              <a:gd name="T4" fmla="*/ 449 w 510"/>
              <a:gd name="T5" fmla="*/ 366 h 510"/>
              <a:gd name="T6" fmla="*/ 144 w 510"/>
              <a:gd name="T7" fmla="*/ 448 h 510"/>
              <a:gd name="T8" fmla="*/ 62 w 510"/>
              <a:gd name="T9" fmla="*/ 143 h 5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10" h="510">
                <a:moveTo>
                  <a:pt x="62" y="143"/>
                </a:moveTo>
                <a:cubicBezTo>
                  <a:pt x="124" y="36"/>
                  <a:pt x="260" y="0"/>
                  <a:pt x="367" y="61"/>
                </a:cubicBezTo>
                <a:cubicBezTo>
                  <a:pt x="474" y="123"/>
                  <a:pt x="510" y="260"/>
                  <a:pt x="449" y="366"/>
                </a:cubicBezTo>
                <a:cubicBezTo>
                  <a:pt x="387" y="473"/>
                  <a:pt x="250" y="510"/>
                  <a:pt x="144" y="448"/>
                </a:cubicBezTo>
                <a:cubicBezTo>
                  <a:pt x="37" y="386"/>
                  <a:pt x="0" y="250"/>
                  <a:pt x="62" y="143"/>
                </a:cubicBezTo>
                <a:close/>
              </a:path>
            </a:pathLst>
          </a:custGeom>
          <a:solidFill>
            <a:srgbClr val="006699"/>
          </a:solidFill>
          <a:ln>
            <a:noFill/>
          </a:ln>
          <a:effectLst/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900"/>
          </a:p>
        </p:txBody>
      </p:sp>
      <p:sp>
        <p:nvSpPr>
          <p:cNvPr id="187" name="Freeform 71">
            <a:extLst>
              <a:ext uri="{FF2B5EF4-FFF2-40B4-BE49-F238E27FC236}">
                <a16:creationId xmlns:a16="http://schemas.microsoft.com/office/drawing/2014/main" id="{D47791D4-75C5-4DED-B8F1-6BB0A28F2FF0}"/>
              </a:ext>
            </a:extLst>
          </p:cNvPr>
          <p:cNvSpPr>
            <a:spLocks/>
          </p:cNvSpPr>
          <p:nvPr/>
        </p:nvSpPr>
        <p:spPr bwMode="auto">
          <a:xfrm>
            <a:off x="1192998" y="2592066"/>
            <a:ext cx="975778" cy="951811"/>
          </a:xfrm>
          <a:custGeom>
            <a:avLst/>
            <a:gdLst>
              <a:gd name="T0" fmla="*/ 62 w 510"/>
              <a:gd name="T1" fmla="*/ 367 h 510"/>
              <a:gd name="T2" fmla="*/ 144 w 510"/>
              <a:gd name="T3" fmla="*/ 62 h 510"/>
              <a:gd name="T4" fmla="*/ 449 w 510"/>
              <a:gd name="T5" fmla="*/ 144 h 510"/>
              <a:gd name="T6" fmla="*/ 367 w 510"/>
              <a:gd name="T7" fmla="*/ 449 h 510"/>
              <a:gd name="T8" fmla="*/ 62 w 510"/>
              <a:gd name="T9" fmla="*/ 367 h 5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10" h="510">
                <a:moveTo>
                  <a:pt x="62" y="367"/>
                </a:moveTo>
                <a:cubicBezTo>
                  <a:pt x="0" y="260"/>
                  <a:pt x="37" y="124"/>
                  <a:pt x="144" y="62"/>
                </a:cubicBezTo>
                <a:cubicBezTo>
                  <a:pt x="250" y="0"/>
                  <a:pt x="387" y="37"/>
                  <a:pt x="449" y="144"/>
                </a:cubicBezTo>
                <a:cubicBezTo>
                  <a:pt x="510" y="251"/>
                  <a:pt x="474" y="387"/>
                  <a:pt x="367" y="449"/>
                </a:cubicBezTo>
                <a:cubicBezTo>
                  <a:pt x="260" y="510"/>
                  <a:pt x="124" y="474"/>
                  <a:pt x="62" y="367"/>
                </a:cubicBezTo>
                <a:close/>
              </a:path>
            </a:pathLst>
          </a:custGeom>
          <a:noFill/>
          <a:ln w="19050">
            <a:solidFill>
              <a:schemeClr val="bg1"/>
            </a:solidFill>
          </a:ln>
          <a:effectLst/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900"/>
          </a:p>
        </p:txBody>
      </p:sp>
      <p:sp>
        <p:nvSpPr>
          <p:cNvPr id="188" name="Freeform 54">
            <a:extLst>
              <a:ext uri="{FF2B5EF4-FFF2-40B4-BE49-F238E27FC236}">
                <a16:creationId xmlns:a16="http://schemas.microsoft.com/office/drawing/2014/main" id="{25FBF75F-F94E-4B0F-B5C8-21EA534EF559}"/>
              </a:ext>
            </a:extLst>
          </p:cNvPr>
          <p:cNvSpPr>
            <a:spLocks/>
          </p:cNvSpPr>
          <p:nvPr/>
        </p:nvSpPr>
        <p:spPr bwMode="auto">
          <a:xfrm>
            <a:off x="1115290" y="3697174"/>
            <a:ext cx="1131195" cy="1101491"/>
          </a:xfrm>
          <a:custGeom>
            <a:avLst/>
            <a:gdLst>
              <a:gd name="T0" fmla="*/ 62 w 510"/>
              <a:gd name="T1" fmla="*/ 143 h 510"/>
              <a:gd name="T2" fmla="*/ 367 w 510"/>
              <a:gd name="T3" fmla="*/ 61 h 510"/>
              <a:gd name="T4" fmla="*/ 449 w 510"/>
              <a:gd name="T5" fmla="*/ 366 h 510"/>
              <a:gd name="T6" fmla="*/ 144 w 510"/>
              <a:gd name="T7" fmla="*/ 448 h 510"/>
              <a:gd name="T8" fmla="*/ 62 w 510"/>
              <a:gd name="T9" fmla="*/ 143 h 5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10" h="510">
                <a:moveTo>
                  <a:pt x="62" y="143"/>
                </a:moveTo>
                <a:cubicBezTo>
                  <a:pt x="124" y="36"/>
                  <a:pt x="260" y="0"/>
                  <a:pt x="367" y="61"/>
                </a:cubicBezTo>
                <a:cubicBezTo>
                  <a:pt x="474" y="123"/>
                  <a:pt x="510" y="260"/>
                  <a:pt x="449" y="366"/>
                </a:cubicBezTo>
                <a:cubicBezTo>
                  <a:pt x="387" y="473"/>
                  <a:pt x="250" y="510"/>
                  <a:pt x="144" y="448"/>
                </a:cubicBezTo>
                <a:cubicBezTo>
                  <a:pt x="37" y="386"/>
                  <a:pt x="0" y="250"/>
                  <a:pt x="62" y="143"/>
                </a:cubicBezTo>
                <a:close/>
              </a:path>
            </a:pathLst>
          </a:custGeom>
          <a:solidFill>
            <a:srgbClr val="006699"/>
          </a:solidFill>
          <a:ln>
            <a:noFill/>
          </a:ln>
          <a:effectLst/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900"/>
          </a:p>
        </p:txBody>
      </p:sp>
      <p:sp>
        <p:nvSpPr>
          <p:cNvPr id="189" name="Freeform 71">
            <a:extLst>
              <a:ext uri="{FF2B5EF4-FFF2-40B4-BE49-F238E27FC236}">
                <a16:creationId xmlns:a16="http://schemas.microsoft.com/office/drawing/2014/main" id="{90E47F57-4FDC-45E1-8314-FC77C0ABA170}"/>
              </a:ext>
            </a:extLst>
          </p:cNvPr>
          <p:cNvSpPr>
            <a:spLocks/>
          </p:cNvSpPr>
          <p:nvPr/>
        </p:nvSpPr>
        <p:spPr bwMode="auto">
          <a:xfrm>
            <a:off x="1192998" y="3772013"/>
            <a:ext cx="975778" cy="951811"/>
          </a:xfrm>
          <a:custGeom>
            <a:avLst/>
            <a:gdLst>
              <a:gd name="T0" fmla="*/ 62 w 510"/>
              <a:gd name="T1" fmla="*/ 367 h 510"/>
              <a:gd name="T2" fmla="*/ 144 w 510"/>
              <a:gd name="T3" fmla="*/ 62 h 510"/>
              <a:gd name="T4" fmla="*/ 449 w 510"/>
              <a:gd name="T5" fmla="*/ 144 h 510"/>
              <a:gd name="T6" fmla="*/ 367 w 510"/>
              <a:gd name="T7" fmla="*/ 449 h 510"/>
              <a:gd name="T8" fmla="*/ 62 w 510"/>
              <a:gd name="T9" fmla="*/ 367 h 5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10" h="510">
                <a:moveTo>
                  <a:pt x="62" y="367"/>
                </a:moveTo>
                <a:cubicBezTo>
                  <a:pt x="0" y="260"/>
                  <a:pt x="37" y="124"/>
                  <a:pt x="144" y="62"/>
                </a:cubicBezTo>
                <a:cubicBezTo>
                  <a:pt x="250" y="0"/>
                  <a:pt x="387" y="37"/>
                  <a:pt x="449" y="144"/>
                </a:cubicBezTo>
                <a:cubicBezTo>
                  <a:pt x="510" y="251"/>
                  <a:pt x="474" y="387"/>
                  <a:pt x="367" y="449"/>
                </a:cubicBezTo>
                <a:cubicBezTo>
                  <a:pt x="260" y="510"/>
                  <a:pt x="124" y="474"/>
                  <a:pt x="62" y="367"/>
                </a:cubicBezTo>
                <a:close/>
              </a:path>
            </a:pathLst>
          </a:custGeom>
          <a:noFill/>
          <a:ln w="19050">
            <a:solidFill>
              <a:schemeClr val="bg1"/>
            </a:solidFill>
          </a:ln>
          <a:effectLst/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900"/>
          </a:p>
        </p:txBody>
      </p:sp>
      <p:sp>
        <p:nvSpPr>
          <p:cNvPr id="190" name="Freeform 54">
            <a:extLst>
              <a:ext uri="{FF2B5EF4-FFF2-40B4-BE49-F238E27FC236}">
                <a16:creationId xmlns:a16="http://schemas.microsoft.com/office/drawing/2014/main" id="{1D5A6B80-BA61-45B7-8B3B-1887CDB15238}"/>
              </a:ext>
            </a:extLst>
          </p:cNvPr>
          <p:cNvSpPr>
            <a:spLocks/>
          </p:cNvSpPr>
          <p:nvPr/>
        </p:nvSpPr>
        <p:spPr bwMode="auto">
          <a:xfrm>
            <a:off x="1127807" y="4967267"/>
            <a:ext cx="1131195" cy="1101491"/>
          </a:xfrm>
          <a:custGeom>
            <a:avLst/>
            <a:gdLst>
              <a:gd name="T0" fmla="*/ 62 w 510"/>
              <a:gd name="T1" fmla="*/ 143 h 510"/>
              <a:gd name="T2" fmla="*/ 367 w 510"/>
              <a:gd name="T3" fmla="*/ 61 h 510"/>
              <a:gd name="T4" fmla="*/ 449 w 510"/>
              <a:gd name="T5" fmla="*/ 366 h 510"/>
              <a:gd name="T6" fmla="*/ 144 w 510"/>
              <a:gd name="T7" fmla="*/ 448 h 510"/>
              <a:gd name="T8" fmla="*/ 62 w 510"/>
              <a:gd name="T9" fmla="*/ 143 h 5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10" h="510">
                <a:moveTo>
                  <a:pt x="62" y="143"/>
                </a:moveTo>
                <a:cubicBezTo>
                  <a:pt x="124" y="36"/>
                  <a:pt x="260" y="0"/>
                  <a:pt x="367" y="61"/>
                </a:cubicBezTo>
                <a:cubicBezTo>
                  <a:pt x="474" y="123"/>
                  <a:pt x="510" y="260"/>
                  <a:pt x="449" y="366"/>
                </a:cubicBezTo>
                <a:cubicBezTo>
                  <a:pt x="387" y="473"/>
                  <a:pt x="250" y="510"/>
                  <a:pt x="144" y="448"/>
                </a:cubicBezTo>
                <a:cubicBezTo>
                  <a:pt x="37" y="386"/>
                  <a:pt x="0" y="250"/>
                  <a:pt x="62" y="143"/>
                </a:cubicBezTo>
                <a:close/>
              </a:path>
            </a:pathLst>
          </a:custGeom>
          <a:solidFill>
            <a:srgbClr val="006699"/>
          </a:solidFill>
          <a:ln>
            <a:noFill/>
          </a:ln>
          <a:effectLst/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900"/>
          </a:p>
        </p:txBody>
      </p:sp>
      <p:sp>
        <p:nvSpPr>
          <p:cNvPr id="191" name="Freeform 71">
            <a:extLst>
              <a:ext uri="{FF2B5EF4-FFF2-40B4-BE49-F238E27FC236}">
                <a16:creationId xmlns:a16="http://schemas.microsoft.com/office/drawing/2014/main" id="{3F47003A-7EC1-4D1D-93BE-001F5A500665}"/>
              </a:ext>
            </a:extLst>
          </p:cNvPr>
          <p:cNvSpPr>
            <a:spLocks/>
          </p:cNvSpPr>
          <p:nvPr/>
        </p:nvSpPr>
        <p:spPr bwMode="auto">
          <a:xfrm>
            <a:off x="1205515" y="5042106"/>
            <a:ext cx="975778" cy="951811"/>
          </a:xfrm>
          <a:custGeom>
            <a:avLst/>
            <a:gdLst>
              <a:gd name="T0" fmla="*/ 62 w 510"/>
              <a:gd name="T1" fmla="*/ 367 h 510"/>
              <a:gd name="T2" fmla="*/ 144 w 510"/>
              <a:gd name="T3" fmla="*/ 62 h 510"/>
              <a:gd name="T4" fmla="*/ 449 w 510"/>
              <a:gd name="T5" fmla="*/ 144 h 510"/>
              <a:gd name="T6" fmla="*/ 367 w 510"/>
              <a:gd name="T7" fmla="*/ 449 h 510"/>
              <a:gd name="T8" fmla="*/ 62 w 510"/>
              <a:gd name="T9" fmla="*/ 367 h 5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10" h="510">
                <a:moveTo>
                  <a:pt x="62" y="367"/>
                </a:moveTo>
                <a:cubicBezTo>
                  <a:pt x="0" y="260"/>
                  <a:pt x="37" y="124"/>
                  <a:pt x="144" y="62"/>
                </a:cubicBezTo>
                <a:cubicBezTo>
                  <a:pt x="250" y="0"/>
                  <a:pt x="387" y="37"/>
                  <a:pt x="449" y="144"/>
                </a:cubicBezTo>
                <a:cubicBezTo>
                  <a:pt x="510" y="251"/>
                  <a:pt x="474" y="387"/>
                  <a:pt x="367" y="449"/>
                </a:cubicBezTo>
                <a:cubicBezTo>
                  <a:pt x="260" y="510"/>
                  <a:pt x="124" y="474"/>
                  <a:pt x="62" y="367"/>
                </a:cubicBezTo>
                <a:close/>
              </a:path>
            </a:pathLst>
          </a:custGeom>
          <a:noFill/>
          <a:ln w="19050">
            <a:solidFill>
              <a:schemeClr val="bg1"/>
            </a:solidFill>
          </a:ln>
          <a:effectLst/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900"/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A593D0F4-456D-4047-8C10-E0296DB534AD}"/>
              </a:ext>
            </a:extLst>
          </p:cNvPr>
          <p:cNvSpPr txBox="1"/>
          <p:nvPr/>
        </p:nvSpPr>
        <p:spPr>
          <a:xfrm>
            <a:off x="1504327" y="1837526"/>
            <a:ext cx="754562" cy="45976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13</a:t>
            </a:r>
            <a:endParaRPr lang="ru-KZ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3" name="TextBox 192">
            <a:extLst>
              <a:ext uri="{FF2B5EF4-FFF2-40B4-BE49-F238E27FC236}">
                <a16:creationId xmlns:a16="http://schemas.microsoft.com/office/drawing/2014/main" id="{BE3697F1-E842-4F04-819A-11CE7B2D4AA2}"/>
              </a:ext>
            </a:extLst>
          </p:cNvPr>
          <p:cNvSpPr txBox="1"/>
          <p:nvPr/>
        </p:nvSpPr>
        <p:spPr>
          <a:xfrm>
            <a:off x="1538549" y="2943161"/>
            <a:ext cx="673268" cy="4990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6</a:t>
            </a:r>
            <a:endParaRPr lang="ru-KZ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7BC3571A-8BCF-493B-96DB-50285637C20D}"/>
              </a:ext>
            </a:extLst>
          </p:cNvPr>
          <p:cNvSpPr txBox="1"/>
          <p:nvPr/>
        </p:nvSpPr>
        <p:spPr>
          <a:xfrm>
            <a:off x="1535574" y="4112738"/>
            <a:ext cx="539043" cy="791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5</a:t>
            </a:r>
            <a:endParaRPr lang="ru-KZ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6" name="TextBox 195">
            <a:extLst>
              <a:ext uri="{FF2B5EF4-FFF2-40B4-BE49-F238E27FC236}">
                <a16:creationId xmlns:a16="http://schemas.microsoft.com/office/drawing/2014/main" id="{BF2D3328-CAF4-4859-8190-9EF5F3EC3782}"/>
              </a:ext>
            </a:extLst>
          </p:cNvPr>
          <p:cNvSpPr txBox="1"/>
          <p:nvPr/>
        </p:nvSpPr>
        <p:spPr>
          <a:xfrm>
            <a:off x="1499595" y="5398888"/>
            <a:ext cx="813410" cy="4597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7</a:t>
            </a:r>
            <a:endParaRPr lang="ru-KZ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355731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Straight Connector 110">
            <a:extLst>
              <a:ext uri="{FF2B5EF4-FFF2-40B4-BE49-F238E27FC236}">
                <a16:creationId xmlns:a16="http://schemas.microsoft.com/office/drawing/2014/main" id="{15787BA6-DFDE-4C80-A1C2-9296FA1CBA7F}"/>
              </a:ext>
            </a:extLst>
          </p:cNvPr>
          <p:cNvCxnSpPr>
            <a:cxnSpLocks/>
          </p:cNvCxnSpPr>
          <p:nvPr/>
        </p:nvCxnSpPr>
        <p:spPr>
          <a:xfrm>
            <a:off x="5363717" y="4228577"/>
            <a:ext cx="977730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Группа 42">
            <a:extLst>
              <a:ext uri="{FF2B5EF4-FFF2-40B4-BE49-F238E27FC236}">
                <a16:creationId xmlns:a16="http://schemas.microsoft.com/office/drawing/2014/main" id="{E08DBF73-2C96-4275-8F68-FAB1A3EC67D9}"/>
              </a:ext>
            </a:extLst>
          </p:cNvPr>
          <p:cNvGrpSpPr/>
          <p:nvPr/>
        </p:nvGrpSpPr>
        <p:grpSpPr>
          <a:xfrm>
            <a:off x="5174373" y="3331569"/>
            <a:ext cx="648867" cy="438647"/>
            <a:chOff x="8582744" y="679236"/>
            <a:chExt cx="1153541" cy="779817"/>
          </a:xfrm>
        </p:grpSpPr>
        <p:graphicFrame>
          <p:nvGraphicFramePr>
            <p:cNvPr id="44" name="Chart 97">
              <a:extLst>
                <a:ext uri="{FF2B5EF4-FFF2-40B4-BE49-F238E27FC236}">
                  <a16:creationId xmlns:a16="http://schemas.microsoft.com/office/drawing/2014/main" id="{C61D757D-8A1F-4632-95CE-047052E8FD30}"/>
                </a:ext>
              </a:extLst>
            </p:cNvPr>
            <p:cNvGraphicFramePr/>
            <p:nvPr>
              <p:extLst/>
            </p:nvPr>
          </p:nvGraphicFramePr>
          <p:xfrm>
            <a:off x="8582744" y="679236"/>
            <a:ext cx="1153541" cy="77981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45" name="Oval 98">
              <a:extLst>
                <a:ext uri="{FF2B5EF4-FFF2-40B4-BE49-F238E27FC236}">
                  <a16:creationId xmlns:a16="http://schemas.microsoft.com/office/drawing/2014/main" id="{E63F560C-E2E6-4968-9AA5-91629ED81726}"/>
                </a:ext>
              </a:extLst>
            </p:cNvPr>
            <p:cNvSpPr/>
            <p:nvPr/>
          </p:nvSpPr>
          <p:spPr>
            <a:xfrm>
              <a:off x="8981293" y="881900"/>
              <a:ext cx="359469" cy="374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C8A97B3E-BE7A-4C81-8F6E-C8A9E07818DD}"/>
                </a:ext>
              </a:extLst>
            </p:cNvPr>
            <p:cNvSpPr txBox="1"/>
            <p:nvPr/>
          </p:nvSpPr>
          <p:spPr>
            <a:xfrm>
              <a:off x="8906806" y="926587"/>
              <a:ext cx="521143" cy="273579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endParaRPr lang="en-US" sz="1000" dirty="0">
                <a:solidFill>
                  <a:schemeClr val="accent1">
                    <a:lumMod val="9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63" name="Straight Connector 110">
            <a:extLst>
              <a:ext uri="{FF2B5EF4-FFF2-40B4-BE49-F238E27FC236}">
                <a16:creationId xmlns:a16="http://schemas.microsoft.com/office/drawing/2014/main" id="{1BCFED65-8157-4937-B5CD-EE6772DA591F}"/>
              </a:ext>
            </a:extLst>
          </p:cNvPr>
          <p:cNvCxnSpPr>
            <a:cxnSpLocks/>
          </p:cNvCxnSpPr>
          <p:nvPr/>
        </p:nvCxnSpPr>
        <p:spPr>
          <a:xfrm>
            <a:off x="5418117" y="4698273"/>
            <a:ext cx="977730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110">
            <a:extLst>
              <a:ext uri="{FF2B5EF4-FFF2-40B4-BE49-F238E27FC236}">
                <a16:creationId xmlns:a16="http://schemas.microsoft.com/office/drawing/2014/main" id="{E7C93E56-46E4-42D2-B413-D660C395B843}"/>
              </a:ext>
            </a:extLst>
          </p:cNvPr>
          <p:cNvCxnSpPr>
            <a:cxnSpLocks/>
          </p:cNvCxnSpPr>
          <p:nvPr/>
        </p:nvCxnSpPr>
        <p:spPr>
          <a:xfrm>
            <a:off x="5444458" y="4902234"/>
            <a:ext cx="977730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>
            <a:extLst>
              <a:ext uri="{FF2B5EF4-FFF2-40B4-BE49-F238E27FC236}">
                <a16:creationId xmlns:a16="http://schemas.microsoft.com/office/drawing/2014/main" id="{05F7EF3C-C7C4-4D69-8689-8433A41EB6CF}"/>
              </a:ext>
            </a:extLst>
          </p:cNvPr>
          <p:cNvSpPr txBox="1"/>
          <p:nvPr/>
        </p:nvSpPr>
        <p:spPr>
          <a:xfrm rot="10800000" flipH="1" flipV="1">
            <a:off x="5118399" y="935601"/>
            <a:ext cx="1450166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ru-RU" sz="1000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ІНІШТЕРДІҢ ҚҰРЫЛЫМЫ</a:t>
            </a:r>
            <a:endParaRPr lang="en-US" sz="1000" b="1" dirty="0">
              <a:solidFill>
                <a:srgbClr val="0066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4B55CF13-65BF-4D60-83B8-C46002AFA588}"/>
              </a:ext>
            </a:extLst>
          </p:cNvPr>
          <p:cNvSpPr txBox="1"/>
          <p:nvPr/>
        </p:nvSpPr>
        <p:spPr>
          <a:xfrm flipH="1">
            <a:off x="3554876" y="945060"/>
            <a:ext cx="1416763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ru-RU" sz="1000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ІНІШ БЕРУШІНІҢ ПОРТРЕТІ</a:t>
            </a:r>
            <a:endParaRPr lang="en-US" sz="1000" b="1" dirty="0">
              <a:solidFill>
                <a:srgbClr val="0066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75" name="Группа 374">
            <a:extLst>
              <a:ext uri="{FF2B5EF4-FFF2-40B4-BE49-F238E27FC236}">
                <a16:creationId xmlns:a16="http://schemas.microsoft.com/office/drawing/2014/main" id="{B05788A1-A5D1-4783-9119-63663B660F34}"/>
              </a:ext>
            </a:extLst>
          </p:cNvPr>
          <p:cNvGrpSpPr/>
          <p:nvPr/>
        </p:nvGrpSpPr>
        <p:grpSpPr>
          <a:xfrm>
            <a:off x="3478399" y="1616013"/>
            <a:ext cx="1543767" cy="2894975"/>
            <a:chOff x="6940097" y="1108656"/>
            <a:chExt cx="2334792" cy="3328805"/>
          </a:xfrm>
        </p:grpSpPr>
        <p:grpSp>
          <p:nvGrpSpPr>
            <p:cNvPr id="356" name="Группа 355">
              <a:extLst>
                <a:ext uri="{FF2B5EF4-FFF2-40B4-BE49-F238E27FC236}">
                  <a16:creationId xmlns:a16="http://schemas.microsoft.com/office/drawing/2014/main" id="{83ACA59C-4C97-4F37-92A0-6A3D0010DD98}"/>
                </a:ext>
              </a:extLst>
            </p:cNvPr>
            <p:cNvGrpSpPr/>
            <p:nvPr/>
          </p:nvGrpSpPr>
          <p:grpSpPr>
            <a:xfrm>
              <a:off x="6940097" y="1108656"/>
              <a:ext cx="2334792" cy="3328805"/>
              <a:chOff x="6738251" y="1108656"/>
              <a:chExt cx="2334792" cy="3328805"/>
            </a:xfrm>
          </p:grpSpPr>
          <p:grpSp>
            <p:nvGrpSpPr>
              <p:cNvPr id="67" name="Group 52">
                <a:extLst>
                  <a:ext uri="{FF2B5EF4-FFF2-40B4-BE49-F238E27FC236}">
                    <a16:creationId xmlns:a16="http://schemas.microsoft.com/office/drawing/2014/main" id="{779907FD-AB9A-452B-BEE7-8F4B07D67667}"/>
                  </a:ext>
                </a:extLst>
              </p:cNvPr>
              <p:cNvGrpSpPr/>
              <p:nvPr/>
            </p:nvGrpSpPr>
            <p:grpSpPr>
              <a:xfrm rot="16200000">
                <a:off x="5941928" y="2076831"/>
                <a:ext cx="2985099" cy="1392454"/>
                <a:chOff x="2282825" y="4049713"/>
                <a:chExt cx="4552950" cy="2117725"/>
              </a:xfrm>
            </p:grpSpPr>
            <p:sp>
              <p:nvSpPr>
                <p:cNvPr id="69" name="Freeform 6">
                  <a:extLst>
                    <a:ext uri="{FF2B5EF4-FFF2-40B4-BE49-F238E27FC236}">
                      <a16:creationId xmlns:a16="http://schemas.microsoft.com/office/drawing/2014/main" id="{E6715A89-7B91-4E79-B343-86B9E6F8C45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75300" y="4049713"/>
                  <a:ext cx="1260475" cy="1335088"/>
                </a:xfrm>
                <a:custGeom>
                  <a:avLst/>
                  <a:gdLst>
                    <a:gd name="T0" fmla="*/ 21 w 103"/>
                    <a:gd name="T1" fmla="*/ 0 h 109"/>
                    <a:gd name="T2" fmla="*/ 103 w 103"/>
                    <a:gd name="T3" fmla="*/ 0 h 109"/>
                    <a:gd name="T4" fmla="*/ 58 w 103"/>
                    <a:gd name="T5" fmla="*/ 109 h 109"/>
                    <a:gd name="T6" fmla="*/ 0 w 103"/>
                    <a:gd name="T7" fmla="*/ 51 h 109"/>
                    <a:gd name="T8" fmla="*/ 21 w 103"/>
                    <a:gd name="T9" fmla="*/ 0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3" h="109">
                      <a:moveTo>
                        <a:pt x="21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0" y="42"/>
                        <a:pt x="84" y="79"/>
                        <a:pt x="58" y="109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11" y="36"/>
                        <a:pt x="18" y="19"/>
                        <a:pt x="21" y="0"/>
                      </a:cubicBez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51435" tIns="25718" rIns="51435" bIns="2571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13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1" name="Freeform 8">
                  <a:extLst>
                    <a:ext uri="{FF2B5EF4-FFF2-40B4-BE49-F238E27FC236}">
                      <a16:creationId xmlns:a16="http://schemas.microsoft.com/office/drawing/2014/main" id="{ACC1E93E-12C0-4827-841D-18BF8E23A5E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2825" y="4049713"/>
                  <a:ext cx="1260475" cy="1335088"/>
                </a:xfrm>
                <a:custGeom>
                  <a:avLst/>
                  <a:gdLst>
                    <a:gd name="T0" fmla="*/ 103 w 103"/>
                    <a:gd name="T1" fmla="*/ 51 h 109"/>
                    <a:gd name="T2" fmla="*/ 45 w 103"/>
                    <a:gd name="T3" fmla="*/ 109 h 109"/>
                    <a:gd name="T4" fmla="*/ 0 w 103"/>
                    <a:gd name="T5" fmla="*/ 0 h 109"/>
                    <a:gd name="T6" fmla="*/ 83 w 103"/>
                    <a:gd name="T7" fmla="*/ 0 h 109"/>
                    <a:gd name="T8" fmla="*/ 103 w 103"/>
                    <a:gd name="T9" fmla="*/ 51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3" h="109">
                      <a:moveTo>
                        <a:pt x="103" y="51"/>
                      </a:moveTo>
                      <a:cubicBezTo>
                        <a:pt x="45" y="109"/>
                        <a:pt x="45" y="109"/>
                        <a:pt x="45" y="109"/>
                      </a:cubicBezTo>
                      <a:cubicBezTo>
                        <a:pt x="20" y="79"/>
                        <a:pt x="3" y="42"/>
                        <a:pt x="0" y="0"/>
                      </a:cubicBezTo>
                      <a:cubicBezTo>
                        <a:pt x="83" y="0"/>
                        <a:pt x="83" y="0"/>
                        <a:pt x="83" y="0"/>
                      </a:cubicBezTo>
                      <a:cubicBezTo>
                        <a:pt x="85" y="19"/>
                        <a:pt x="92" y="36"/>
                        <a:pt x="103" y="51"/>
                      </a:cubicBezTo>
                      <a:close/>
                    </a:path>
                  </a:pathLst>
                </a:cu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51435" tIns="25718" rIns="51435" bIns="2571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13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2" name="Freeform 11">
                  <a:extLst>
                    <a:ext uri="{FF2B5EF4-FFF2-40B4-BE49-F238E27FC236}">
                      <a16:creationId xmlns:a16="http://schemas.microsoft.com/office/drawing/2014/main" id="{BA971AED-8890-406C-BF43-E716BBD69DF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67050" y="4906963"/>
                  <a:ext cx="1333500" cy="1260475"/>
                </a:xfrm>
                <a:custGeom>
                  <a:avLst/>
                  <a:gdLst>
                    <a:gd name="T0" fmla="*/ 109 w 109"/>
                    <a:gd name="T1" fmla="*/ 20 h 103"/>
                    <a:gd name="T2" fmla="*/ 109 w 109"/>
                    <a:gd name="T3" fmla="*/ 103 h 103"/>
                    <a:gd name="T4" fmla="*/ 0 w 109"/>
                    <a:gd name="T5" fmla="*/ 58 h 103"/>
                    <a:gd name="T6" fmla="*/ 58 w 109"/>
                    <a:gd name="T7" fmla="*/ 0 h 103"/>
                    <a:gd name="T8" fmla="*/ 109 w 109"/>
                    <a:gd name="T9" fmla="*/ 2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9" h="103">
                      <a:moveTo>
                        <a:pt x="109" y="20"/>
                      </a:moveTo>
                      <a:cubicBezTo>
                        <a:pt x="109" y="103"/>
                        <a:pt x="109" y="103"/>
                        <a:pt x="109" y="103"/>
                      </a:cubicBezTo>
                      <a:cubicBezTo>
                        <a:pt x="67" y="100"/>
                        <a:pt x="30" y="83"/>
                        <a:pt x="0" y="58"/>
                      </a:cubicBezTo>
                      <a:cubicBezTo>
                        <a:pt x="58" y="0"/>
                        <a:pt x="58" y="0"/>
                        <a:pt x="58" y="0"/>
                      </a:cubicBezTo>
                      <a:cubicBezTo>
                        <a:pt x="73" y="11"/>
                        <a:pt x="90" y="18"/>
                        <a:pt x="109" y="20"/>
                      </a:cubicBez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51435" tIns="25718" rIns="51435" bIns="2571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13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3" name="Freeform 12">
                  <a:extLst>
                    <a:ext uri="{FF2B5EF4-FFF2-40B4-BE49-F238E27FC236}">
                      <a16:creationId xmlns:a16="http://schemas.microsoft.com/office/drawing/2014/main" id="{6B8BC5F1-4528-4BDD-B7DC-D6905BDC6ED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30750" y="4906963"/>
                  <a:ext cx="1322388" cy="1260475"/>
                </a:xfrm>
                <a:custGeom>
                  <a:avLst/>
                  <a:gdLst>
                    <a:gd name="T0" fmla="*/ 50 w 108"/>
                    <a:gd name="T1" fmla="*/ 0 h 103"/>
                    <a:gd name="T2" fmla="*/ 108 w 108"/>
                    <a:gd name="T3" fmla="*/ 58 h 103"/>
                    <a:gd name="T4" fmla="*/ 0 w 108"/>
                    <a:gd name="T5" fmla="*/ 103 h 103"/>
                    <a:gd name="T6" fmla="*/ 0 w 108"/>
                    <a:gd name="T7" fmla="*/ 20 h 103"/>
                    <a:gd name="T8" fmla="*/ 50 w 108"/>
                    <a:gd name="T9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8" h="103">
                      <a:moveTo>
                        <a:pt x="50" y="0"/>
                      </a:moveTo>
                      <a:cubicBezTo>
                        <a:pt x="108" y="58"/>
                        <a:pt x="108" y="58"/>
                        <a:pt x="108" y="58"/>
                      </a:cubicBezTo>
                      <a:cubicBezTo>
                        <a:pt x="79" y="83"/>
                        <a:pt x="41" y="100"/>
                        <a:pt x="0" y="103"/>
                      </a:cubicBezTo>
                      <a:cubicBezTo>
                        <a:pt x="0" y="20"/>
                        <a:pt x="0" y="20"/>
                        <a:pt x="0" y="20"/>
                      </a:cubicBezTo>
                      <a:cubicBezTo>
                        <a:pt x="18" y="18"/>
                        <a:pt x="36" y="11"/>
                        <a:pt x="50" y="0"/>
                      </a:cubicBezTo>
                      <a:close/>
                    </a:path>
                  </a:pathLst>
                </a:cu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51435" tIns="25718" rIns="51435" bIns="2571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13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51B404E2-62F0-4325-A29D-2B9809A4A482}"/>
                  </a:ext>
                </a:extLst>
              </p:cNvPr>
              <p:cNvSpPr txBox="1"/>
              <p:nvPr/>
            </p:nvSpPr>
            <p:spPr>
              <a:xfrm>
                <a:off x="7095114" y="1108656"/>
                <a:ext cx="1795912" cy="353899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ru-RU" sz="1000" dirty="0">
                    <a:solidFill>
                      <a:srgbClr val="0070C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45 </a:t>
                </a:r>
                <a:r>
                  <a:rPr lang="ru-RU" sz="1000" dirty="0" err="1">
                    <a:solidFill>
                      <a:srgbClr val="0070C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жас</a:t>
                </a:r>
                <a:r>
                  <a:rPr lang="ru-RU" sz="1000" dirty="0">
                    <a:solidFill>
                      <a:srgbClr val="0070C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</a:p>
              <a:p>
                <a:pPr algn="ctr"/>
                <a:r>
                  <a:rPr lang="ru-RU" sz="900" dirty="0">
                    <a:solidFill>
                      <a:srgbClr val="0070C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(ер </a:t>
                </a:r>
                <a:r>
                  <a:rPr lang="ru-RU" sz="900" dirty="0" err="1">
                    <a:solidFill>
                      <a:srgbClr val="0070C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адам</a:t>
                </a:r>
                <a:r>
                  <a:rPr lang="ru-RU" sz="1000" dirty="0">
                    <a:solidFill>
                      <a:srgbClr val="0070C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)</a:t>
                </a:r>
                <a:endParaRPr lang="en-US" sz="10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4" name="TextBox 93">
                <a:extLst>
                  <a:ext uri="{FF2B5EF4-FFF2-40B4-BE49-F238E27FC236}">
                    <a16:creationId xmlns:a16="http://schemas.microsoft.com/office/drawing/2014/main" id="{3730D3B1-0D22-488F-A46C-30E9660C149A}"/>
                  </a:ext>
                </a:extLst>
              </p:cNvPr>
              <p:cNvSpPr txBox="1"/>
              <p:nvPr/>
            </p:nvSpPr>
            <p:spPr>
              <a:xfrm>
                <a:off x="8154952" y="2059164"/>
                <a:ext cx="918091" cy="353899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ru-RU" sz="1000" dirty="0">
                    <a:solidFill>
                      <a:srgbClr val="0070C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39 </a:t>
                </a:r>
                <a:r>
                  <a:rPr lang="ru-RU" sz="1000" dirty="0" err="1">
                    <a:solidFill>
                      <a:srgbClr val="0070C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жас</a:t>
                </a:r>
                <a:r>
                  <a:rPr lang="ru-RU" sz="1000" dirty="0">
                    <a:solidFill>
                      <a:srgbClr val="0070C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</a:p>
              <a:p>
                <a:pPr algn="ctr"/>
                <a:r>
                  <a:rPr lang="ru-RU" sz="1000" dirty="0">
                    <a:solidFill>
                      <a:srgbClr val="0070C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(</a:t>
                </a:r>
                <a:r>
                  <a:rPr lang="ru-RU" sz="900" dirty="0">
                    <a:solidFill>
                      <a:srgbClr val="0070C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ер </a:t>
                </a:r>
                <a:r>
                  <a:rPr lang="ru-RU" sz="900" dirty="0" err="1">
                    <a:solidFill>
                      <a:srgbClr val="0070C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адам</a:t>
                </a:r>
                <a:r>
                  <a:rPr lang="ru-RU" sz="900" dirty="0">
                    <a:solidFill>
                      <a:srgbClr val="0070C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)</a:t>
                </a:r>
                <a:endParaRPr lang="en-US" sz="9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5" name="TextBox 94">
                <a:extLst>
                  <a:ext uri="{FF2B5EF4-FFF2-40B4-BE49-F238E27FC236}">
                    <a16:creationId xmlns:a16="http://schemas.microsoft.com/office/drawing/2014/main" id="{BFE6741E-A9F0-459A-90CB-9604650D9701}"/>
                  </a:ext>
                </a:extLst>
              </p:cNvPr>
              <p:cNvSpPr txBox="1"/>
              <p:nvPr/>
            </p:nvSpPr>
            <p:spPr>
              <a:xfrm rot="10800000" flipV="1">
                <a:off x="8130703" y="3227005"/>
                <a:ext cx="942340" cy="176949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ru-RU" sz="1000" dirty="0">
                    <a:solidFill>
                      <a:srgbClr val="0070C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30 </a:t>
                </a:r>
                <a:r>
                  <a:rPr lang="ru-RU" sz="1000" dirty="0" err="1">
                    <a:solidFill>
                      <a:srgbClr val="0070C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жас</a:t>
                </a:r>
                <a:r>
                  <a:rPr lang="ru-RU" sz="1000" dirty="0">
                    <a:solidFill>
                      <a:srgbClr val="0070C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</a:p>
            </p:txBody>
          </p:sp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2ED62F30-D588-42E9-89C1-A055AD1D9B6B}"/>
                  </a:ext>
                </a:extLst>
              </p:cNvPr>
              <p:cNvSpPr txBox="1"/>
              <p:nvPr/>
            </p:nvSpPr>
            <p:spPr>
              <a:xfrm>
                <a:off x="7385414" y="4083562"/>
                <a:ext cx="1483534" cy="353899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ru-RU" sz="1000" dirty="0">
                    <a:solidFill>
                      <a:srgbClr val="0070C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32 </a:t>
                </a:r>
                <a:r>
                  <a:rPr lang="ru-RU" sz="1000" dirty="0" err="1">
                    <a:solidFill>
                      <a:srgbClr val="0070C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жас</a:t>
                </a:r>
                <a:endParaRPr lang="ru-RU" sz="10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ctr"/>
                <a:r>
                  <a:rPr lang="ru-RU" sz="1000" dirty="0">
                    <a:solidFill>
                      <a:srgbClr val="0070C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(</a:t>
                </a:r>
                <a:r>
                  <a:rPr lang="ru-RU" sz="900" dirty="0" err="1">
                    <a:solidFill>
                      <a:srgbClr val="0070C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әйел</a:t>
                </a:r>
                <a:r>
                  <a:rPr lang="ru-RU" sz="900" dirty="0">
                    <a:solidFill>
                      <a:srgbClr val="0070C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ru-RU" sz="900" dirty="0" err="1">
                    <a:solidFill>
                      <a:srgbClr val="0070C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адам</a:t>
                </a:r>
                <a:r>
                  <a:rPr lang="ru-RU" sz="506" dirty="0">
                    <a:solidFill>
                      <a:srgbClr val="0070C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)</a:t>
                </a:r>
                <a:endParaRPr lang="en-US" sz="506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pic>
          <p:nvPicPr>
            <p:cNvPr id="89" name="Рисунок 4">
              <a:extLst>
                <a:ext uri="{FF2B5EF4-FFF2-40B4-BE49-F238E27FC236}">
                  <a16:creationId xmlns:a16="http://schemas.microsoft.com/office/drawing/2014/main" id="{E8F689E1-F36F-4549-8CD8-6AF5BD0AA5B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7816183" y="2931099"/>
              <a:ext cx="286173" cy="563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0" name="Рисунок 5">
              <a:extLst>
                <a:ext uri="{FF2B5EF4-FFF2-40B4-BE49-F238E27FC236}">
                  <a16:creationId xmlns:a16="http://schemas.microsoft.com/office/drawing/2014/main" id="{FE117EA5-248F-438E-B571-54421F28626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7068474" y="3615386"/>
              <a:ext cx="390408" cy="4878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1" name="Рисунок 3">
              <a:extLst>
                <a:ext uri="{FF2B5EF4-FFF2-40B4-BE49-F238E27FC236}">
                  <a16:creationId xmlns:a16="http://schemas.microsoft.com/office/drawing/2014/main" id="{A1521C4A-BA9A-44D9-882F-D893BDC0720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7747398" y="1953588"/>
              <a:ext cx="365760" cy="7229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2" name="Рисунок 91">
              <a:extLst>
                <a:ext uri="{FF2B5EF4-FFF2-40B4-BE49-F238E27FC236}">
                  <a16:creationId xmlns:a16="http://schemas.microsoft.com/office/drawing/2014/main" id="{C1C21B2A-22CF-4DDA-AC22-85048D7805D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7061612" y="1413907"/>
              <a:ext cx="374410" cy="535489"/>
            </a:xfrm>
            <a:prstGeom prst="rect">
              <a:avLst/>
            </a:prstGeom>
          </p:spPr>
        </p:pic>
      </p:grpSp>
      <p:sp>
        <p:nvSpPr>
          <p:cNvPr id="97" name="Trapezoid 104">
            <a:extLst>
              <a:ext uri="{FF2B5EF4-FFF2-40B4-BE49-F238E27FC236}">
                <a16:creationId xmlns:a16="http://schemas.microsoft.com/office/drawing/2014/main" id="{F90FEF2E-5054-455D-A151-E8EB29D754E2}"/>
              </a:ext>
            </a:extLst>
          </p:cNvPr>
          <p:cNvSpPr/>
          <p:nvPr/>
        </p:nvSpPr>
        <p:spPr>
          <a:xfrm>
            <a:off x="1194596" y="5240230"/>
            <a:ext cx="1111248" cy="87467"/>
          </a:xfrm>
          <a:prstGeom prst="trapezoid">
            <a:avLst>
              <a:gd name="adj" fmla="val 58087"/>
            </a:avLst>
          </a:prstGeom>
          <a:solidFill>
            <a:schemeClr val="accent1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98" name="Trapezoid 103">
            <a:extLst>
              <a:ext uri="{FF2B5EF4-FFF2-40B4-BE49-F238E27FC236}">
                <a16:creationId xmlns:a16="http://schemas.microsoft.com/office/drawing/2014/main" id="{F9713BA7-B61D-470C-BFCF-E80A8D002816}"/>
              </a:ext>
            </a:extLst>
          </p:cNvPr>
          <p:cNvSpPr/>
          <p:nvPr/>
        </p:nvSpPr>
        <p:spPr>
          <a:xfrm>
            <a:off x="3027700" y="5263408"/>
            <a:ext cx="930012" cy="101554"/>
          </a:xfrm>
          <a:prstGeom prst="trapezoid">
            <a:avLst>
              <a:gd name="adj" fmla="val 58087"/>
            </a:avLst>
          </a:prstGeom>
          <a:solidFill>
            <a:schemeClr val="accent1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99" name="Trapezoid 102">
            <a:extLst>
              <a:ext uri="{FF2B5EF4-FFF2-40B4-BE49-F238E27FC236}">
                <a16:creationId xmlns:a16="http://schemas.microsoft.com/office/drawing/2014/main" id="{975EDECB-8105-4F9F-8CF9-859BE53C371F}"/>
              </a:ext>
            </a:extLst>
          </p:cNvPr>
          <p:cNvSpPr/>
          <p:nvPr/>
        </p:nvSpPr>
        <p:spPr>
          <a:xfrm>
            <a:off x="4886445" y="5282040"/>
            <a:ext cx="1029411" cy="113505"/>
          </a:xfrm>
          <a:prstGeom prst="trapezoid">
            <a:avLst>
              <a:gd name="adj" fmla="val 58087"/>
            </a:avLst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100" name="Rectangle 101">
            <a:extLst>
              <a:ext uri="{FF2B5EF4-FFF2-40B4-BE49-F238E27FC236}">
                <a16:creationId xmlns:a16="http://schemas.microsoft.com/office/drawing/2014/main" id="{DB1EF3CD-4465-4D6C-8ADF-A5B0CAB054A9}"/>
              </a:ext>
            </a:extLst>
          </p:cNvPr>
          <p:cNvSpPr/>
          <p:nvPr/>
        </p:nvSpPr>
        <p:spPr>
          <a:xfrm flipV="1">
            <a:off x="279537" y="5398110"/>
            <a:ext cx="6142651" cy="7204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101" name="Rectangle: Top Corners Rounded 39">
            <a:extLst>
              <a:ext uri="{FF2B5EF4-FFF2-40B4-BE49-F238E27FC236}">
                <a16:creationId xmlns:a16="http://schemas.microsoft.com/office/drawing/2014/main" id="{AE654776-2340-4384-998F-ECAC798BDCB6}"/>
              </a:ext>
            </a:extLst>
          </p:cNvPr>
          <p:cNvSpPr/>
          <p:nvPr/>
        </p:nvSpPr>
        <p:spPr>
          <a:xfrm flipV="1">
            <a:off x="1315383" y="5225829"/>
            <a:ext cx="900180" cy="79101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102" name="Rectangle: Top Corners Rounded 42">
            <a:extLst>
              <a:ext uri="{FF2B5EF4-FFF2-40B4-BE49-F238E27FC236}">
                <a16:creationId xmlns:a16="http://schemas.microsoft.com/office/drawing/2014/main" id="{268410AA-FC3D-4DEA-88DF-BABC982C1DA7}"/>
              </a:ext>
            </a:extLst>
          </p:cNvPr>
          <p:cNvSpPr/>
          <p:nvPr/>
        </p:nvSpPr>
        <p:spPr>
          <a:xfrm flipV="1">
            <a:off x="3103963" y="5262766"/>
            <a:ext cx="793771" cy="780814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103" name="Rectangle: Top Corners Rounded 45">
            <a:extLst>
              <a:ext uri="{FF2B5EF4-FFF2-40B4-BE49-F238E27FC236}">
                <a16:creationId xmlns:a16="http://schemas.microsoft.com/office/drawing/2014/main" id="{93A5F528-56A7-4A05-AC88-6F7DDE21D8EE}"/>
              </a:ext>
            </a:extLst>
          </p:cNvPr>
          <p:cNvSpPr/>
          <p:nvPr/>
        </p:nvSpPr>
        <p:spPr>
          <a:xfrm flipV="1">
            <a:off x="4968040" y="5296880"/>
            <a:ext cx="854733" cy="801722"/>
          </a:xfrm>
          <a:prstGeom prst="round2SameRect">
            <a:avLst>
              <a:gd name="adj1" fmla="val 50000"/>
              <a:gd name="adj2" fmla="val 18178"/>
            </a:avLst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104" name="Oval 50">
            <a:extLst>
              <a:ext uri="{FF2B5EF4-FFF2-40B4-BE49-F238E27FC236}">
                <a16:creationId xmlns:a16="http://schemas.microsoft.com/office/drawing/2014/main" id="{3ABD1B3F-B6C0-4E7F-89E7-5C242048361E}"/>
              </a:ext>
            </a:extLst>
          </p:cNvPr>
          <p:cNvSpPr/>
          <p:nvPr/>
        </p:nvSpPr>
        <p:spPr>
          <a:xfrm flipV="1">
            <a:off x="5104280" y="5365237"/>
            <a:ext cx="627159" cy="53212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105" name="Oval 51">
            <a:extLst>
              <a:ext uri="{FF2B5EF4-FFF2-40B4-BE49-F238E27FC236}">
                <a16:creationId xmlns:a16="http://schemas.microsoft.com/office/drawing/2014/main" id="{6616D30B-3B88-4D42-A984-EABA39DEA9CF}"/>
              </a:ext>
            </a:extLst>
          </p:cNvPr>
          <p:cNvSpPr/>
          <p:nvPr/>
        </p:nvSpPr>
        <p:spPr>
          <a:xfrm>
            <a:off x="3152760" y="5338436"/>
            <a:ext cx="698332" cy="56537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106" name="Oval 52">
            <a:extLst>
              <a:ext uri="{FF2B5EF4-FFF2-40B4-BE49-F238E27FC236}">
                <a16:creationId xmlns:a16="http://schemas.microsoft.com/office/drawing/2014/main" id="{CB4179A2-DFBD-4D1A-A6CD-DD86B57B49E4}"/>
              </a:ext>
            </a:extLst>
          </p:cNvPr>
          <p:cNvSpPr/>
          <p:nvPr/>
        </p:nvSpPr>
        <p:spPr>
          <a:xfrm>
            <a:off x="1426352" y="5244798"/>
            <a:ext cx="736512" cy="70883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01C323B6-4363-4D07-A84C-4CE97EEFE458}"/>
              </a:ext>
            </a:extLst>
          </p:cNvPr>
          <p:cNvSpPr txBox="1"/>
          <p:nvPr/>
        </p:nvSpPr>
        <p:spPr>
          <a:xfrm>
            <a:off x="1027701" y="6340665"/>
            <a:ext cx="1331675" cy="15388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1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</a:t>
            </a:r>
            <a:r>
              <a:rPr lang="ru-RU" sz="1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стелуде</a:t>
            </a:r>
            <a:endParaRPr lang="en-US" sz="1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FF3CD00F-2075-4BED-8694-51ABC485092C}"/>
              </a:ext>
            </a:extLst>
          </p:cNvPr>
          <p:cNvSpPr txBox="1"/>
          <p:nvPr/>
        </p:nvSpPr>
        <p:spPr>
          <a:xfrm rot="10800000" flipV="1">
            <a:off x="3051484" y="6254825"/>
            <a:ext cx="960701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1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блемалық</a:t>
            </a:r>
            <a:r>
              <a:rPr lang="ru-RU" sz="1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әселелер</a:t>
            </a:r>
            <a:endParaRPr lang="en-US" sz="1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3B467459-91D0-4827-A2A3-237A64E51C8A}"/>
              </a:ext>
            </a:extLst>
          </p:cNvPr>
          <p:cNvSpPr txBox="1"/>
          <p:nvPr/>
        </p:nvSpPr>
        <p:spPr>
          <a:xfrm>
            <a:off x="5022165" y="6380649"/>
            <a:ext cx="938367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1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шу</a:t>
            </a:r>
            <a:r>
              <a:rPr lang="ru-RU" sz="1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лдары</a:t>
            </a:r>
            <a:endParaRPr lang="en-US" sz="10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348" name="Группа 347">
            <a:extLst>
              <a:ext uri="{FF2B5EF4-FFF2-40B4-BE49-F238E27FC236}">
                <a16:creationId xmlns:a16="http://schemas.microsoft.com/office/drawing/2014/main" id="{AB80A379-FA0A-42A4-A066-2073A017B71C}"/>
              </a:ext>
            </a:extLst>
          </p:cNvPr>
          <p:cNvGrpSpPr/>
          <p:nvPr/>
        </p:nvGrpSpPr>
        <p:grpSpPr>
          <a:xfrm>
            <a:off x="5294489" y="5486120"/>
            <a:ext cx="212289" cy="282502"/>
            <a:chOff x="9003652" y="5315593"/>
            <a:chExt cx="316613" cy="466359"/>
          </a:xfrm>
        </p:grpSpPr>
        <p:grpSp>
          <p:nvGrpSpPr>
            <p:cNvPr id="342" name="Группа 341">
              <a:extLst>
                <a:ext uri="{FF2B5EF4-FFF2-40B4-BE49-F238E27FC236}">
                  <a16:creationId xmlns:a16="http://schemas.microsoft.com/office/drawing/2014/main" id="{73E850C6-5C8E-4642-ADFE-B883393984F3}"/>
                </a:ext>
              </a:extLst>
            </p:cNvPr>
            <p:cNvGrpSpPr/>
            <p:nvPr/>
          </p:nvGrpSpPr>
          <p:grpSpPr>
            <a:xfrm>
              <a:off x="9003652" y="5315593"/>
              <a:ext cx="316613" cy="466359"/>
              <a:chOff x="9056448" y="4142102"/>
              <a:chExt cx="440387" cy="688503"/>
            </a:xfrm>
          </p:grpSpPr>
          <p:sp>
            <p:nvSpPr>
              <p:cNvPr id="337" name="Google Shape;2811;p37">
                <a:extLst>
                  <a:ext uri="{FF2B5EF4-FFF2-40B4-BE49-F238E27FC236}">
                    <a16:creationId xmlns:a16="http://schemas.microsoft.com/office/drawing/2014/main" id="{78181E36-AF86-47F3-B31D-78FA1C96B427}"/>
                  </a:ext>
                </a:extLst>
              </p:cNvPr>
              <p:cNvSpPr/>
              <p:nvPr/>
            </p:nvSpPr>
            <p:spPr>
              <a:xfrm>
                <a:off x="9222279" y="4720825"/>
                <a:ext cx="109535" cy="109780"/>
              </a:xfrm>
              <a:custGeom>
                <a:avLst/>
                <a:gdLst/>
                <a:ahLst/>
                <a:cxnLst/>
                <a:rect l="l" t="t" r="r" b="b"/>
                <a:pathLst>
                  <a:path w="334153" h="334898" extrusionOk="0">
                    <a:moveTo>
                      <a:pt x="334153" y="167449"/>
                    </a:moveTo>
                    <a:cubicBezTo>
                      <a:pt x="334153" y="259929"/>
                      <a:pt x="259351" y="334899"/>
                      <a:pt x="167077" y="334899"/>
                    </a:cubicBezTo>
                    <a:cubicBezTo>
                      <a:pt x="74803" y="334899"/>
                      <a:pt x="0" y="259929"/>
                      <a:pt x="0" y="167449"/>
                    </a:cubicBezTo>
                    <a:cubicBezTo>
                      <a:pt x="0" y="74970"/>
                      <a:pt x="74803" y="0"/>
                      <a:pt x="167077" y="0"/>
                    </a:cubicBezTo>
                    <a:cubicBezTo>
                      <a:pt x="259351" y="0"/>
                      <a:pt x="334153" y="74970"/>
                      <a:pt x="334153" y="167449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spcFirstLastPara="1" wrap="square" lIns="51427" tIns="25706" rIns="51427" bIns="25706" anchor="ctr" anchorCtr="0">
                <a:noAutofit/>
              </a:bodyPr>
              <a:lstStyle/>
              <a:p>
                <a:endParaRPr sz="1013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8" name="Google Shape;2813;p37">
                <a:extLst>
                  <a:ext uri="{FF2B5EF4-FFF2-40B4-BE49-F238E27FC236}">
                    <a16:creationId xmlns:a16="http://schemas.microsoft.com/office/drawing/2014/main" id="{4B545E35-E916-4888-87D9-3BCF834865C4}"/>
                  </a:ext>
                </a:extLst>
              </p:cNvPr>
              <p:cNvSpPr/>
              <p:nvPr/>
            </p:nvSpPr>
            <p:spPr>
              <a:xfrm>
                <a:off x="9181063" y="4688072"/>
                <a:ext cx="191998" cy="95636"/>
              </a:xfrm>
              <a:custGeom>
                <a:avLst/>
                <a:gdLst/>
                <a:ahLst/>
                <a:cxnLst/>
                <a:rect l="l" t="t" r="r" b="b"/>
                <a:pathLst>
                  <a:path w="585718" h="291750" extrusionOk="0">
                    <a:moveTo>
                      <a:pt x="292812" y="291751"/>
                    </a:moveTo>
                    <a:cubicBezTo>
                      <a:pt x="210699" y="291751"/>
                      <a:pt x="131247" y="272701"/>
                      <a:pt x="74225" y="240221"/>
                    </a:cubicBezTo>
                    <a:cubicBezTo>
                      <a:pt x="26706" y="212884"/>
                      <a:pt x="0" y="178499"/>
                      <a:pt x="0" y="145828"/>
                    </a:cubicBezTo>
                    <a:cubicBezTo>
                      <a:pt x="0" y="113157"/>
                      <a:pt x="26991" y="79153"/>
                      <a:pt x="74225" y="51530"/>
                    </a:cubicBezTo>
                    <a:cubicBezTo>
                      <a:pt x="130772" y="18764"/>
                      <a:pt x="210319" y="0"/>
                      <a:pt x="292812" y="0"/>
                    </a:cubicBezTo>
                    <a:cubicBezTo>
                      <a:pt x="375305" y="0"/>
                      <a:pt x="454376" y="19050"/>
                      <a:pt x="511399" y="51530"/>
                    </a:cubicBezTo>
                    <a:cubicBezTo>
                      <a:pt x="558918" y="78772"/>
                      <a:pt x="585718" y="113157"/>
                      <a:pt x="585718" y="145828"/>
                    </a:cubicBezTo>
                    <a:cubicBezTo>
                      <a:pt x="585718" y="178499"/>
                      <a:pt x="558633" y="212503"/>
                      <a:pt x="511399" y="240221"/>
                    </a:cubicBezTo>
                    <a:cubicBezTo>
                      <a:pt x="454471" y="272987"/>
                      <a:pt x="374924" y="291751"/>
                      <a:pt x="292812" y="291751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spcFirstLastPara="1" wrap="square" lIns="51427" tIns="25706" rIns="51427" bIns="25706" anchor="ctr" anchorCtr="0">
                <a:noAutofit/>
              </a:bodyPr>
              <a:lstStyle/>
              <a:p>
                <a:endParaRPr sz="1013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9" name="Google Shape;2816;p37">
                <a:extLst>
                  <a:ext uri="{FF2B5EF4-FFF2-40B4-BE49-F238E27FC236}">
                    <a16:creationId xmlns:a16="http://schemas.microsoft.com/office/drawing/2014/main" id="{BB75FA30-B955-44C4-80BA-B33A279D7B12}"/>
                  </a:ext>
                </a:extLst>
              </p:cNvPr>
              <p:cNvSpPr/>
              <p:nvPr/>
            </p:nvSpPr>
            <p:spPr>
              <a:xfrm>
                <a:off x="9160159" y="4628593"/>
                <a:ext cx="233775" cy="116555"/>
              </a:xfrm>
              <a:custGeom>
                <a:avLst/>
                <a:gdLst/>
                <a:ahLst/>
                <a:cxnLst/>
                <a:rect l="l" t="t" r="r" b="b"/>
                <a:pathLst>
                  <a:path w="713163" h="355568" extrusionOk="0">
                    <a:moveTo>
                      <a:pt x="356582" y="355568"/>
                    </a:moveTo>
                    <a:cubicBezTo>
                      <a:pt x="256412" y="355568"/>
                      <a:pt x="159474" y="332708"/>
                      <a:pt x="90476" y="292799"/>
                    </a:cubicBezTo>
                    <a:cubicBezTo>
                      <a:pt x="32978" y="259556"/>
                      <a:pt x="0" y="217551"/>
                      <a:pt x="0" y="177737"/>
                    </a:cubicBezTo>
                    <a:cubicBezTo>
                      <a:pt x="0" y="137922"/>
                      <a:pt x="32978" y="96012"/>
                      <a:pt x="90476" y="62770"/>
                    </a:cubicBezTo>
                    <a:cubicBezTo>
                      <a:pt x="159474" y="22860"/>
                      <a:pt x="256412" y="0"/>
                      <a:pt x="356582" y="0"/>
                    </a:cubicBezTo>
                    <a:cubicBezTo>
                      <a:pt x="456752" y="0"/>
                      <a:pt x="553596" y="22860"/>
                      <a:pt x="622688" y="62770"/>
                    </a:cubicBezTo>
                    <a:cubicBezTo>
                      <a:pt x="680186" y="96012"/>
                      <a:pt x="713164" y="138017"/>
                      <a:pt x="713164" y="177832"/>
                    </a:cubicBezTo>
                    <a:cubicBezTo>
                      <a:pt x="713164" y="217646"/>
                      <a:pt x="680186" y="259556"/>
                      <a:pt x="622688" y="292799"/>
                    </a:cubicBezTo>
                    <a:cubicBezTo>
                      <a:pt x="553690" y="332708"/>
                      <a:pt x="456657" y="355568"/>
                      <a:pt x="356582" y="355568"/>
                    </a:cubicBezTo>
                    <a:close/>
                  </a:path>
                </a:pathLst>
              </a:custGeom>
              <a:solidFill>
                <a:srgbClr val="0070C0"/>
              </a:solidFill>
              <a:ln>
                <a:noFill/>
              </a:ln>
            </p:spPr>
            <p:txBody>
              <a:bodyPr spcFirstLastPara="1" wrap="square" lIns="51427" tIns="25706" rIns="51427" bIns="25706" anchor="ctr" anchorCtr="0">
                <a:noAutofit/>
              </a:bodyPr>
              <a:lstStyle/>
              <a:p>
                <a:endParaRPr sz="1013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0" name="Google Shape;2819;p37">
                <a:extLst>
                  <a:ext uri="{FF2B5EF4-FFF2-40B4-BE49-F238E27FC236}">
                    <a16:creationId xmlns:a16="http://schemas.microsoft.com/office/drawing/2014/main" id="{95AEAE95-34E7-47C6-8BEF-9FE12B4FCEB5}"/>
                  </a:ext>
                </a:extLst>
              </p:cNvPr>
              <p:cNvSpPr/>
              <p:nvPr/>
            </p:nvSpPr>
            <p:spPr>
              <a:xfrm>
                <a:off x="9126140" y="4525245"/>
                <a:ext cx="301814" cy="174661"/>
              </a:xfrm>
              <a:custGeom>
                <a:avLst/>
                <a:gdLst/>
                <a:ahLst/>
                <a:cxnLst/>
                <a:rect l="l" t="t" r="r" b="b"/>
                <a:pathLst>
                  <a:path w="920726" h="532828" extrusionOk="0">
                    <a:moveTo>
                      <a:pt x="920727" y="266414"/>
                    </a:moveTo>
                    <a:cubicBezTo>
                      <a:pt x="920727" y="413551"/>
                      <a:pt x="714615" y="532828"/>
                      <a:pt x="460363" y="532828"/>
                    </a:cubicBezTo>
                    <a:cubicBezTo>
                      <a:pt x="206112" y="532828"/>
                      <a:pt x="0" y="413551"/>
                      <a:pt x="0" y="266414"/>
                    </a:cubicBezTo>
                    <a:cubicBezTo>
                      <a:pt x="0" y="119278"/>
                      <a:pt x="206112" y="0"/>
                      <a:pt x="460363" y="0"/>
                    </a:cubicBezTo>
                    <a:cubicBezTo>
                      <a:pt x="714615" y="0"/>
                      <a:pt x="920727" y="119278"/>
                      <a:pt x="920727" y="266414"/>
                    </a:cubicBezTo>
                    <a:close/>
                  </a:path>
                </a:pathLst>
              </a:custGeom>
              <a:solidFill>
                <a:srgbClr val="FFDF57"/>
              </a:solidFill>
              <a:ln>
                <a:noFill/>
              </a:ln>
            </p:spPr>
            <p:txBody>
              <a:bodyPr spcFirstLastPara="1" wrap="square" lIns="51427" tIns="25706" rIns="51427" bIns="25706" anchor="ctr" anchorCtr="0">
                <a:noAutofit/>
              </a:bodyPr>
              <a:lstStyle/>
              <a:p>
                <a:endParaRPr sz="1013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1" name="Google Shape;2823;p37">
                <a:extLst>
                  <a:ext uri="{FF2B5EF4-FFF2-40B4-BE49-F238E27FC236}">
                    <a16:creationId xmlns:a16="http://schemas.microsoft.com/office/drawing/2014/main" id="{C8C80F53-6F90-4157-81BF-AA1D44F28B6A}"/>
                  </a:ext>
                </a:extLst>
              </p:cNvPr>
              <p:cNvSpPr/>
              <p:nvPr/>
            </p:nvSpPr>
            <p:spPr>
              <a:xfrm>
                <a:off x="9056448" y="4142102"/>
                <a:ext cx="440387" cy="475899"/>
              </a:xfrm>
              <a:custGeom>
                <a:avLst/>
                <a:gdLst/>
                <a:ahLst/>
                <a:cxnLst/>
                <a:rect l="l" t="t" r="r" b="b"/>
                <a:pathLst>
                  <a:path w="1343462" h="1451800" extrusionOk="0">
                    <a:moveTo>
                      <a:pt x="1132665" y="1449134"/>
                    </a:moveTo>
                    <a:cubicBezTo>
                      <a:pt x="1133425" y="1389317"/>
                      <a:pt x="1143689" y="1212723"/>
                      <a:pt x="1283870" y="969359"/>
                    </a:cubicBezTo>
                    <a:cubicBezTo>
                      <a:pt x="1449711" y="681419"/>
                      <a:pt x="1276837" y="0"/>
                      <a:pt x="671731" y="0"/>
                    </a:cubicBezTo>
                    <a:cubicBezTo>
                      <a:pt x="66625" y="0"/>
                      <a:pt x="-106249" y="681419"/>
                      <a:pt x="59592" y="969359"/>
                    </a:cubicBezTo>
                    <a:cubicBezTo>
                      <a:pt x="180766" y="1179767"/>
                      <a:pt x="207186" y="1366457"/>
                      <a:pt x="212698" y="1451801"/>
                    </a:cubicBezTo>
                  </a:path>
                </a:pathLst>
              </a:custGeom>
              <a:solidFill>
                <a:srgbClr val="FFDF57">
                  <a:alpha val="68630"/>
                </a:srgbClr>
              </a:solidFill>
              <a:ln>
                <a:noFill/>
              </a:ln>
            </p:spPr>
            <p:txBody>
              <a:bodyPr spcFirstLastPara="1" wrap="square" lIns="51427" tIns="25706" rIns="51427" bIns="25706" anchor="ctr" anchorCtr="0">
                <a:noAutofit/>
              </a:bodyPr>
              <a:lstStyle/>
              <a:p>
                <a:endParaRPr sz="1013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345" name="Google Shape;2820;p37">
              <a:extLst>
                <a:ext uri="{FF2B5EF4-FFF2-40B4-BE49-F238E27FC236}">
                  <a16:creationId xmlns:a16="http://schemas.microsoft.com/office/drawing/2014/main" id="{768F4333-8371-4193-A9E7-F121F25CB2EF}"/>
                </a:ext>
              </a:extLst>
            </p:cNvPr>
            <p:cNvSpPr/>
            <p:nvPr/>
          </p:nvSpPr>
          <p:spPr>
            <a:xfrm>
              <a:off x="9113350" y="5471600"/>
              <a:ext cx="13365" cy="208226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51427" tIns="25706" rIns="51427" bIns="25706" anchor="ctr" anchorCtr="0">
              <a:noAutofit/>
            </a:bodyPr>
            <a:lstStyle/>
            <a:p>
              <a:endParaRPr sz="1013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6" name="Google Shape;2821;p37">
              <a:extLst>
                <a:ext uri="{FF2B5EF4-FFF2-40B4-BE49-F238E27FC236}">
                  <a16:creationId xmlns:a16="http://schemas.microsoft.com/office/drawing/2014/main" id="{3956B852-5B41-4F11-B033-453021B6304B}"/>
                </a:ext>
              </a:extLst>
            </p:cNvPr>
            <p:cNvSpPr/>
            <p:nvPr/>
          </p:nvSpPr>
          <p:spPr>
            <a:xfrm>
              <a:off x="9204848" y="5471600"/>
              <a:ext cx="13365" cy="208226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51427" tIns="25706" rIns="51427" bIns="25706" anchor="ctr" anchorCtr="0">
              <a:noAutofit/>
            </a:bodyPr>
            <a:lstStyle/>
            <a:p>
              <a:endParaRPr sz="1013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7" name="Google Shape;2822;p37">
              <a:extLst>
                <a:ext uri="{FF2B5EF4-FFF2-40B4-BE49-F238E27FC236}">
                  <a16:creationId xmlns:a16="http://schemas.microsoft.com/office/drawing/2014/main" id="{64FBCCAC-D9CF-412A-BE4A-86AADD1BD615}"/>
                </a:ext>
              </a:extLst>
            </p:cNvPr>
            <p:cNvSpPr/>
            <p:nvPr/>
          </p:nvSpPr>
          <p:spPr>
            <a:xfrm>
              <a:off x="9113350" y="5449494"/>
              <a:ext cx="104862" cy="35656"/>
            </a:xfrm>
            <a:custGeom>
              <a:avLst/>
              <a:gdLst/>
              <a:ahLst/>
              <a:cxnLst/>
              <a:rect l="l" t="t" r="r" b="b"/>
              <a:pathLst>
                <a:path w="319897" h="108775" extrusionOk="0">
                  <a:moveTo>
                    <a:pt x="157098" y="108775"/>
                  </a:moveTo>
                  <a:lnTo>
                    <a:pt x="97319" y="53911"/>
                  </a:lnTo>
                  <a:lnTo>
                    <a:pt x="23950" y="103156"/>
                  </a:lnTo>
                  <a:lnTo>
                    <a:pt x="0" y="67532"/>
                  </a:lnTo>
                  <a:lnTo>
                    <a:pt x="101310" y="857"/>
                  </a:lnTo>
                  <a:lnTo>
                    <a:pt x="159379" y="54102"/>
                  </a:lnTo>
                  <a:lnTo>
                    <a:pt x="228946" y="0"/>
                  </a:lnTo>
                  <a:lnTo>
                    <a:pt x="319897" y="67532"/>
                  </a:lnTo>
                  <a:lnTo>
                    <a:pt x="291481" y="100203"/>
                  </a:lnTo>
                  <a:lnTo>
                    <a:pt x="228851" y="53054"/>
                  </a:lnTo>
                  <a:lnTo>
                    <a:pt x="157098" y="108775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51427" tIns="25706" rIns="51427" bIns="25706" anchor="ctr" anchorCtr="0">
              <a:noAutofit/>
            </a:bodyPr>
            <a:lstStyle/>
            <a:p>
              <a:endParaRPr sz="1013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aphicFrame>
        <p:nvGraphicFramePr>
          <p:cNvPr id="353" name="Диаграмма 352">
            <a:extLst>
              <a:ext uri="{FF2B5EF4-FFF2-40B4-BE49-F238E27FC236}">
                <a16:creationId xmlns:a16="http://schemas.microsoft.com/office/drawing/2014/main" id="{75BD1756-0A49-445D-8ECA-16C514F1DCE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40242323"/>
              </p:ext>
            </p:extLst>
          </p:nvPr>
        </p:nvGraphicFramePr>
        <p:xfrm>
          <a:off x="151656" y="1314279"/>
          <a:ext cx="3181679" cy="34308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54" name="Oval 98">
            <a:extLst>
              <a:ext uri="{FF2B5EF4-FFF2-40B4-BE49-F238E27FC236}">
                <a16:creationId xmlns:a16="http://schemas.microsoft.com/office/drawing/2014/main" id="{AE95DEE4-FA66-4F38-9135-67D2FC21D040}"/>
              </a:ext>
            </a:extLst>
          </p:cNvPr>
          <p:cNvSpPr/>
          <p:nvPr/>
        </p:nvSpPr>
        <p:spPr>
          <a:xfrm>
            <a:off x="1027702" y="3913779"/>
            <a:ext cx="869059" cy="907233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355" name="TextBox 354">
            <a:extLst>
              <a:ext uri="{FF2B5EF4-FFF2-40B4-BE49-F238E27FC236}">
                <a16:creationId xmlns:a16="http://schemas.microsoft.com/office/drawing/2014/main" id="{D97EB9E9-1413-46BD-ADBE-8830D0E9779D}"/>
              </a:ext>
            </a:extLst>
          </p:cNvPr>
          <p:cNvSpPr txBox="1"/>
          <p:nvPr/>
        </p:nvSpPr>
        <p:spPr>
          <a:xfrm flipH="1">
            <a:off x="462933" y="954999"/>
            <a:ext cx="2070945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ru-RU" sz="1000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РЛЕРІ БОЙЫНША ӨТІНІШТЕРДІҢ ҚҰРЫЛЫМЫ, %</a:t>
            </a:r>
            <a:endParaRPr lang="en-US" sz="1000" b="1" dirty="0">
              <a:solidFill>
                <a:srgbClr val="0066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57" name="Straight Connector 110">
            <a:extLst>
              <a:ext uri="{FF2B5EF4-FFF2-40B4-BE49-F238E27FC236}">
                <a16:creationId xmlns:a16="http://schemas.microsoft.com/office/drawing/2014/main" id="{FA77B5F4-F9AE-4DF1-B6D4-864AFD69AEF0}"/>
              </a:ext>
            </a:extLst>
          </p:cNvPr>
          <p:cNvCxnSpPr>
            <a:cxnSpLocks/>
          </p:cNvCxnSpPr>
          <p:nvPr/>
        </p:nvCxnSpPr>
        <p:spPr>
          <a:xfrm>
            <a:off x="4971643" y="3462417"/>
            <a:ext cx="0" cy="1392556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9" name="Straight Connector 110">
            <a:extLst>
              <a:ext uri="{FF2B5EF4-FFF2-40B4-BE49-F238E27FC236}">
                <a16:creationId xmlns:a16="http://schemas.microsoft.com/office/drawing/2014/main" id="{EFB41886-5E03-47BB-A3CC-A4FB03C3DE14}"/>
              </a:ext>
            </a:extLst>
          </p:cNvPr>
          <p:cNvCxnSpPr>
            <a:cxnSpLocks/>
          </p:cNvCxnSpPr>
          <p:nvPr/>
        </p:nvCxnSpPr>
        <p:spPr>
          <a:xfrm>
            <a:off x="3051485" y="3443525"/>
            <a:ext cx="0" cy="1392556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0" name="TextBox 130">
            <a:extLst>
              <a:ext uri="{FF2B5EF4-FFF2-40B4-BE49-F238E27FC236}">
                <a16:creationId xmlns:a16="http://schemas.microsoft.com/office/drawing/2014/main" id="{313D2CE5-3656-42A3-83E0-9FC6B57C0D7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07757" y="2833231"/>
            <a:ext cx="1069475" cy="698398"/>
          </a:xfrm>
          <a:prstGeom prst="rect">
            <a:avLst/>
          </a:prstGeom>
          <a:noFill/>
          <a:ln>
            <a:noFill/>
          </a:ln>
        </p:spPr>
        <p:txBody>
          <a:bodyPr wrap="square" lIns="51560" tIns="25782" rIns="51560" bIns="25782">
            <a:spAutoFit/>
          </a:bodyPr>
          <a:lstStyle>
            <a:lvl1pPr defTabSz="915988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5988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5988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5988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5988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9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 356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8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ТІНІШТЕР 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900" i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</a:t>
            </a:r>
            <a:r>
              <a:rPr lang="ru-RU" altLang="ru-RU" sz="800" i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3 959 – ОА, 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800" i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6 397 – </a:t>
            </a:r>
            <a:r>
              <a:rPr lang="ru-RU" altLang="ru-RU" sz="800" i="1" dirty="0" err="1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филиалдар</a:t>
            </a:r>
            <a:r>
              <a:rPr lang="ru-RU" altLang="ru-RU" sz="800" i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</a:t>
            </a:r>
            <a:endParaRPr lang="en-US" altLang="ru-RU" sz="800" i="1" dirty="0">
              <a:solidFill>
                <a:srgbClr val="00206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63" name="object 4">
            <a:extLst>
              <a:ext uri="{FF2B5EF4-FFF2-40B4-BE49-F238E27FC236}">
                <a16:creationId xmlns:a16="http://schemas.microsoft.com/office/drawing/2014/main" id="{F2B773D0-A2D6-45B5-AECA-3A3C49D9265C}"/>
              </a:ext>
            </a:extLst>
          </p:cNvPr>
          <p:cNvSpPr txBox="1">
            <a:spLocks/>
          </p:cNvSpPr>
          <p:nvPr/>
        </p:nvSpPr>
        <p:spPr bwMode="auto">
          <a:xfrm>
            <a:off x="2946400" y="6762498"/>
            <a:ext cx="1452690" cy="10819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4709" rIns="0" bIns="0">
            <a:spAutoFit/>
          </a:bodyPr>
          <a:lstStyle>
            <a:lvl1pPr marL="7938" defTabSz="64611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64611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64611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64611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64611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48220" indent="-43756" fontAlgn="base">
              <a:spcBef>
                <a:spcPts val="35"/>
              </a:spcBef>
              <a:spcAft>
                <a:spcPts val="338"/>
              </a:spcAft>
              <a:buFont typeface="Arial" panose="020B0604020202020204" pitchFamily="34" charset="0"/>
              <a:buChar char="•"/>
              <a:defRPr/>
            </a:pPr>
            <a:r>
              <a:rPr lang="ru-RU" altLang="en-US" sz="1000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ҚР ӘРПК-де </a:t>
            </a:r>
            <a:r>
              <a:rPr lang="ru-RU" altLang="en-US" sz="1000" dirty="0" err="1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көзделгендей</a:t>
            </a:r>
            <a:r>
              <a:rPr lang="ru-RU" altLang="en-US" sz="1000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, </a:t>
            </a:r>
            <a:r>
              <a:rPr lang="ru-RU" altLang="en-US" sz="1000" dirty="0" err="1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мемлекеттік</a:t>
            </a:r>
            <a:r>
              <a:rPr lang="ru-RU" altLang="en-US" sz="1000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 </a:t>
            </a:r>
            <a:r>
              <a:rPr lang="ru-RU" altLang="en-US" sz="1000" dirty="0" err="1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қызметтер</a:t>
            </a:r>
            <a:r>
              <a:rPr lang="ru-RU" altLang="en-US" sz="1000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 </a:t>
            </a:r>
            <a:r>
              <a:rPr lang="ru-RU" altLang="en-US" sz="1000" dirty="0" err="1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бойынша</a:t>
            </a:r>
            <a:r>
              <a:rPr lang="ru-RU" altLang="en-US" sz="1000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 </a:t>
            </a:r>
            <a:r>
              <a:rPr lang="ru-RU" altLang="en-US" sz="1000" dirty="0" err="1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шағымдарды</a:t>
            </a:r>
            <a:r>
              <a:rPr lang="ru-RU" altLang="en-US" sz="1000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 20 </a:t>
            </a:r>
            <a:r>
              <a:rPr lang="ru-RU" altLang="en-US" sz="1000" dirty="0" err="1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жұмыс</a:t>
            </a:r>
            <a:r>
              <a:rPr lang="ru-RU" altLang="en-US" sz="1000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 </a:t>
            </a:r>
            <a:r>
              <a:rPr lang="ru-RU" altLang="en-US" sz="1000" dirty="0" err="1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күні</a:t>
            </a:r>
            <a:r>
              <a:rPr lang="ru-RU" altLang="en-US" sz="1000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 </a:t>
            </a:r>
            <a:r>
              <a:rPr lang="ru-RU" altLang="en-US" sz="1000" dirty="0" err="1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емес</a:t>
            </a:r>
            <a:r>
              <a:rPr lang="ru-RU" altLang="en-US" sz="1000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, 5 </a:t>
            </a:r>
            <a:r>
              <a:rPr lang="ru-RU" altLang="en-US" sz="1000" dirty="0" err="1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жұмыс</a:t>
            </a:r>
            <a:r>
              <a:rPr lang="ru-RU" altLang="en-US" sz="1000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 </a:t>
            </a:r>
            <a:r>
              <a:rPr lang="ru-RU" altLang="en-US" sz="1000" dirty="0" err="1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күні</a:t>
            </a:r>
            <a:r>
              <a:rPr lang="ru-RU" altLang="en-US" sz="1000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 </a:t>
            </a:r>
            <a:r>
              <a:rPr lang="ru-RU" altLang="en-US" sz="1000" dirty="0" err="1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ішінде</a:t>
            </a:r>
            <a:r>
              <a:rPr lang="ru-RU" altLang="en-US" sz="1000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 </a:t>
            </a:r>
            <a:r>
              <a:rPr lang="ru-RU" altLang="en-US" sz="1000" dirty="0" err="1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қарау</a:t>
            </a:r>
            <a:endParaRPr lang="ru-RU" altLang="en-US" sz="900" dirty="0">
              <a:solidFill>
                <a:srgbClr val="0070C0"/>
              </a:solidFill>
              <a:latin typeface="Arial" panose="020B0604020202020204" pitchFamily="34" charset="0"/>
              <a:ea typeface="Verdana" panose="020B0604030504040204" pitchFamily="34" charset="0"/>
              <a:sym typeface="Impact"/>
            </a:endParaRPr>
          </a:p>
        </p:txBody>
      </p:sp>
      <p:sp>
        <p:nvSpPr>
          <p:cNvPr id="364" name="object 4">
            <a:extLst>
              <a:ext uri="{FF2B5EF4-FFF2-40B4-BE49-F238E27FC236}">
                <a16:creationId xmlns:a16="http://schemas.microsoft.com/office/drawing/2014/main" id="{3FC005BF-C3F8-49B6-A347-522A73FF1FCF}"/>
              </a:ext>
            </a:extLst>
          </p:cNvPr>
          <p:cNvSpPr txBox="1">
            <a:spLocks/>
          </p:cNvSpPr>
          <p:nvPr/>
        </p:nvSpPr>
        <p:spPr bwMode="auto">
          <a:xfrm>
            <a:off x="4684889" y="6734095"/>
            <a:ext cx="1710955" cy="4664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4709" rIns="0" bIns="0">
            <a:spAutoFit/>
          </a:bodyPr>
          <a:lstStyle>
            <a:lvl1pPr marL="7938" defTabSz="64611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64611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64611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64611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64611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48220" indent="-43756" fontAlgn="base">
              <a:spcBef>
                <a:spcPts val="35"/>
              </a:spcBef>
              <a:spcAft>
                <a:spcPts val="338"/>
              </a:spcAft>
              <a:buFont typeface="Arial" panose="020B0604020202020204" pitchFamily="34" charset="0"/>
              <a:buChar char="•"/>
              <a:defRPr/>
            </a:pPr>
            <a:r>
              <a:rPr lang="ru-RU" altLang="en-US" sz="1000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«</a:t>
            </a:r>
            <a:r>
              <a:rPr lang="ru-RU" altLang="en-US" sz="1000" dirty="0" err="1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Мемлекеттік</a:t>
            </a:r>
            <a:r>
              <a:rPr lang="ru-RU" altLang="en-US" sz="1000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 </a:t>
            </a:r>
            <a:r>
              <a:rPr lang="ru-RU" altLang="en-US" sz="1000" dirty="0" err="1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қызметтер</a:t>
            </a:r>
            <a:r>
              <a:rPr lang="ru-RU" altLang="en-US" sz="1000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 </a:t>
            </a:r>
            <a:r>
              <a:rPr lang="ru-RU" altLang="en-US" sz="1000" dirty="0" err="1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көрсету</a:t>
            </a:r>
            <a:r>
              <a:rPr lang="ru-RU" altLang="en-US" sz="1000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 </a:t>
            </a:r>
            <a:r>
              <a:rPr lang="ru-RU" altLang="en-US" sz="1000" dirty="0" err="1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туралы</a:t>
            </a:r>
            <a:r>
              <a:rPr lang="ru-RU" altLang="en-US" sz="1000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» ҚР </a:t>
            </a:r>
            <a:r>
              <a:rPr lang="ru-RU" altLang="en-US" sz="1000" dirty="0" err="1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Заңына</a:t>
            </a:r>
            <a:r>
              <a:rPr lang="ru-RU" altLang="en-US" sz="1000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 </a:t>
            </a:r>
            <a:r>
              <a:rPr lang="ru-RU" altLang="en-US" sz="1000" dirty="0" err="1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өзгерістер</a:t>
            </a:r>
            <a:r>
              <a:rPr lang="ru-RU" altLang="en-US" sz="1000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 </a:t>
            </a:r>
            <a:r>
              <a:rPr lang="ru-RU" altLang="en-US" sz="1000" dirty="0" err="1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енгізу</a:t>
            </a:r>
            <a:endParaRPr lang="ru-RU" altLang="en-US" sz="1000" dirty="0">
              <a:solidFill>
                <a:srgbClr val="0070C0"/>
              </a:solidFill>
              <a:latin typeface="Arial" panose="020B0604020202020204" pitchFamily="34" charset="0"/>
              <a:ea typeface="Verdana" panose="020B0604030504040204" pitchFamily="34" charset="0"/>
              <a:sym typeface="Impact"/>
            </a:endParaRPr>
          </a:p>
        </p:txBody>
      </p:sp>
      <p:sp>
        <p:nvSpPr>
          <p:cNvPr id="365" name="object 4">
            <a:extLst>
              <a:ext uri="{FF2B5EF4-FFF2-40B4-BE49-F238E27FC236}">
                <a16:creationId xmlns:a16="http://schemas.microsoft.com/office/drawing/2014/main" id="{797DD1B4-140C-410A-9C09-0DEC88148157}"/>
              </a:ext>
            </a:extLst>
          </p:cNvPr>
          <p:cNvSpPr txBox="1">
            <a:spLocks/>
          </p:cNvSpPr>
          <p:nvPr/>
        </p:nvSpPr>
        <p:spPr bwMode="auto">
          <a:xfrm>
            <a:off x="871070" y="6734095"/>
            <a:ext cx="1604069" cy="11589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4709" rIns="0" bIns="0">
            <a:spAutoFit/>
          </a:bodyPr>
          <a:lstStyle>
            <a:lvl1pPr marL="7938" defTabSz="64611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64611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64611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64611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64611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48220" indent="-43756" fontAlgn="base">
              <a:spcAft>
                <a:spcPts val="338"/>
              </a:spcAft>
              <a:buFont typeface="Arial" panose="020B0604020202020204" pitchFamily="34" charset="0"/>
              <a:buChar char="•"/>
              <a:defRPr/>
            </a:pPr>
            <a:r>
              <a:rPr lang="ru-RU" altLang="en-US" sz="1000" dirty="0" err="1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жолданымдарға</a:t>
            </a:r>
            <a:r>
              <a:rPr lang="ru-RU" altLang="en-US" sz="1000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 </a:t>
            </a:r>
            <a:r>
              <a:rPr lang="ru-RU" altLang="en-US" sz="1000" dirty="0" err="1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жауаптарды</a:t>
            </a:r>
            <a:r>
              <a:rPr lang="ru-RU" altLang="en-US" sz="1000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 </a:t>
            </a:r>
            <a:r>
              <a:rPr lang="ru-RU" altLang="en-US" sz="1000" dirty="0" err="1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жеке</a:t>
            </a:r>
            <a:r>
              <a:rPr lang="ru-RU" altLang="en-US" sz="1000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 </a:t>
            </a:r>
            <a:r>
              <a:rPr lang="ru-RU" altLang="en-US" sz="1000" dirty="0" err="1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талдау</a:t>
            </a:r>
            <a:endParaRPr lang="ru-RU" altLang="en-US" sz="1000" dirty="0">
              <a:solidFill>
                <a:srgbClr val="0070C0"/>
              </a:solidFill>
              <a:latin typeface="Arial" panose="020B0604020202020204" pitchFamily="34" charset="0"/>
              <a:ea typeface="Verdana" panose="020B0604030504040204" pitchFamily="34" charset="0"/>
              <a:sym typeface="Impact"/>
            </a:endParaRPr>
          </a:p>
          <a:p>
            <a:pPr marL="48220" indent="-43756" fontAlgn="base">
              <a:spcAft>
                <a:spcPts val="338"/>
              </a:spcAft>
              <a:buFont typeface="Arial" panose="020B0604020202020204" pitchFamily="34" charset="0"/>
              <a:buChar char="•"/>
              <a:defRPr/>
            </a:pPr>
            <a:r>
              <a:rPr lang="ru-RU" altLang="en-US" sz="1000" dirty="0" err="1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филиалдардың</a:t>
            </a:r>
            <a:r>
              <a:rPr lang="ru-RU" altLang="en-US" sz="1000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 </a:t>
            </a:r>
            <a:r>
              <a:rPr lang="ru-RU" altLang="en-US" sz="1000" dirty="0" err="1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рейтингтік</a:t>
            </a:r>
            <a:r>
              <a:rPr lang="ru-RU" altLang="en-US" sz="1000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 </a:t>
            </a:r>
            <a:r>
              <a:rPr lang="ru-RU" altLang="en-US" sz="1000" dirty="0" err="1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бағасына</a:t>
            </a:r>
            <a:r>
              <a:rPr lang="ru-RU" altLang="en-US" sz="1000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 </a:t>
            </a:r>
            <a:r>
              <a:rPr lang="ru-RU" altLang="en-US" sz="1000" dirty="0" err="1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жауаптардың</a:t>
            </a:r>
            <a:r>
              <a:rPr lang="ru-RU" altLang="en-US" sz="1000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 </a:t>
            </a:r>
            <a:r>
              <a:rPr lang="ru-RU" altLang="en-US" sz="1000" dirty="0" err="1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сапасын</a:t>
            </a:r>
            <a:r>
              <a:rPr lang="ru-RU" altLang="en-US" sz="1000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 </a:t>
            </a:r>
            <a:r>
              <a:rPr lang="ru-RU" altLang="en-US" sz="1000" dirty="0" err="1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қосу</a:t>
            </a:r>
            <a:endParaRPr lang="ru-RU" altLang="en-US" sz="1000" dirty="0">
              <a:solidFill>
                <a:srgbClr val="0070C0"/>
              </a:solidFill>
              <a:latin typeface="Arial" panose="020B0604020202020204" pitchFamily="34" charset="0"/>
              <a:ea typeface="Verdana" panose="020B0604030504040204" pitchFamily="34" charset="0"/>
              <a:sym typeface="Impact"/>
            </a:endParaRPr>
          </a:p>
          <a:p>
            <a:pPr marL="48220" indent="-43756" fontAlgn="base">
              <a:spcAft>
                <a:spcPts val="338"/>
              </a:spcAft>
              <a:buFont typeface="Arial" panose="020B0604020202020204" pitchFamily="34" charset="0"/>
              <a:buChar char="•"/>
              <a:defRPr/>
            </a:pPr>
            <a:r>
              <a:rPr lang="ru-RU" altLang="en-US" sz="1000" dirty="0" err="1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қажет</a:t>
            </a:r>
            <a:r>
              <a:rPr lang="ru-RU" altLang="en-US" sz="1000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 </a:t>
            </a:r>
            <a:r>
              <a:rPr lang="ru-RU" altLang="en-US" sz="1000" dirty="0" err="1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болған</a:t>
            </a:r>
            <a:r>
              <a:rPr lang="ru-RU" altLang="en-US" sz="1000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 </a:t>
            </a:r>
            <a:r>
              <a:rPr lang="ru-RU" altLang="en-US" sz="1000" dirty="0" err="1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жағдайда</a:t>
            </a:r>
            <a:r>
              <a:rPr lang="ru-RU" altLang="en-US" sz="1000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 </a:t>
            </a:r>
            <a:r>
              <a:rPr lang="ru-RU" altLang="en-US" sz="1000" dirty="0" err="1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қызметтік</a:t>
            </a:r>
            <a:r>
              <a:rPr lang="ru-RU" altLang="en-US" sz="1000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 </a:t>
            </a:r>
            <a:r>
              <a:rPr lang="ru-RU" altLang="en-US" sz="1000" dirty="0" err="1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тексеру</a:t>
            </a:r>
            <a:r>
              <a:rPr lang="ru-RU" altLang="en-US" sz="1000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 </a:t>
            </a:r>
            <a:r>
              <a:rPr lang="ru-RU" altLang="en-US" sz="1000" dirty="0" err="1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жүргізу</a:t>
            </a:r>
            <a:endParaRPr lang="ru-RU" altLang="en-US" sz="1000" dirty="0">
              <a:solidFill>
                <a:srgbClr val="0070C0"/>
              </a:solidFill>
              <a:latin typeface="Arial" panose="020B0604020202020204" pitchFamily="34" charset="0"/>
              <a:ea typeface="Verdana" panose="020B0604030504040204" pitchFamily="34" charset="0"/>
              <a:sym typeface="Impact"/>
            </a:endParaRPr>
          </a:p>
        </p:txBody>
      </p:sp>
      <p:pic>
        <p:nvPicPr>
          <p:cNvPr id="3074" name="Picture 2" descr="Портфель Компьютерные Иконки Сумка, сумка, синий, прямоугольник, кожа png |  PNGWing">
            <a:extLst>
              <a:ext uri="{FF2B5EF4-FFF2-40B4-BE49-F238E27FC236}">
                <a16:creationId xmlns:a16="http://schemas.microsoft.com/office/drawing/2014/main" id="{AA6F9FD5-5F68-4B82-B1CE-691E853E8C6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52" t="14641" r="23679" b="16107"/>
          <a:stretch/>
        </p:blipFill>
        <p:spPr bwMode="auto">
          <a:xfrm>
            <a:off x="1531200" y="5341650"/>
            <a:ext cx="492634" cy="515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Вопросительный знак – Бесплатные иконки: интерфейс">
            <a:extLst>
              <a:ext uri="{FF2B5EF4-FFF2-40B4-BE49-F238E27FC236}">
                <a16:creationId xmlns:a16="http://schemas.microsoft.com/office/drawing/2014/main" id="{77558B02-DCB5-48E7-87C0-B4B7A258CB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9152" y="5433864"/>
            <a:ext cx="209253" cy="2092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74" name="Группа 373">
            <a:extLst>
              <a:ext uri="{FF2B5EF4-FFF2-40B4-BE49-F238E27FC236}">
                <a16:creationId xmlns:a16="http://schemas.microsoft.com/office/drawing/2014/main" id="{2CCEAAC6-9E71-4194-BAF9-C1A063842563}"/>
              </a:ext>
            </a:extLst>
          </p:cNvPr>
          <p:cNvGrpSpPr/>
          <p:nvPr/>
        </p:nvGrpSpPr>
        <p:grpSpPr>
          <a:xfrm>
            <a:off x="3237769" y="5563300"/>
            <a:ext cx="481258" cy="267754"/>
            <a:chOff x="2781265" y="5090405"/>
            <a:chExt cx="498446" cy="484860"/>
          </a:xfrm>
        </p:grpSpPr>
        <p:grpSp>
          <p:nvGrpSpPr>
            <p:cNvPr id="371" name="Группа 370">
              <a:extLst>
                <a:ext uri="{FF2B5EF4-FFF2-40B4-BE49-F238E27FC236}">
                  <a16:creationId xmlns:a16="http://schemas.microsoft.com/office/drawing/2014/main" id="{D92F38A7-C07A-45B6-9E97-5E089A2A011E}"/>
                </a:ext>
              </a:extLst>
            </p:cNvPr>
            <p:cNvGrpSpPr/>
            <p:nvPr/>
          </p:nvGrpSpPr>
          <p:grpSpPr>
            <a:xfrm>
              <a:off x="2797118" y="5090405"/>
              <a:ext cx="482593" cy="483338"/>
              <a:chOff x="960444" y="5948228"/>
              <a:chExt cx="413601" cy="276858"/>
            </a:xfrm>
          </p:grpSpPr>
          <p:sp>
            <p:nvSpPr>
              <p:cNvPr id="366" name="Google Shape;2708;p37">
                <a:extLst>
                  <a:ext uri="{FF2B5EF4-FFF2-40B4-BE49-F238E27FC236}">
                    <a16:creationId xmlns:a16="http://schemas.microsoft.com/office/drawing/2014/main" id="{F33AE311-CA1A-4967-A8B6-433D1501FE5F}"/>
                  </a:ext>
                </a:extLst>
              </p:cNvPr>
              <p:cNvSpPr/>
              <p:nvPr/>
            </p:nvSpPr>
            <p:spPr>
              <a:xfrm>
                <a:off x="1116831" y="5948228"/>
                <a:ext cx="257214" cy="148581"/>
              </a:xfrm>
              <a:custGeom>
                <a:avLst/>
                <a:gdLst/>
                <a:ahLst/>
                <a:cxnLst/>
                <a:rect l="l" t="t" r="r" b="b"/>
                <a:pathLst>
                  <a:path w="675989" h="390489" extrusionOk="0">
                    <a:moveTo>
                      <a:pt x="98869" y="333375"/>
                    </a:moveTo>
                    <a:cubicBezTo>
                      <a:pt x="-32956" y="257175"/>
                      <a:pt x="-32956" y="133350"/>
                      <a:pt x="98869" y="57150"/>
                    </a:cubicBezTo>
                    <a:cubicBezTo>
                      <a:pt x="230695" y="-19050"/>
                      <a:pt x="445294" y="-19050"/>
                      <a:pt x="577120" y="57150"/>
                    </a:cubicBezTo>
                    <a:cubicBezTo>
                      <a:pt x="708946" y="133350"/>
                      <a:pt x="708946" y="257175"/>
                      <a:pt x="577120" y="333375"/>
                    </a:cubicBezTo>
                    <a:cubicBezTo>
                      <a:pt x="445294" y="409575"/>
                      <a:pt x="230695" y="409480"/>
                      <a:pt x="98869" y="333375"/>
                    </a:cubicBezTo>
                    <a:close/>
                    <a:moveTo>
                      <a:pt x="535019" y="81534"/>
                    </a:moveTo>
                    <a:cubicBezTo>
                      <a:pt x="426339" y="18860"/>
                      <a:pt x="249269" y="18764"/>
                      <a:pt x="140970" y="81534"/>
                    </a:cubicBezTo>
                    <a:cubicBezTo>
                      <a:pt x="32671" y="144304"/>
                      <a:pt x="32290" y="246316"/>
                      <a:pt x="140970" y="309086"/>
                    </a:cubicBezTo>
                    <a:cubicBezTo>
                      <a:pt x="249650" y="371856"/>
                      <a:pt x="426720" y="371856"/>
                      <a:pt x="535019" y="309086"/>
                    </a:cubicBezTo>
                    <a:cubicBezTo>
                      <a:pt x="643319" y="246316"/>
                      <a:pt x="644176" y="144304"/>
                      <a:pt x="535019" y="81534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51427" tIns="25706" rIns="51427" bIns="25706" anchor="ctr" anchorCtr="0">
                <a:noAutofit/>
              </a:bodyPr>
              <a:lstStyle/>
              <a:p>
                <a:endParaRPr sz="1013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67" name="Google Shape;2711;p37">
                <a:extLst>
                  <a:ext uri="{FF2B5EF4-FFF2-40B4-BE49-F238E27FC236}">
                    <a16:creationId xmlns:a16="http://schemas.microsoft.com/office/drawing/2014/main" id="{67F30B9E-007B-4223-8EA8-F4F73D39AC0F}"/>
                  </a:ext>
                </a:extLst>
              </p:cNvPr>
              <p:cNvSpPr/>
              <p:nvPr/>
            </p:nvSpPr>
            <p:spPr>
              <a:xfrm>
                <a:off x="1113497" y="6091459"/>
                <a:ext cx="54146" cy="50558"/>
              </a:xfrm>
              <a:custGeom>
                <a:avLst/>
                <a:gdLst/>
                <a:ahLst/>
                <a:cxnLst/>
                <a:rect l="l" t="t" r="r" b="b"/>
                <a:pathLst>
                  <a:path w="142303" h="132873" extrusionOk="0">
                    <a:moveTo>
                      <a:pt x="142304" y="50768"/>
                    </a:moveTo>
                    <a:lnTo>
                      <a:pt x="0" y="132874"/>
                    </a:lnTo>
                    <a:lnTo>
                      <a:pt x="0" y="82201"/>
                    </a:lnTo>
                    <a:lnTo>
                      <a:pt x="142304" y="0"/>
                    </a:lnTo>
                    <a:lnTo>
                      <a:pt x="142304" y="50768"/>
                    </a:lnTo>
                    <a:close/>
                  </a:path>
                </a:pathLst>
              </a:custGeom>
              <a:solidFill>
                <a:srgbClr val="A1A5B5"/>
              </a:solidFill>
              <a:ln>
                <a:noFill/>
              </a:ln>
            </p:spPr>
            <p:txBody>
              <a:bodyPr spcFirstLastPara="1" wrap="square" lIns="51427" tIns="25706" rIns="51427" bIns="25706" anchor="ctr" anchorCtr="0">
                <a:noAutofit/>
              </a:bodyPr>
              <a:lstStyle/>
              <a:p>
                <a:endParaRPr sz="1013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68" name="Google Shape;2712;p37">
                <a:extLst>
                  <a:ext uri="{FF2B5EF4-FFF2-40B4-BE49-F238E27FC236}">
                    <a16:creationId xmlns:a16="http://schemas.microsoft.com/office/drawing/2014/main" id="{96E462E7-070B-4AB4-9946-8F736B4B2DC9}"/>
                  </a:ext>
                </a:extLst>
              </p:cNvPr>
              <p:cNvSpPr/>
              <p:nvPr/>
            </p:nvSpPr>
            <p:spPr>
              <a:xfrm>
                <a:off x="960444" y="6104141"/>
                <a:ext cx="164106" cy="120945"/>
              </a:xfrm>
              <a:custGeom>
                <a:avLst/>
                <a:gdLst/>
                <a:ahLst/>
                <a:cxnLst/>
                <a:rect l="l" t="t" r="r" b="b"/>
                <a:pathLst>
                  <a:path w="431291" h="317858" extrusionOk="0">
                    <a:moveTo>
                      <a:pt x="431292" y="84877"/>
                    </a:moveTo>
                    <a:cubicBezTo>
                      <a:pt x="429558" y="52883"/>
                      <a:pt x="412680" y="23631"/>
                      <a:pt x="385858" y="6106"/>
                    </a:cubicBezTo>
                    <a:cubicBezTo>
                      <a:pt x="376637" y="-562"/>
                      <a:pt x="364579" y="-1867"/>
                      <a:pt x="354139" y="2676"/>
                    </a:cubicBezTo>
                    <a:lnTo>
                      <a:pt x="354139" y="2676"/>
                    </a:lnTo>
                    <a:lnTo>
                      <a:pt x="0" y="206988"/>
                    </a:lnTo>
                    <a:lnTo>
                      <a:pt x="64579" y="317859"/>
                    </a:lnTo>
                    <a:lnTo>
                      <a:pt x="414338" y="115929"/>
                    </a:lnTo>
                    <a:cubicBezTo>
                      <a:pt x="424720" y="112214"/>
                      <a:pt x="431292" y="101356"/>
                      <a:pt x="431292" y="8487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51427" tIns="25706" rIns="51427" bIns="25706" anchor="ctr" anchorCtr="0">
                <a:noAutofit/>
              </a:bodyPr>
              <a:lstStyle/>
              <a:p>
                <a:endParaRPr sz="1013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69" name="Google Shape;2707;p37">
                <a:extLst>
                  <a:ext uri="{FF2B5EF4-FFF2-40B4-BE49-F238E27FC236}">
                    <a16:creationId xmlns:a16="http://schemas.microsoft.com/office/drawing/2014/main" id="{F5415915-4427-4165-BAD2-2C80EF46E877}"/>
                  </a:ext>
                </a:extLst>
              </p:cNvPr>
              <p:cNvSpPr/>
              <p:nvPr/>
            </p:nvSpPr>
            <p:spPr>
              <a:xfrm>
                <a:off x="1124550" y="6057676"/>
                <a:ext cx="233907" cy="83917"/>
              </a:xfrm>
              <a:custGeom>
                <a:avLst/>
                <a:gdLst/>
                <a:ahLst/>
                <a:cxnLst/>
                <a:rect l="l" t="t" r="r" b="b"/>
                <a:pathLst>
                  <a:path w="614737" h="220544" extrusionOk="0">
                    <a:moveTo>
                      <a:pt x="0" y="58293"/>
                    </a:moveTo>
                    <a:cubicBezTo>
                      <a:pt x="0" y="58293"/>
                      <a:pt x="43339" y="228981"/>
                      <a:pt x="366522" y="220218"/>
                    </a:cubicBezTo>
                    <a:cubicBezTo>
                      <a:pt x="590836" y="220218"/>
                      <a:pt x="619506" y="27432"/>
                      <a:pt x="614172" y="0"/>
                    </a:cubicBezTo>
                    <a:cubicBezTo>
                      <a:pt x="567595" y="64189"/>
                      <a:pt x="495062" y="104556"/>
                      <a:pt x="415957" y="110300"/>
                    </a:cubicBezTo>
                    <a:cubicBezTo>
                      <a:pt x="279463" y="122206"/>
                      <a:pt x="178689" y="120682"/>
                      <a:pt x="124778" y="94583"/>
                    </a:cubicBezTo>
                    <a:cubicBezTo>
                      <a:pt x="70866" y="68485"/>
                      <a:pt x="95" y="0"/>
                      <a:pt x="95" y="0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51427" tIns="25706" rIns="51427" bIns="25706" anchor="ctr" anchorCtr="0">
                <a:noAutofit/>
              </a:bodyPr>
              <a:lstStyle/>
              <a:p>
                <a:endParaRPr sz="1013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70" name="Google Shape;2703;p37">
                <a:extLst>
                  <a:ext uri="{FF2B5EF4-FFF2-40B4-BE49-F238E27FC236}">
                    <a16:creationId xmlns:a16="http://schemas.microsoft.com/office/drawing/2014/main" id="{165029F9-6A1C-4F1C-B338-A6ED6571AD63}"/>
                  </a:ext>
                </a:extLst>
              </p:cNvPr>
              <p:cNvSpPr/>
              <p:nvPr/>
            </p:nvSpPr>
            <p:spPr>
              <a:xfrm>
                <a:off x="1129717" y="5964061"/>
                <a:ext cx="223571" cy="86283"/>
              </a:xfrm>
              <a:custGeom>
                <a:avLst/>
                <a:gdLst/>
                <a:ahLst/>
                <a:cxnLst/>
                <a:rect l="l" t="t" r="r" b="b"/>
                <a:pathLst>
                  <a:path w="587572" h="226763" extrusionOk="0">
                    <a:moveTo>
                      <a:pt x="565309" y="219837"/>
                    </a:moveTo>
                    <a:lnTo>
                      <a:pt x="565309" y="219837"/>
                    </a:lnTo>
                    <a:cubicBezTo>
                      <a:pt x="548849" y="192586"/>
                      <a:pt x="525313" y="170297"/>
                      <a:pt x="497205" y="155353"/>
                    </a:cubicBezTo>
                    <a:cubicBezTo>
                      <a:pt x="388525" y="92678"/>
                      <a:pt x="211455" y="92678"/>
                      <a:pt x="103061" y="155353"/>
                    </a:cubicBezTo>
                    <a:cubicBezTo>
                      <a:pt x="74924" y="170326"/>
                      <a:pt x="51330" y="192605"/>
                      <a:pt x="34766" y="219837"/>
                    </a:cubicBezTo>
                    <a:lnTo>
                      <a:pt x="5334" y="172974"/>
                    </a:lnTo>
                    <a:lnTo>
                      <a:pt x="0" y="164497"/>
                    </a:lnTo>
                    <a:lnTo>
                      <a:pt x="38100" y="73533"/>
                    </a:lnTo>
                    <a:lnTo>
                      <a:pt x="170402" y="0"/>
                    </a:lnTo>
                    <a:lnTo>
                      <a:pt x="416719" y="4286"/>
                    </a:lnTo>
                    <a:lnTo>
                      <a:pt x="584073" y="103537"/>
                    </a:lnTo>
                    <a:cubicBezTo>
                      <a:pt x="584073" y="103537"/>
                      <a:pt x="587121" y="134969"/>
                      <a:pt x="587502" y="166021"/>
                    </a:cubicBezTo>
                    <a:cubicBezTo>
                      <a:pt x="588169" y="204883"/>
                      <a:pt x="584359" y="242697"/>
                      <a:pt x="565309" y="219837"/>
                    </a:cubicBezTo>
                    <a:close/>
                  </a:path>
                </a:pathLst>
              </a:custGeom>
              <a:solidFill>
                <a:srgbClr val="A1A5B5"/>
              </a:solidFill>
              <a:ln>
                <a:noFill/>
              </a:ln>
            </p:spPr>
            <p:txBody>
              <a:bodyPr spcFirstLastPara="1" wrap="square" lIns="51427" tIns="25706" rIns="51427" bIns="25706" anchor="ctr" anchorCtr="0">
                <a:noAutofit/>
              </a:bodyPr>
              <a:lstStyle/>
              <a:p>
                <a:endParaRPr sz="1013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372" name="Google Shape;2713;p37">
              <a:extLst>
                <a:ext uri="{FF2B5EF4-FFF2-40B4-BE49-F238E27FC236}">
                  <a16:creationId xmlns:a16="http://schemas.microsoft.com/office/drawing/2014/main" id="{E0A2D16A-D338-47B4-B2A5-820DFE9C5BC6}"/>
                </a:ext>
              </a:extLst>
            </p:cNvPr>
            <p:cNvSpPr/>
            <p:nvPr/>
          </p:nvSpPr>
          <p:spPr>
            <a:xfrm rot="19798236">
              <a:off x="2781265" y="5501482"/>
              <a:ext cx="59377" cy="73783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rgbClr val="006699"/>
            </a:solidFill>
            <a:ln>
              <a:noFill/>
            </a:ln>
          </p:spPr>
          <p:txBody>
            <a:bodyPr spcFirstLastPara="1" wrap="square" lIns="51427" tIns="25706" rIns="51427" bIns="25706" anchor="ctr" anchorCtr="0">
              <a:noAutofit/>
            </a:bodyPr>
            <a:lstStyle/>
            <a:p>
              <a:endParaRPr sz="1013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6" name="object 8">
            <a:extLst>
              <a:ext uri="{FF2B5EF4-FFF2-40B4-BE49-F238E27FC236}">
                <a16:creationId xmlns:a16="http://schemas.microsoft.com/office/drawing/2014/main" id="{146BD48B-AEAA-46F2-8658-992020ED07E3}"/>
              </a:ext>
            </a:extLst>
          </p:cNvPr>
          <p:cNvSpPr txBox="1"/>
          <p:nvPr/>
        </p:nvSpPr>
        <p:spPr>
          <a:xfrm>
            <a:off x="320706" y="176251"/>
            <a:ext cx="6621291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  <a:defRPr/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ЗАМАТТАРДЫҢ ЖОЛДАНЫМДАРЫН ҚАРАУ</a:t>
            </a: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505BB43B-98E2-4F78-9DBE-E33D3BC24127}"/>
              </a:ext>
            </a:extLst>
          </p:cNvPr>
          <p:cNvCxnSpPr>
            <a:cxnSpLocks/>
          </p:cNvCxnSpPr>
          <p:nvPr/>
        </p:nvCxnSpPr>
        <p:spPr>
          <a:xfrm flipH="1">
            <a:off x="320706" y="525780"/>
            <a:ext cx="6247860" cy="57150"/>
          </a:xfrm>
          <a:prstGeom prst="line">
            <a:avLst/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6" name="Рисунок 5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822435" y="1534692"/>
            <a:ext cx="1123796" cy="672479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822435" y="2235402"/>
            <a:ext cx="1123796" cy="780356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822435" y="3015758"/>
            <a:ext cx="1123796" cy="804551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249152" y="4386056"/>
            <a:ext cx="359695" cy="371888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859720" y="3827181"/>
            <a:ext cx="1152244" cy="789647"/>
          </a:xfrm>
          <a:prstGeom prst="rect">
            <a:avLst/>
          </a:prstGeom>
        </p:spPr>
      </p:pic>
      <p:sp>
        <p:nvSpPr>
          <p:cNvPr id="21" name="Прямоугольник 20"/>
          <p:cNvSpPr/>
          <p:nvPr/>
        </p:nvSpPr>
        <p:spPr>
          <a:xfrm>
            <a:off x="5642774" y="2207171"/>
            <a:ext cx="1215226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сымша</a:t>
            </a:r>
            <a:r>
              <a:rPr lang="ru-RU" sz="10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жаттарды</a:t>
            </a:r>
            <a:r>
              <a:rPr lang="ru-RU" sz="10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ысықтаумен</a:t>
            </a:r>
            <a:r>
              <a:rPr lang="ru-RU" sz="10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ынумен</a:t>
            </a:r>
            <a:r>
              <a:rPr lang="ru-RU" sz="10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іспеу</a:t>
            </a:r>
            <a:endParaRPr lang="en-US" sz="10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6DF74A10-F8DB-4C54-BCCB-87D4FE31685F}"/>
              </a:ext>
            </a:extLst>
          </p:cNvPr>
          <p:cNvSpPr txBox="1"/>
          <p:nvPr/>
        </p:nvSpPr>
        <p:spPr>
          <a:xfrm rot="10800000" flipV="1">
            <a:off x="5741574" y="1749278"/>
            <a:ext cx="964770" cy="30777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r>
              <a:rPr lang="ru-RU" sz="10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ӘСҚ </a:t>
            </a:r>
            <a:r>
              <a:rPr lang="ru-RU" sz="100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зыретінен</a:t>
            </a:r>
            <a:r>
              <a:rPr lang="ru-RU" sz="10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ыс</a:t>
            </a:r>
            <a:endParaRPr lang="en-US" sz="10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172FE7DA-071A-4A9E-B333-21F8114A6425}"/>
              </a:ext>
            </a:extLst>
          </p:cNvPr>
          <p:cNvSpPr txBox="1"/>
          <p:nvPr/>
        </p:nvSpPr>
        <p:spPr>
          <a:xfrm rot="10800000" flipV="1">
            <a:off x="5741576" y="3250220"/>
            <a:ext cx="1035821" cy="61555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r>
              <a:rPr lang="ru-RU" sz="100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лгіленген</a:t>
            </a:r>
            <a:r>
              <a:rPr lang="ru-RU" sz="10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імен</a:t>
            </a:r>
            <a:r>
              <a:rPr lang="ru-RU" sz="10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іспеушілік</a:t>
            </a:r>
            <a:endParaRPr lang="en-US" sz="10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172FE7DA-071A-4A9E-B333-21F8114A6425}"/>
              </a:ext>
            </a:extLst>
          </p:cNvPr>
          <p:cNvSpPr txBox="1"/>
          <p:nvPr/>
        </p:nvSpPr>
        <p:spPr>
          <a:xfrm rot="10800000" flipV="1">
            <a:off x="5758421" y="4058013"/>
            <a:ext cx="1018975" cy="76944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r>
              <a:rPr lang="ru-RU" sz="100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те</a:t>
            </a:r>
            <a:r>
              <a:rPr lang="ru-RU" sz="10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тық</a:t>
            </a:r>
            <a:r>
              <a:rPr lang="ru-RU" sz="10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дарымдарды</a:t>
            </a:r>
            <a:r>
              <a:rPr lang="ru-RU" sz="10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рудың</a:t>
            </a:r>
            <a:r>
              <a:rPr lang="ru-RU" sz="10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зақ</a:t>
            </a:r>
            <a:r>
              <a:rPr lang="ru-RU" sz="10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цесі</a:t>
            </a:r>
            <a:endParaRPr lang="en-US" sz="10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29845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9AA102FF-80CB-4CA6-A195-D6C63A2C0F84}"/>
              </a:ext>
            </a:extLst>
          </p:cNvPr>
          <p:cNvGrpSpPr/>
          <p:nvPr/>
        </p:nvGrpSpPr>
        <p:grpSpPr>
          <a:xfrm>
            <a:off x="2199621" y="1888085"/>
            <a:ext cx="2415699" cy="1474710"/>
            <a:chOff x="-2153378" y="2375346"/>
            <a:chExt cx="3015605" cy="2058691"/>
          </a:xfrm>
        </p:grpSpPr>
        <p:sp>
          <p:nvSpPr>
            <p:cNvPr id="354" name="Oval 98">
              <a:extLst>
                <a:ext uri="{FF2B5EF4-FFF2-40B4-BE49-F238E27FC236}">
                  <a16:creationId xmlns:a16="http://schemas.microsoft.com/office/drawing/2014/main" id="{AE95DEE4-FA66-4F38-9135-67D2FC21D040}"/>
                </a:ext>
              </a:extLst>
            </p:cNvPr>
            <p:cNvSpPr/>
            <p:nvPr/>
          </p:nvSpPr>
          <p:spPr>
            <a:xfrm>
              <a:off x="-1562882" y="2375346"/>
              <a:ext cx="1834615" cy="205869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 sz="240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60" name="TextBox 130">
              <a:extLst>
                <a:ext uri="{FF2B5EF4-FFF2-40B4-BE49-F238E27FC236}">
                  <a16:creationId xmlns:a16="http://schemas.microsoft.com/office/drawing/2014/main" id="{313D2CE5-3656-42A3-83E0-9FC6B57C0D7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-2153378" y="2883871"/>
              <a:ext cx="3015605" cy="39785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122216" tIns="61112" rIns="122216" bIns="61112">
              <a:spAutoFit/>
            </a:bodyPr>
            <a:lstStyle>
              <a:lvl1pPr defTabSz="915988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915988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915988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915988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915988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9159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9159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9159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9159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ru-RU" sz="1050" i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FB9C9B2A-1646-4BEF-BFE0-DB4F84C575BA}"/>
              </a:ext>
            </a:extLst>
          </p:cNvPr>
          <p:cNvSpPr/>
          <p:nvPr/>
        </p:nvSpPr>
        <p:spPr>
          <a:xfrm>
            <a:off x="0" y="79986"/>
            <a:ext cx="614466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6933">
              <a:spcBef>
                <a:spcPts val="133"/>
              </a:spcBef>
              <a:defRPr/>
            </a:pPr>
            <a:r>
              <a:rPr lang="ru-RU" sz="1600" b="1" cap="all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 </a:t>
            </a: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ЗАМАТТАРДЫҢ ӨТІНІШТЕРІН ҚАРАУ</a:t>
            </a:r>
          </a:p>
          <a:p>
            <a:pPr defTabSz="617662" hangingPunct="0">
              <a:defRPr/>
            </a:pPr>
            <a:endParaRPr lang="ru-RU" sz="1600" b="1" cap="all" spc="20" dirty="0">
              <a:solidFill>
                <a:srgbClr val="002060"/>
              </a:solidFill>
              <a:highlight>
                <a:srgbClr val="00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42" name="Прямая соединительная линия 41">
            <a:extLst>
              <a:ext uri="{FF2B5EF4-FFF2-40B4-BE49-F238E27FC236}">
                <a16:creationId xmlns:a16="http://schemas.microsoft.com/office/drawing/2014/main" id="{F837107B-43DA-4A0D-BF9F-0BEAD9B1B529}"/>
              </a:ext>
            </a:extLst>
          </p:cNvPr>
          <p:cNvCxnSpPr>
            <a:cxnSpLocks/>
          </p:cNvCxnSpPr>
          <p:nvPr/>
        </p:nvCxnSpPr>
        <p:spPr>
          <a:xfrm>
            <a:off x="194310" y="418540"/>
            <a:ext cx="5703570" cy="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B85E5588-F679-4454-9523-920AB137F0AF}"/>
              </a:ext>
            </a:extLst>
          </p:cNvPr>
          <p:cNvSpPr/>
          <p:nvPr/>
        </p:nvSpPr>
        <p:spPr>
          <a:xfrm>
            <a:off x="403577" y="730984"/>
            <a:ext cx="6279444" cy="7325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4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kk-KZ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ш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филиалд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0 356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ұраққ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уа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р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ұл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023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лыстырған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3,7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  <a:endParaRPr lang="en-US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ctr"/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indent="180975" algn="ctr"/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2023-2024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жылдары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Қордың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қараған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жолданымдар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ақпарат</a:t>
            </a:r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ctr"/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ctr"/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en-US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en-US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en-US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en-US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en-US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en-US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en-US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4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Е-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тініш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қы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үск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олданымдар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ле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- 90,6%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р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интернет-ресурсы - 8,5%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елілерд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сми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ккаунттар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– 0,5%, ЭҚЖ - 0,1%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«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электронд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кімет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»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рталын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«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ш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иалог» - 0,3%.</a:t>
            </a:r>
          </a:p>
          <a:p>
            <a:pPr indent="180975" algn="just"/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олданымдар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саны – 80,0%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ктілі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сану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үс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/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олданымдар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ылым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сым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жаттар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ысықтау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ұсыну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ліспе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елел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тініштерд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ле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– 84,8%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аушысын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йырыл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ғдай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тініштерд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аз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ле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– 0,2%. </a:t>
            </a:r>
          </a:p>
          <a:p>
            <a:pPr indent="180975" algn="just"/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тініш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руш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олданым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ртре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рбі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ү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сы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нысы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ай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сал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ӘСҚ </a:t>
            </a:r>
            <a:r>
              <a:rPr lang="en-US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www.gfss.kz 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интернет-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есурсынд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kk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інішт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н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зайт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: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 «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ңалықта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»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өлімінд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зект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қпаратты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атериалда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рналастырыла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;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 ай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айы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«Медиа/ Инфографика»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өлімінд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инфографика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ңартылып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тыра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;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 «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о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», «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йланыста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/МӘСҚ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филиалдар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» 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өлімдерінд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еректе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зектілендірілед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;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ст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етт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індетт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үйес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негізгі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өрсеткіште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ай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айы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ңартылып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тыра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;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 «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өрсеткіштеріні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артас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»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өлімшесінд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үй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тысушыларыны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саны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ударымда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сомасы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ндай-а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лушыла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саны мен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де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сомасы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уданда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өл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тырып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ңірле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өлінісінд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әліметте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ай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айы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ңартылып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тыра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;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 «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өрсеткіште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/</a:t>
            </a:r>
            <a:r>
              <a:rPr lang="kk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ызмет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өрсеткіште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»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өлімінд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ударымда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сімпұлда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сомасы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лушыларды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саны мен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де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сомасы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рбі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ай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оқса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/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ртыжылды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орытындылар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ғайындалға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дерді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рта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өлшер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әліметтер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рналастырылға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0975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54A37B82-E2FD-4632-9923-3C1540DC53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7616690"/>
              </p:ext>
            </p:extLst>
          </p:nvPr>
        </p:nvGraphicFramePr>
        <p:xfrm>
          <a:off x="541865" y="1439864"/>
          <a:ext cx="6141156" cy="2567692"/>
        </p:xfrm>
        <a:graphic>
          <a:graphicData uri="http://schemas.openxmlformats.org/drawingml/2006/table">
            <a:tbl>
              <a:tblPr firstRow="1" firstCol="1" bandRow="1">
                <a:tableStyleId>{5FD0F851-EC5A-4D38-B0AD-8093EC10F338}</a:tableStyleId>
              </a:tblPr>
              <a:tblGrid>
                <a:gridCol w="681605">
                  <a:extLst>
                    <a:ext uri="{9D8B030D-6E8A-4147-A177-3AD203B41FA5}">
                      <a16:colId xmlns:a16="http://schemas.microsoft.com/office/drawing/2014/main" val="1872693152"/>
                    </a:ext>
                  </a:extLst>
                </a:gridCol>
                <a:gridCol w="713614">
                  <a:extLst>
                    <a:ext uri="{9D8B030D-6E8A-4147-A177-3AD203B41FA5}">
                      <a16:colId xmlns:a16="http://schemas.microsoft.com/office/drawing/2014/main" val="1481973139"/>
                    </a:ext>
                  </a:extLst>
                </a:gridCol>
                <a:gridCol w="577516">
                  <a:extLst>
                    <a:ext uri="{9D8B030D-6E8A-4147-A177-3AD203B41FA5}">
                      <a16:colId xmlns:a16="http://schemas.microsoft.com/office/drawing/2014/main" val="1498574214"/>
                    </a:ext>
                  </a:extLst>
                </a:gridCol>
                <a:gridCol w="794084">
                  <a:extLst>
                    <a:ext uri="{9D8B030D-6E8A-4147-A177-3AD203B41FA5}">
                      <a16:colId xmlns:a16="http://schemas.microsoft.com/office/drawing/2014/main" val="525961342"/>
                    </a:ext>
                  </a:extLst>
                </a:gridCol>
                <a:gridCol w="670819">
                  <a:extLst>
                    <a:ext uri="{9D8B030D-6E8A-4147-A177-3AD203B41FA5}">
                      <a16:colId xmlns:a16="http://schemas.microsoft.com/office/drawing/2014/main" val="3589905488"/>
                    </a:ext>
                  </a:extLst>
                </a:gridCol>
                <a:gridCol w="642255">
                  <a:extLst>
                    <a:ext uri="{9D8B030D-6E8A-4147-A177-3AD203B41FA5}">
                      <a16:colId xmlns:a16="http://schemas.microsoft.com/office/drawing/2014/main" val="965129854"/>
                    </a:ext>
                  </a:extLst>
                </a:gridCol>
                <a:gridCol w="653327">
                  <a:extLst>
                    <a:ext uri="{9D8B030D-6E8A-4147-A177-3AD203B41FA5}">
                      <a16:colId xmlns:a16="http://schemas.microsoft.com/office/drawing/2014/main" val="4224798846"/>
                    </a:ext>
                  </a:extLst>
                </a:gridCol>
                <a:gridCol w="686549">
                  <a:extLst>
                    <a:ext uri="{9D8B030D-6E8A-4147-A177-3AD203B41FA5}">
                      <a16:colId xmlns:a16="http://schemas.microsoft.com/office/drawing/2014/main" val="3922487102"/>
                    </a:ext>
                  </a:extLst>
                </a:gridCol>
                <a:gridCol w="721387">
                  <a:extLst>
                    <a:ext uri="{9D8B030D-6E8A-4147-A177-3AD203B41FA5}">
                      <a16:colId xmlns:a16="http://schemas.microsoft.com/office/drawing/2014/main" val="2377969339"/>
                    </a:ext>
                  </a:extLst>
                </a:gridCol>
              </a:tblGrid>
              <a:tr h="447573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езең</a:t>
                      </a:r>
                      <a:endParaRPr lang="ru-KZ" sz="85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8B8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рлық</a:t>
                      </a:r>
                      <a:r>
                        <a:rPr lang="ru-RU" sz="85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5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тініштер</a:t>
                      </a:r>
                      <a:endParaRPr lang="ru-KZ" sz="85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8B8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ОА</a:t>
                      </a:r>
                      <a:endParaRPr lang="ru-KZ" sz="85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8B8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илиалдар</a:t>
                      </a:r>
                      <a:endParaRPr lang="ru-KZ" sz="85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8B8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ның</a:t>
                      </a:r>
                      <a:r>
                        <a:rPr lang="ru-RU" sz="9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90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ішінде</a:t>
                      </a:r>
                      <a:r>
                        <a:rPr lang="ru-RU" sz="9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90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тініштер</a:t>
                      </a:r>
                      <a:r>
                        <a:rPr lang="ru-RU" sz="9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90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өзі</a:t>
                      </a:r>
                      <a:r>
                        <a:rPr lang="ru-RU" sz="9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90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ойынша</a:t>
                      </a:r>
                      <a:r>
                        <a:rPr lang="ru-RU" sz="9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</a:t>
                      </a:r>
                      <a:endParaRPr lang="ru-KZ" sz="105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KZ" sz="105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8B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849607"/>
                  </a:ext>
                </a:extLst>
              </a:tr>
              <a:tr h="621284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-</a:t>
                      </a:r>
                      <a:r>
                        <a:rPr lang="ru-RU" sz="85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тініш</a:t>
                      </a:r>
                      <a:endParaRPr lang="ru-KZ" sz="85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8B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ҚЖ</a:t>
                      </a:r>
                      <a:endParaRPr lang="ru-KZ" sz="85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8B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тернет-ресурс</a:t>
                      </a:r>
                      <a:endParaRPr lang="ru-KZ" sz="85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8B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шық</a:t>
                      </a:r>
                      <a:r>
                        <a:rPr lang="ru-RU" sz="85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диалог</a:t>
                      </a:r>
                      <a:endParaRPr lang="ru-KZ" sz="85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8B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Әлеуметтік</a:t>
                      </a:r>
                      <a:r>
                        <a:rPr lang="ru-RU" sz="85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5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елі</a:t>
                      </a:r>
                      <a:endParaRPr lang="ru-KZ" sz="85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8B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168785"/>
                  </a:ext>
                </a:extLst>
              </a:tr>
              <a:tr h="51773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3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507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733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774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673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573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9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2875373"/>
                  </a:ext>
                </a:extLst>
              </a:tr>
              <a:tr h="51773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4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 356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 959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6 397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 465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756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1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5972175"/>
                  </a:ext>
                </a:extLst>
              </a:tr>
              <a:tr h="46336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k-KZ" sz="850" i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су</a:t>
                      </a:r>
                      <a:endParaRPr lang="ru-KZ" sz="850" i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k-KZ" sz="850" i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7 рет</a:t>
                      </a:r>
                      <a:endParaRPr lang="ru-KZ" sz="850" i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k-KZ" sz="850" i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1 рет</a:t>
                      </a:r>
                      <a:endParaRPr lang="ru-KZ" sz="850" i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k-KZ" sz="850" i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,2 рет</a:t>
                      </a:r>
                      <a:endParaRPr lang="ru-KZ" sz="850" i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k-KZ" sz="850" i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рет</a:t>
                      </a:r>
                      <a:endParaRPr lang="ru-KZ" sz="850" i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KZ" sz="850" i="1" dirty="0">
                        <a:effectLst/>
                        <a:highlight>
                          <a:srgbClr val="FFFF00"/>
                        </a:highlight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k-KZ" sz="850" i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2 рет</a:t>
                      </a:r>
                      <a:endParaRPr lang="ru-KZ" sz="850" i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KZ" sz="850" i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KZ" sz="850" i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2090056"/>
                  </a:ext>
                </a:extLst>
              </a:tr>
            </a:tbl>
          </a:graphicData>
        </a:graphic>
      </p:graphicFrame>
      <p:sp>
        <p:nvSpPr>
          <p:cNvPr id="11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39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5384568" y="8700948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32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82887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96959" y="3536414"/>
            <a:ext cx="6413390" cy="1323439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indent="180975" algn="just"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</a:t>
            </a:r>
            <a:r>
              <a:rPr lang="kk-KZ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жылы МӘС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</a:t>
            </a:r>
            <a:r>
              <a:rPr lang="en-US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0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заматт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лап-ары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р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шінде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0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лап-ары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ешімд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айдасы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ығарыл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лап-ары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ӘТ </a:t>
            </a:r>
            <a:r>
              <a:rPr lang="ru-RU" sz="10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тық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ынған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маның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олық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телуіне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йланысты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лаптар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нағаттандыруд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бас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ртыл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</a:t>
            </a:r>
            <a:r>
              <a:rPr lang="en-US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6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лап-ары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диатив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лісімд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сал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en-US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7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лап-ары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ітімгершіл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лісім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сал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en-US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2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лап-ары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т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малар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теу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йланыс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ргіз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оқтатыл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1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лап-арыз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т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малар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теу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йланыс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сот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аусы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лдыр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en-US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8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лап-ары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т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малар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о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теу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йланыс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йтарыл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en-US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5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лап-ары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ау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л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лап-ары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нім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руш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артт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індеттемелер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ындауы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йланыс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ндірі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оқтатыл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7" name="object 8">
            <a:extLst>
              <a:ext uri="{FF2B5EF4-FFF2-40B4-BE49-F238E27FC236}">
                <a16:creationId xmlns:a16="http://schemas.microsoft.com/office/drawing/2014/main" id="{A76B15F1-9FB0-489D-9540-DF5FE4E1E3D4}"/>
              </a:ext>
            </a:extLst>
          </p:cNvPr>
          <p:cNvSpPr txBox="1"/>
          <p:nvPr/>
        </p:nvSpPr>
        <p:spPr>
          <a:xfrm>
            <a:off x="196959" y="140142"/>
            <a:ext cx="5863589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  <a:defRPr/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ЛАП-АРЫЗ ЖҰМЫСЫ</a:t>
            </a: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51CF0ED1-A5EC-4691-8202-0E07F8E1B9C2}"/>
              </a:ext>
            </a:extLst>
          </p:cNvPr>
          <p:cNvCxnSpPr>
            <a:cxnSpLocks/>
          </p:cNvCxnSpPr>
          <p:nvPr/>
        </p:nvCxnSpPr>
        <p:spPr>
          <a:xfrm flipV="1">
            <a:off x="85786" y="455235"/>
            <a:ext cx="5777804" cy="24825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E6DEBD41-C66D-4D52-86F3-349F5282B18E}"/>
              </a:ext>
            </a:extLst>
          </p:cNvPr>
          <p:cNvSpPr/>
          <p:nvPr/>
        </p:nvSpPr>
        <p:spPr>
          <a:xfrm>
            <a:off x="396605" y="7252086"/>
            <a:ext cx="611849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лап-ары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ыс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әтижес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-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йтарыл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: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 сот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ешімд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(2016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д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024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ей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 – 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0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8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лн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ң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;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рік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үр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– 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70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7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лн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ң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</a:p>
          <a:p>
            <a:pPr indent="180975" algn="just"/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ны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лмыст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сот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кім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аяқт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рекетт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факті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тел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: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Тжб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з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– 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11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тыс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ң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Тб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з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– 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396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тыс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ң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6D3DA10C-FE3E-41F6-815C-108D78BD816D}"/>
              </a:ext>
            </a:extLst>
          </p:cNvPr>
          <p:cNvGrpSpPr/>
          <p:nvPr/>
        </p:nvGrpSpPr>
        <p:grpSpPr>
          <a:xfrm>
            <a:off x="646489" y="917855"/>
            <a:ext cx="5419080" cy="2823966"/>
            <a:chOff x="675170" y="917855"/>
            <a:chExt cx="4829174" cy="2618560"/>
          </a:xfrm>
        </p:grpSpPr>
        <p:graphicFrame>
          <p:nvGraphicFramePr>
            <p:cNvPr id="10" name="Диаграмма 9">
              <a:extLst>
                <a:ext uri="{FF2B5EF4-FFF2-40B4-BE49-F238E27FC236}">
                  <a16:creationId xmlns:a16="http://schemas.microsoft.com/office/drawing/2014/main" id="{A709FCFB-5077-4C26-B44D-FB430ACB61AB}"/>
                </a:ext>
              </a:extLst>
            </p:cNvPr>
            <p:cNvGraphicFramePr/>
            <p:nvPr>
              <p:extLst/>
            </p:nvPr>
          </p:nvGraphicFramePr>
          <p:xfrm>
            <a:off x="675170" y="917855"/>
            <a:ext cx="4829174" cy="261856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11" name="Прямоугольник 10">
              <a:extLst>
                <a:ext uri="{FF2B5EF4-FFF2-40B4-BE49-F238E27FC236}">
                  <a16:creationId xmlns:a16="http://schemas.microsoft.com/office/drawing/2014/main" id="{F302D7FE-22F1-4FB7-BBEA-FB41D7D81E5F}"/>
                </a:ext>
              </a:extLst>
            </p:cNvPr>
            <p:cNvSpPr/>
            <p:nvPr/>
          </p:nvSpPr>
          <p:spPr>
            <a:xfrm>
              <a:off x="1885893" y="1652842"/>
              <a:ext cx="1118520" cy="65639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600" b="1" dirty="0"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401</a:t>
              </a:r>
              <a:r>
                <a:rPr lang="ru-RU" sz="1600" dirty="0"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 </a:t>
              </a:r>
            </a:p>
            <a:p>
              <a:pPr algn="ctr"/>
              <a:r>
                <a:rPr lang="ru-RU" sz="1200" dirty="0" err="1"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Азаматтық</a:t>
              </a:r>
              <a:r>
                <a:rPr lang="ru-RU" sz="1200" dirty="0"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 </a:t>
              </a:r>
            </a:p>
            <a:p>
              <a:pPr algn="ctr"/>
              <a:r>
                <a:rPr lang="ru-RU" sz="1200" dirty="0" err="1"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талап-арыздар</a:t>
              </a:r>
              <a:endParaRPr lang="ru-KZ" sz="1200" dirty="0"/>
            </a:p>
          </p:txBody>
        </p:sp>
      </p:grpSp>
      <p:graphicFrame>
        <p:nvGraphicFramePr>
          <p:cNvPr id="17" name="Таблица 16">
            <a:extLst>
              <a:ext uri="{FF2B5EF4-FFF2-40B4-BE49-F238E27FC236}">
                <a16:creationId xmlns:a16="http://schemas.microsoft.com/office/drawing/2014/main" id="{D975F243-AD24-4E5E-B6E7-B092BB5304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4050465"/>
              </p:ext>
            </p:extLst>
          </p:nvPr>
        </p:nvGraphicFramePr>
        <p:xfrm>
          <a:off x="396606" y="5088935"/>
          <a:ext cx="6073197" cy="207995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18135">
                  <a:extLst>
                    <a:ext uri="{9D8B030D-6E8A-4147-A177-3AD203B41FA5}">
                      <a16:colId xmlns:a16="http://schemas.microsoft.com/office/drawing/2014/main" val="654888733"/>
                    </a:ext>
                  </a:extLst>
                </a:gridCol>
                <a:gridCol w="1375366">
                  <a:extLst>
                    <a:ext uri="{9D8B030D-6E8A-4147-A177-3AD203B41FA5}">
                      <a16:colId xmlns:a16="http://schemas.microsoft.com/office/drawing/2014/main" val="3901713985"/>
                    </a:ext>
                  </a:extLst>
                </a:gridCol>
                <a:gridCol w="834231">
                  <a:extLst>
                    <a:ext uri="{9D8B030D-6E8A-4147-A177-3AD203B41FA5}">
                      <a16:colId xmlns:a16="http://schemas.microsoft.com/office/drawing/2014/main" val="2995947631"/>
                    </a:ext>
                  </a:extLst>
                </a:gridCol>
                <a:gridCol w="1163225">
                  <a:extLst>
                    <a:ext uri="{9D8B030D-6E8A-4147-A177-3AD203B41FA5}">
                      <a16:colId xmlns:a16="http://schemas.microsoft.com/office/drawing/2014/main" val="1202229146"/>
                    </a:ext>
                  </a:extLst>
                </a:gridCol>
                <a:gridCol w="1191120">
                  <a:extLst>
                    <a:ext uri="{9D8B030D-6E8A-4147-A177-3AD203B41FA5}">
                      <a16:colId xmlns:a16="http://schemas.microsoft.com/office/drawing/2014/main" val="383172423"/>
                    </a:ext>
                  </a:extLst>
                </a:gridCol>
                <a:gridCol w="1191120">
                  <a:extLst>
                    <a:ext uri="{9D8B030D-6E8A-4147-A177-3AD203B41FA5}">
                      <a16:colId xmlns:a16="http://schemas.microsoft.com/office/drawing/2014/main" val="279355255"/>
                    </a:ext>
                  </a:extLst>
                </a:gridCol>
              </a:tblGrid>
              <a:tr h="146203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</a:t>
                      </a:r>
                      <a:endParaRPr lang="ru-KZ" sz="8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/п</a:t>
                      </a:r>
                      <a:endParaRPr lang="ru-KZ" sz="8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8B8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Әлеуметтік</a:t>
                      </a:r>
                      <a:r>
                        <a:rPr lang="ru-RU" sz="8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өлем</a:t>
                      </a:r>
                      <a:r>
                        <a:rPr lang="ru-RU" sz="8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үрлері</a:t>
                      </a:r>
                      <a:endParaRPr lang="ru-KZ" sz="8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8B8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лап-арыз</a:t>
                      </a:r>
                      <a:r>
                        <a:rPr lang="ru-RU" sz="8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аны </a:t>
                      </a:r>
                      <a:endParaRPr lang="ru-KZ" sz="8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8B8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лап</a:t>
                      </a:r>
                      <a:r>
                        <a:rPr lang="ru-RU" sz="8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омасы, </a:t>
                      </a:r>
                      <a:r>
                        <a:rPr lang="ru-RU" sz="80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ңге</a:t>
                      </a:r>
                      <a:r>
                        <a:rPr lang="ru-RU" sz="8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</a:t>
                      </a:r>
                      <a:endParaRPr lang="ru-KZ" sz="8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8B8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8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Талаптар бойынша нақты өтеу</a:t>
                      </a:r>
                      <a:endParaRPr lang="ru-KZ" sz="8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8B8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3066393"/>
                  </a:ext>
                </a:extLst>
              </a:tr>
              <a:tr h="236063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темақы</a:t>
                      </a:r>
                      <a:r>
                        <a:rPr lang="ru-RU" sz="8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омасы, </a:t>
                      </a:r>
                      <a:r>
                        <a:rPr lang="ru-RU" sz="800" b="1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ңге</a:t>
                      </a:r>
                      <a:endParaRPr lang="ru-KZ" sz="8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8B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Өтеу</a:t>
                      </a:r>
                      <a:r>
                        <a:rPr lang="ru-RU" sz="8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b="1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үлесі</a:t>
                      </a:r>
                      <a:r>
                        <a:rPr lang="ru-RU" sz="8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, 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%</a:t>
                      </a:r>
                      <a:endParaRPr lang="ru-KZ" sz="8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8B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8964787"/>
                  </a:ext>
                </a:extLst>
              </a:tr>
              <a:tr h="23606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KZ" sz="8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Еңбекке қабілеттілігінен айырылуы бойынша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7 591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  <a:endParaRPr lang="ru-KZ" sz="800" b="1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KZ" sz="8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8546009"/>
                  </a:ext>
                </a:extLst>
              </a:tr>
              <a:tr h="18175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KZ" sz="8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сыраушысынан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йырылуы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ойынша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22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429 984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9 804</a:t>
                      </a:r>
                      <a:endParaRPr lang="ru-KZ" sz="800" b="1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57</a:t>
                      </a:r>
                      <a:r>
                        <a:rPr lang="ru-RU" sz="8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%</a:t>
                      </a:r>
                      <a:endParaRPr lang="ru-KZ" sz="8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6408151"/>
                  </a:ext>
                </a:extLst>
              </a:tr>
              <a:tr h="18175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KZ" sz="8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Жұмысынан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айырылуы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бойынша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329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 740 044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 538 903</a:t>
                      </a:r>
                      <a:endParaRPr lang="ru-KZ" sz="800" b="1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7</a:t>
                      </a:r>
                      <a:r>
                        <a:rPr lang="ru-RU" sz="8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%</a:t>
                      </a:r>
                      <a:endParaRPr lang="ru-KZ" sz="8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3335760"/>
                  </a:ext>
                </a:extLst>
              </a:tr>
              <a:tr h="23606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KZ" sz="8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Жүктілігі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босануы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бойынша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 134 375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KZ" sz="800" b="1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KZ" sz="8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3595583"/>
                  </a:ext>
                </a:extLst>
              </a:tr>
              <a:tr h="22786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ru-KZ" sz="8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ла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үтімі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ойынша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36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 111 485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 585 736</a:t>
                      </a:r>
                      <a:endParaRPr lang="ru-KZ" sz="800" b="1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</a:t>
                      </a:r>
                      <a:r>
                        <a:rPr lang="ru-RU" sz="8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%</a:t>
                      </a:r>
                      <a:endParaRPr lang="ru-KZ" sz="8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0324205"/>
                  </a:ext>
                </a:extLst>
              </a:tr>
              <a:tr h="18175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млекеттік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тып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лу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  <a:endParaRPr lang="ru-KZ" sz="8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  <a:endParaRPr lang="ru-KZ" sz="8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KZ" sz="8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6830625"/>
                  </a:ext>
                </a:extLst>
              </a:tr>
              <a:tr h="18175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KZ" sz="8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Барлығы</a:t>
                      </a:r>
                      <a:endParaRPr lang="ru-KZ" sz="8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401</a:t>
                      </a:r>
                      <a:endParaRPr lang="ru-KZ" sz="8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 543 479</a:t>
                      </a:r>
                      <a:endParaRPr lang="ru-KZ" sz="8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 b="1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 </a:t>
                      </a:r>
                      <a:r>
                        <a:rPr lang="ru-RU" sz="800" b="1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  <a:r>
                        <a:rPr lang="en-US" sz="800" b="1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</a:t>
                      </a:r>
                      <a:r>
                        <a:rPr lang="ru-RU" sz="800" b="1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US" sz="800" b="1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43</a:t>
                      </a:r>
                      <a:endParaRPr lang="ru-KZ" sz="800" b="1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2</a:t>
                      </a:r>
                      <a:r>
                        <a:rPr lang="ru-RU" sz="8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%</a:t>
                      </a:r>
                      <a:endParaRPr lang="ru-KZ" sz="8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7150991"/>
                  </a:ext>
                </a:extLst>
              </a:tr>
            </a:tbl>
          </a:graphicData>
        </a:graphic>
      </p:graphicFrame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2563CDA7-A5F0-4ECC-A686-FEDC58DCE56D}"/>
              </a:ext>
            </a:extLst>
          </p:cNvPr>
          <p:cNvSpPr/>
          <p:nvPr/>
        </p:nvSpPr>
        <p:spPr>
          <a:xfrm>
            <a:off x="196959" y="590184"/>
            <a:ext cx="631814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МӘЖҚ-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лап-арыз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ұмыс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ҚР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заматтық-процес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одексін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ҚР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кімшіл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рәсімдік-процес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одексін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ҚР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з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де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заңнамасын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елгіленг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әртіпп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сырыла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40" y="8807383"/>
            <a:ext cx="535781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8DEA83D0-4010-472A-94D5-2D1EF31A45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67491" y="8705544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33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477425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CC465EE2-240B-47BE-A432-AEB4DF3C9D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9527" y="464597"/>
            <a:ext cx="3266631" cy="8366851"/>
          </a:xfrm>
        </p:spPr>
        <p:txBody>
          <a:bodyPr>
            <a:noAutofit/>
          </a:bodyPr>
          <a:lstStyle/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рпоратив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қа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йе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спубликас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ңнамасы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ылтай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шк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жаттары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гізделе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аму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гіз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факторлар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і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бола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тыры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тратегия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ақсаттар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індеттер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л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еткіз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тіле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рпоратив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қару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ділд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далд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уапкершіл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шықт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әсібил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зыреттіл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гіз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ыл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лғыз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акционер</a:t>
            </a: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-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лғы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ылтайшыс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спубликас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кіме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тын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млекет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лы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был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«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р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»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кционерл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ғам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»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спубликас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кімет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004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7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қпанда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№ 237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улысы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әйке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кциялар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акет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елен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айдалан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қықтар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спубликас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ңбе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алық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рғ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инистрліг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ріл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Р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ңбе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алық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рғ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инистрлі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-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лғы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кцион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т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-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гіз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елел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: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айызд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өлшерлеме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амас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лгіле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тқаруш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ган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шыс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йл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р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рғысы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згеріст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олықтыру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нгіз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рпоратив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қа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декс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зектіленді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д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жы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птілік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кіт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өн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ешімд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былд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қы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лп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қару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лғы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кционерд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зырет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тқызыл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елелер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спаған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М</a:t>
            </a:r>
            <a:r>
              <a:rPr lang="kk-KZ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лп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шылық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4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нің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19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тырысы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4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үндіз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15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ырттай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форматт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ткізіл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н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69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еле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ал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17609" y="8831447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" name="object 8">
            <a:extLst>
              <a:ext uri="{FF2B5EF4-FFF2-40B4-BE49-F238E27FC236}">
                <a16:creationId xmlns:a16="http://schemas.microsoft.com/office/drawing/2014/main" id="{498D000A-5A65-4C00-BB6F-17448A269881}"/>
              </a:ext>
            </a:extLst>
          </p:cNvPr>
          <p:cNvSpPr txBox="1"/>
          <p:nvPr/>
        </p:nvSpPr>
        <p:spPr>
          <a:xfrm>
            <a:off x="85785" y="72168"/>
            <a:ext cx="3463564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РПОРАТИВТІК БАСҚАРУ</a:t>
            </a:r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F09A4CAB-7ABF-42D3-87A6-80C52DE880E9}"/>
              </a:ext>
            </a:extLst>
          </p:cNvPr>
          <p:cNvCxnSpPr>
            <a:cxnSpLocks/>
          </p:cNvCxnSpPr>
          <p:nvPr/>
        </p:nvCxnSpPr>
        <p:spPr>
          <a:xfrm flipV="1">
            <a:off x="9585" y="387553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graphicFrame>
        <p:nvGraphicFramePr>
          <p:cNvPr id="9" name="Схема 8">
            <a:extLst>
              <a:ext uri="{FF2B5EF4-FFF2-40B4-BE49-F238E27FC236}">
                <a16:creationId xmlns:a16="http://schemas.microsoft.com/office/drawing/2014/main" id="{EAF37D85-8A48-44CF-806B-C4EC7A8D5C5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85061187"/>
              </p:ext>
            </p:extLst>
          </p:nvPr>
        </p:nvGraphicFramePr>
        <p:xfrm>
          <a:off x="209527" y="2059914"/>
          <a:ext cx="3265777" cy="22168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D4D874D9-30F9-4C79-AE3B-151977AE3F5E}"/>
              </a:ext>
            </a:extLst>
          </p:cNvPr>
          <p:cNvSpPr/>
          <p:nvPr/>
        </p:nvSpPr>
        <p:spPr>
          <a:xfrm>
            <a:off x="3638550" y="464597"/>
            <a:ext cx="3057525" cy="80175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024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а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гіз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елел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:</a:t>
            </a:r>
          </a:p>
          <a:p>
            <a:pPr marL="171450" indent="-171450" algn="just"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ғам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022-2026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дар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нал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аму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оспар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ртыжылд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йын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қтыл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даму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оспар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; </a:t>
            </a:r>
          </a:p>
          <a:p>
            <a:pPr marL="171450" indent="-171450" algn="just"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қарм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үшелер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нд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па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ам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лар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кіл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рзімд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лақылар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йқынд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;</a:t>
            </a:r>
          </a:p>
          <a:p>
            <a:pPr marL="171450" indent="-171450" algn="just"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нында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ад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ыйақы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тратегия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аму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елел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өнінде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тетт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ам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йқынд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;</a:t>
            </a:r>
          </a:p>
          <a:p>
            <a:pPr marL="171450" indent="-171450" algn="just">
              <a:buFontTx/>
              <a:buChar char="-"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тат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н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нықт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мбудсмен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ғайынд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;</a:t>
            </a:r>
          </a:p>
          <a:p>
            <a:pPr marL="171450" indent="-171450" algn="just">
              <a:spcAft>
                <a:spcPts val="600"/>
              </a:spcAft>
              <a:buFontTx/>
              <a:buChar char="-"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шк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орматив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жаттары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згеріст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олықтыру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нгіз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77800" algn="just">
              <a:spcAft>
                <a:spcPts val="600"/>
              </a:spcAft>
            </a:pP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тқарушы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орган</a:t>
            </a:r>
          </a:p>
          <a:p>
            <a:pPr indent="177800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5.06.2024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ей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ғымда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к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шылық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спубликас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ңнама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ктілері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рғы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ғам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қ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гандар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лауазым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дамдар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зырет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тқызылма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ғам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лг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елел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ешімд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былда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Бас директор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ек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дара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5.06.2024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д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та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ешімі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(№6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аттам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қармас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нд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ам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кіл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рзім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ам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йқындалды</a:t>
            </a:r>
            <a:endParaRPr lang="en-US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77800" algn="just"/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лғы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акционер ме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р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ешімд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лард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ғам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ыс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ын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уалд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лгіленг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рзім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ындалды</a:t>
            </a:r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171450" indent="-171450" algn="just">
              <a:buFontTx/>
              <a:buChar char="-"/>
            </a:pPr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600"/>
              </a:spcAft>
            </a:pP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нындағы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теттер</a:t>
            </a: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функциялар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иім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ындау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рдемдес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ақсатын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ғам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к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комитет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 algn="just">
              <a:buAutoNum type="arabicParenR"/>
            </a:pP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иторлық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комитет </a:t>
            </a:r>
          </a:p>
          <a:p>
            <a:pPr marL="228600" indent="-228600" algn="just">
              <a:buAutoNum type="arabicParenR"/>
            </a:pP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адрлар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ыйақылар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тратегиялық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аму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елелері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өніндегі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kk-KZ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митет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77800" algn="just"/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тетт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үшел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лы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былат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м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ш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үшед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ұр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жет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л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ғдай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ам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жет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әсіби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ілім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бар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рапшы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нгізілу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үмк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</a:p>
          <a:p>
            <a:pPr indent="177800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тет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рағалар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әуелсі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асын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йлан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</a:p>
          <a:p>
            <a:pPr indent="177800" algn="just"/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нында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тетт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024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8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тыры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ткіз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н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70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ел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ал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ұсынымд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ипатта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ешімд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ұсыныл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52050B43-2D38-4736-A2E8-796B0585B4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78921" y="8713582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34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643219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681C22A9-2E7B-41E5-859E-834C850F6D84}"/>
              </a:ext>
            </a:extLst>
          </p:cNvPr>
          <p:cNvSpPr/>
          <p:nvPr/>
        </p:nvSpPr>
        <p:spPr>
          <a:xfrm>
            <a:off x="0" y="946071"/>
            <a:ext cx="1875264" cy="78727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KZ"/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9E73FA07-4361-4E74-B66C-6278CCCB1973}"/>
              </a:ext>
            </a:extLst>
          </p:cNvPr>
          <p:cNvSpPr/>
          <p:nvPr/>
        </p:nvSpPr>
        <p:spPr>
          <a:xfrm>
            <a:off x="2387548" y="2814558"/>
            <a:ext cx="4313333" cy="9694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ванова</a:t>
            </a:r>
          </a:p>
          <a:p>
            <a:pPr lvl="0" algn="ctr"/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на Олеговна</a:t>
            </a:r>
          </a:p>
          <a:p>
            <a:pPr algn="ctr"/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Р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жы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инистрлігі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үлік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екешелендіру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тетінің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ншік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ониторингі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енімгерлік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қару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концессия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қармасының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шысы</a:t>
            </a:r>
            <a:endParaRPr lang="ru-RU" sz="11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936EB56D-AB85-434B-BAEA-FCD0142C947B}"/>
              </a:ext>
            </a:extLst>
          </p:cNvPr>
          <p:cNvSpPr/>
          <p:nvPr/>
        </p:nvSpPr>
        <p:spPr>
          <a:xfrm>
            <a:off x="2100693" y="4491428"/>
            <a:ext cx="4664565" cy="9694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kk-KZ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ыздық Ерназар </a:t>
            </a:r>
          </a:p>
          <a:p>
            <a:pPr lvl="0" algn="ctr"/>
            <a:r>
              <a:rPr lang="kk-KZ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айзул-Карымұлы</a:t>
            </a:r>
          </a:p>
          <a:p>
            <a:pPr algn="ctr"/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әуелсіз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иректор. </a:t>
            </a:r>
          </a:p>
          <a:p>
            <a:pPr algn="ctr"/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"МӘСҚ" АҚ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недегі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адрлар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ыйақылар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тратегиялық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аму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елелері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өніндегі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теттің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рағасы</a:t>
            </a:r>
            <a:endParaRPr lang="ru-RU" sz="1000" b="1" dirty="0">
              <a:solidFill>
                <a:srgbClr val="F2CB0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4C38E51C-B552-4C6E-A550-CF582333E1AB}"/>
              </a:ext>
            </a:extLst>
          </p:cNvPr>
          <p:cNvSpPr/>
          <p:nvPr/>
        </p:nvSpPr>
        <p:spPr>
          <a:xfrm>
            <a:off x="2240652" y="6168298"/>
            <a:ext cx="4579174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2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імбекова</a:t>
            </a:r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үлар</a:t>
            </a:r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мадилқызы</a:t>
            </a:r>
            <a:endParaRPr lang="ru-RU" sz="1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/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әуелсіз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иректор. </a:t>
            </a:r>
          </a:p>
          <a:p>
            <a:pPr lvl="0" algn="ctr"/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"МӘСҚ" АҚ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b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нындағы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иторлық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теттің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рағасы</a:t>
            </a:r>
            <a:endParaRPr lang="ru-RU" sz="1000" b="1" dirty="0">
              <a:solidFill>
                <a:srgbClr val="F2CB0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7C015252-FD43-4D1D-8FB5-3C7FAE5A5E6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281" y="2771968"/>
            <a:ext cx="1245587" cy="1152000"/>
          </a:xfrm>
          <a:prstGeom prst="rect">
            <a:avLst/>
          </a:prstGeom>
        </p:spPr>
      </p:pic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65E04413-98EC-40C1-9CB9-E9734FDB4AB9}"/>
              </a:ext>
            </a:extLst>
          </p:cNvPr>
          <p:cNvSpPr/>
          <p:nvPr/>
        </p:nvSpPr>
        <p:spPr>
          <a:xfrm>
            <a:off x="2434444" y="1190833"/>
            <a:ext cx="3835729" cy="13080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гай</a:t>
            </a:r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ктория </a:t>
            </a:r>
            <a:r>
              <a:rPr lang="ru-RU" sz="12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льгельмовна</a:t>
            </a:r>
            <a:endParaRPr lang="ru-RU" sz="1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/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нің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рағасы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–</a:t>
            </a:r>
          </a:p>
          <a:p>
            <a:pPr lvl="0" algn="ctr"/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спубликасы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ңбек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алықты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рғау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вице-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инистрі</a:t>
            </a:r>
            <a:endParaRPr lang="ru-RU" sz="11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lvl="0" algn="ctr"/>
            <a:r>
              <a:rPr lang="ru-RU" sz="10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нің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7.06.2025ж. </a:t>
            </a:r>
            <a:r>
              <a:rPr lang="ru-RU" sz="10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ткен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тырысында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йланды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№10 </a:t>
            </a:r>
            <a:r>
              <a:rPr lang="ru-RU" sz="10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аттамасы</a:t>
            </a:r>
            <a:endParaRPr lang="ru-RU" sz="1000" i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0" name="object 8">
            <a:extLst>
              <a:ext uri="{FF2B5EF4-FFF2-40B4-BE49-F238E27FC236}">
                <a16:creationId xmlns:a16="http://schemas.microsoft.com/office/drawing/2014/main" id="{3FDE7C06-F6FA-42BB-8BBB-C2DE5D4839FC}"/>
              </a:ext>
            </a:extLst>
          </p:cNvPr>
          <p:cNvSpPr txBox="1"/>
          <p:nvPr/>
        </p:nvSpPr>
        <p:spPr>
          <a:xfrm>
            <a:off x="111336" y="87763"/>
            <a:ext cx="3463564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РПОРАТИВТІК БАСҚАРУ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3A9FBA15-E965-4E13-A271-77FD130CE976}"/>
              </a:ext>
            </a:extLst>
          </p:cNvPr>
          <p:cNvSpPr/>
          <p:nvPr/>
        </p:nvSpPr>
        <p:spPr>
          <a:xfrm>
            <a:off x="1526789" y="522626"/>
            <a:ext cx="3372911" cy="3754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15000"/>
              </a:lnSpc>
              <a:spcAft>
                <a:spcPts val="1333"/>
              </a:spcAft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 ДИРЕКТОРЛАР КЕҢЕСІ*</a:t>
            </a:r>
            <a:endParaRPr lang="ru-KZ" sz="1600" b="1" spc="20" dirty="0">
              <a:solidFill>
                <a:srgbClr val="00206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4FD1ABF8-064C-4559-95C2-3570C8B74884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616" y="4433589"/>
            <a:ext cx="1286915" cy="1152000"/>
          </a:xfrm>
          <a:prstGeom prst="rect">
            <a:avLst/>
          </a:prstGeom>
        </p:spPr>
      </p:pic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EF6661E9-F931-4AE2-A947-486436FEF799}"/>
              </a:ext>
            </a:extLst>
          </p:cNvPr>
          <p:cNvCxnSpPr>
            <a:cxnSpLocks/>
          </p:cNvCxnSpPr>
          <p:nvPr/>
        </p:nvCxnSpPr>
        <p:spPr>
          <a:xfrm flipV="1">
            <a:off x="0" y="437755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5" name="Овал 4">
            <a:extLst>
              <a:ext uri="{FF2B5EF4-FFF2-40B4-BE49-F238E27FC236}">
                <a16:creationId xmlns:a16="http://schemas.microsoft.com/office/drawing/2014/main" id="{E0A869E3-2EAE-4DE0-BAEE-AC4D05FB5B15}"/>
              </a:ext>
            </a:extLst>
          </p:cNvPr>
          <p:cNvSpPr>
            <a:spLocks noChangeAspect="1"/>
          </p:cNvSpPr>
          <p:nvPr/>
        </p:nvSpPr>
        <p:spPr>
          <a:xfrm>
            <a:off x="328822" y="6004502"/>
            <a:ext cx="1276046" cy="122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KZ"/>
          </a:p>
        </p:txBody>
      </p:sp>
      <p:pic>
        <p:nvPicPr>
          <p:cNvPr id="15" name="Рисунок 14" descr="http://192.168.20.149:32080/media/images/Bezymyannyy_kwavvSP.max-120x120.png">
            <a:extLst>
              <a:ext uri="{FF2B5EF4-FFF2-40B4-BE49-F238E27FC236}">
                <a16:creationId xmlns:a16="http://schemas.microsoft.com/office/drawing/2014/main" id="{45589DFE-76F1-48D7-8FED-0EB7FCFA299D}"/>
              </a:ext>
            </a:extLst>
          </p:cNvPr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60" r="1437"/>
          <a:stretch/>
        </p:blipFill>
        <p:spPr bwMode="auto">
          <a:xfrm>
            <a:off x="551021" y="6154586"/>
            <a:ext cx="851382" cy="934092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17609" y="881881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9B45A38-F6DB-4437-8B20-EB40395F8E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61124" y="8700948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35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B05AA8E7-4447-4729-9962-BEBAC9DE21C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2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6356" r="29621" b="37382"/>
          <a:stretch/>
        </p:blipFill>
        <p:spPr>
          <a:xfrm>
            <a:off x="337265" y="7564244"/>
            <a:ext cx="1090492" cy="1152000"/>
          </a:xfrm>
          <a:prstGeom prst="flowChartConnector">
            <a:avLst/>
          </a:prstGeom>
        </p:spPr>
      </p:pic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2A086AC1-9685-4097-86C2-10FE7347C847}"/>
              </a:ext>
            </a:extLst>
          </p:cNvPr>
          <p:cNvSpPr/>
          <p:nvPr/>
        </p:nvSpPr>
        <p:spPr>
          <a:xfrm>
            <a:off x="3021414" y="7747829"/>
            <a:ext cx="3045600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урманов </a:t>
            </a:r>
            <a:r>
              <a:rPr lang="ru-RU" sz="12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мас</a:t>
            </a:r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1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/>
            <a:r>
              <a:rPr lang="ru-RU" sz="12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ухаметкаримович</a:t>
            </a:r>
            <a:endParaRPr lang="ru-RU" sz="1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«</a:t>
            </a:r>
            <a:r>
              <a:rPr lang="kk-KZ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» АҚ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қарма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рағасы</a:t>
            </a:r>
            <a:endParaRPr lang="ru-KZ" sz="11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lvl="0" algn="ctr"/>
            <a:endParaRPr lang="ru-RU" sz="1000" b="1" dirty="0">
              <a:solidFill>
                <a:srgbClr val="F2CB0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0" y="8820834"/>
            <a:ext cx="496381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* </a:t>
            </a:r>
            <a:r>
              <a:rPr lang="ru-RU" sz="1200" dirty="0" err="1">
                <a:latin typeface="Arial" panose="020B0604020202020204" pitchFamily="34" charset="0"/>
                <a:cs typeface="Arial" panose="020B0604020202020204" pitchFamily="34" charset="0"/>
              </a:rPr>
              <a:t>Жылдық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latin typeface="Arial" panose="020B0604020202020204" pitchFamily="34" charset="0"/>
                <a:cs typeface="Arial" panose="020B0604020202020204" pitchFamily="34" charset="0"/>
              </a:rPr>
              <a:t>есеп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latin typeface="Arial" panose="020B0604020202020204" pitchFamily="34" charset="0"/>
                <a:cs typeface="Arial" panose="020B0604020202020204" pitchFamily="34" charset="0"/>
              </a:rPr>
              <a:t>қалыптастыру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latin typeface="Arial" panose="020B0604020202020204" pitchFamily="34" charset="0"/>
                <a:cs typeface="Arial" panose="020B0604020202020204" pitchFamily="34" charset="0"/>
              </a:rPr>
              <a:t>күнгі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latin typeface="Arial" panose="020B0604020202020204" pitchFamily="34" charset="0"/>
                <a:cs typeface="Arial" panose="020B0604020202020204" pitchFamily="34" charset="0"/>
              </a:rPr>
              <a:t>жағдайға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3B442139-A917-206B-B3C3-38D47296D0B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3" t="9394" r="9078" b="39352"/>
          <a:stretch/>
        </p:blipFill>
        <p:spPr>
          <a:xfrm>
            <a:off x="292917" y="1165131"/>
            <a:ext cx="1367443" cy="1245151"/>
          </a:xfrm>
          <a:prstGeom prst="flowChartConnector">
            <a:avLst/>
          </a:prstGeom>
        </p:spPr>
      </p:pic>
    </p:spTree>
    <p:extLst>
      <p:ext uri="{BB962C8B-B14F-4D97-AF65-F5344CB8AC3E}">
        <p14:creationId xmlns:p14="http://schemas.microsoft.com/office/powerpoint/2010/main" val="2754517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238125" y="406428"/>
            <a:ext cx="3296375" cy="8351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>
              <a:lnSpc>
                <a:spcPts val="1100"/>
              </a:lnSpc>
            </a:pP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иторлық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комитет</a:t>
            </a:r>
          </a:p>
          <a:p>
            <a:pPr indent="180975" algn="just">
              <a:lnSpc>
                <a:spcPts val="1100"/>
              </a:lnSpc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итор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тетт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гіз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ақсаттар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:</a:t>
            </a:r>
          </a:p>
          <a:p>
            <a:pPr indent="173038" algn="just">
              <a:lnSpc>
                <a:spcPts val="1100"/>
              </a:lnSpc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жы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птілікт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олықты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ұрыстығ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дағал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;</a:t>
            </a:r>
          </a:p>
          <a:p>
            <a:pPr indent="173038" algn="just">
              <a:lnSpc>
                <a:spcPts val="1100"/>
              </a:lnSpc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ыбайла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емқорлыққ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с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комплаенс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еңбер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ылат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р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пектіл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әуекелдер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қа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шк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қыл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рпоратив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қа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йелер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декваттылы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иімділіг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әуелсі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бъектив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ғал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;</a:t>
            </a:r>
          </a:p>
          <a:p>
            <a:pPr indent="173038" algn="just">
              <a:lnSpc>
                <a:spcPts val="1100"/>
              </a:lnSpc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ыртқ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шк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итт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әуелсіздіг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қыл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;</a:t>
            </a:r>
          </a:p>
          <a:p>
            <a:pPr indent="173038" algn="just">
              <a:lnSpc>
                <a:spcPts val="1100"/>
              </a:lnSpc>
              <a:buFontTx/>
              <a:buChar char="-"/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спубликас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ңнамас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қталу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т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73038" algn="just">
              <a:lnSpc>
                <a:spcPts val="1100"/>
              </a:lnSpc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итор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тет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үше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әуелсі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иректор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Гү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мадилқыз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імбеков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қар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73038" algn="just">
              <a:lnSpc>
                <a:spcPts val="1100"/>
              </a:lnSpc>
              <a:spcAft>
                <a:spcPts val="600"/>
              </a:spcAft>
            </a:pP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4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ы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иторлық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комитет 12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тырыс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ткіз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ш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10-і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үндіз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-і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ырттай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,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нда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30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еле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алды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  <a:endParaRPr lang="ru-RU" sz="5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>
              <a:lnSpc>
                <a:spcPts val="1100"/>
              </a:lnSpc>
            </a:pP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адрлар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ыйақылар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тратегиялық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аму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елелері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өніндегі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комитет</a:t>
            </a:r>
          </a:p>
          <a:p>
            <a:pPr indent="180975" algn="just">
              <a:lnSpc>
                <a:spcPts val="1100"/>
              </a:lnSpc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тетт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гіз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ақса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иімділіг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ттыру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ұза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рзім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н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нық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амуы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ықпал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тет</a:t>
            </a:r>
            <a:r>
              <a:rPr lang="kk-KZ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ым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ғыттар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ш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адрлар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рікте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ласын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ш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керлер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ыйақ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беру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рет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керлер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ыйақ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беру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елелер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ықпал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тет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ым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ғыттар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зірле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елел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ұсынымд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зірле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ұсын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лы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был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>
              <a:lnSpc>
                <a:spcPts val="1100"/>
              </a:lnSpc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тетті</a:t>
            </a:r>
            <a:r>
              <a:rPr lang="kk-KZ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рағас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үше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әуелсі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иректор -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ызд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рназ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Файзул-Қарымұ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қар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>
              <a:lnSpc>
                <a:spcPts val="1100"/>
              </a:lnSpc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тетт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йқындал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індеттер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ск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4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ы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16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тырыс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ткізілді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13-ы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үндіз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форматт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3-і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ырттай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,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нда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40 (18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оспардан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ыс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еле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алды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>
              <a:lnSpc>
                <a:spcPts val="1100"/>
              </a:lnSpc>
            </a:pPr>
            <a:endParaRPr lang="ru-RU" sz="5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>
              <a:lnSpc>
                <a:spcPts val="1100"/>
              </a:lnSpc>
            </a:pP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шкі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аудит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і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жы-шаруашы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ҚР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ңнамас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қталуы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қылау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ікелей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ре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т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нд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ам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ы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әртіб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керлер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кіл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рзім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ңбекақ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өлш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арттар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йқындай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>
              <a:lnSpc>
                <a:spcPts val="1100"/>
              </a:lnSpc>
            </a:pPr>
            <a:r>
              <a:rPr lang="kk-KZ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шкі аудит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ін</a:t>
            </a:r>
            <a:r>
              <a:rPr lang="kk-KZ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ыс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023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17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ашада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№8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ешімі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кітілг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024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нал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д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итор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осп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ы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ерул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гіз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ертификаттал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әсіби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шк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аудитор Д. М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сымов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>
              <a:lnSpc>
                <a:spcPts val="1100"/>
              </a:lnSpc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4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ылымд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өлімшелерд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бизнес-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оцестер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6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итор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е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ыл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әуекелдер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қа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шк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қыл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йес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ғалау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с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ған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ерулерд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әтижел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аудит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өнінде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тетк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еткізілді</a:t>
            </a:r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>
              <a:lnSpc>
                <a:spcPts val="1100"/>
              </a:lnSpc>
            </a:pPr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69270" y="2359620"/>
            <a:ext cx="646544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00918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200918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40" y="8831447"/>
            <a:ext cx="535781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7" name="object 8">
            <a:extLst>
              <a:ext uri="{FF2B5EF4-FFF2-40B4-BE49-F238E27FC236}">
                <a16:creationId xmlns:a16="http://schemas.microsoft.com/office/drawing/2014/main" id="{0350EF1A-EB98-4A25-BB4D-BA3D8BB3F90E}"/>
              </a:ext>
            </a:extLst>
          </p:cNvPr>
          <p:cNvSpPr txBox="1"/>
          <p:nvPr/>
        </p:nvSpPr>
        <p:spPr>
          <a:xfrm>
            <a:off x="70936" y="50997"/>
            <a:ext cx="3463564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РПОРАТИВТІК БАСҚАРУ</a:t>
            </a: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5DCCC095-396A-413A-A324-05EAD1968801}"/>
              </a:ext>
            </a:extLst>
          </p:cNvPr>
          <p:cNvCxnSpPr>
            <a:cxnSpLocks/>
          </p:cNvCxnSpPr>
          <p:nvPr/>
        </p:nvCxnSpPr>
        <p:spPr>
          <a:xfrm flipV="1">
            <a:off x="61" y="357408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277CBDDD-4F28-4AF7-9881-B23316952354}"/>
              </a:ext>
            </a:extLst>
          </p:cNvPr>
          <p:cNvSpPr/>
          <p:nvPr/>
        </p:nvSpPr>
        <p:spPr>
          <a:xfrm>
            <a:off x="3619500" y="406428"/>
            <a:ext cx="3069230" cy="74276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 defTabSz="1225520">
              <a:lnSpc>
                <a:spcPts val="1100"/>
              </a:lnSpc>
              <a:tabLst>
                <a:tab pos="4902077" algn="l"/>
              </a:tabLst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ғам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амыт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оспары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қтыл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рытын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р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н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ткізілг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д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жы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птіл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еңбер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ыртқ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иторлар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рытындысы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рпоратив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атшы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ірлесі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итор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тетт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"</a:t>
            </a:r>
            <a:r>
              <a:rPr lang="en-US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fai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Kazakhstan"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ШС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кілдері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здесу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ұйымдастыры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л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д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жы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птілікк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аудит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ргіз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 defTabSz="1225520">
              <a:lnSpc>
                <a:spcPts val="1100"/>
              </a:lnSpc>
              <a:tabLst>
                <a:tab pos="4902077" algn="l"/>
              </a:tabLst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ктуар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птеул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әуекелд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нвестиция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лд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епартамент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ргізілг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аудит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әтижел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ұсын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үзет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с-қимылдар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оспары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әйке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әуекелдер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қа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өнінде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функция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әуекелд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нвестиция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лд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акроэкономика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лж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епартамент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кітілг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 defTabSz="1225520">
              <a:lnSpc>
                <a:spcPts val="1100"/>
              </a:lnSpc>
              <a:tabLst>
                <a:tab pos="4902077" algn="l"/>
              </a:tabLst>
            </a:pP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рпоративтік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атшы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гандар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асын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иім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қпарат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масу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ықпал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те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қарм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үшелер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жет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қпаратт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рілу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те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тырыстар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айындалу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ткізілу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тырыс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атериалдар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лыптастыру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ту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қылау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 defTabSz="1225520">
              <a:lnSpc>
                <a:spcPts val="1100"/>
              </a:lnSpc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4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рпоратив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атш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19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тырыс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итор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тетт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12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тырыс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139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еле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ыйақы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тратегия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аму кадр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елел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тетт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16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тырыс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ткізу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т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 defTabSz="1225520">
              <a:lnSpc>
                <a:spcPts val="1100"/>
              </a:lnSpc>
              <a:tabLst>
                <a:tab pos="4902077" algn="l"/>
              </a:tabLst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рпоратив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атш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024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нал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ы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оспары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әйке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шк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орматив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жатт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зектендіріл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: </a:t>
            </a:r>
          </a:p>
          <a:p>
            <a:pPr marL="171450" indent="-171450" algn="just" defTabSz="1225520">
              <a:lnSpc>
                <a:spcPts val="1100"/>
              </a:lnSpc>
              <a:buFontTx/>
              <a:buChar char="-"/>
              <a:tabLst>
                <a:tab pos="4902077" algn="l"/>
              </a:tabLst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рпоратив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қа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дек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згеріст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лғы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кционерд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9.11.2024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№439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ұйрығы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кітілг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.</a:t>
            </a:r>
          </a:p>
          <a:p>
            <a:pPr marL="171450" indent="-171450" algn="just" defTabSz="1225520">
              <a:lnSpc>
                <a:spcPts val="1100"/>
              </a:lnSpc>
              <a:buFontTx/>
              <a:buChar char="-"/>
              <a:tabLst>
                <a:tab pos="4902077" algn="l"/>
              </a:tabLst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реж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;</a:t>
            </a:r>
          </a:p>
          <a:p>
            <a:pPr marL="171450" indent="-171450" algn="just" defTabSz="1225520">
              <a:lnSpc>
                <a:spcPts val="1100"/>
              </a:lnSpc>
              <a:buFontTx/>
              <a:buChar char="-"/>
              <a:tabLst>
                <a:tab pos="4902077" algn="l"/>
              </a:tabLst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қарм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реж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;</a:t>
            </a:r>
          </a:p>
          <a:p>
            <a:pPr marL="171450" indent="-171450" algn="just" defTabSz="1225520">
              <a:lnSpc>
                <a:spcPts val="1100"/>
              </a:lnSpc>
              <a:buFontTx/>
              <a:buChar char="-"/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мбудсме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реж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;</a:t>
            </a:r>
          </a:p>
          <a:p>
            <a:pPr marL="171450" indent="-171450" algn="just" defTabSz="1225520">
              <a:lnSpc>
                <a:spcPts val="1100"/>
              </a:lnSpc>
              <a:buFontTx/>
              <a:buChar char="-"/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4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нал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ы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оспар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;</a:t>
            </a:r>
          </a:p>
          <a:p>
            <a:pPr marL="171450" indent="-171450" algn="just" defTabSz="1225520">
              <a:lnSpc>
                <a:spcPts val="1100"/>
              </a:lnSpc>
              <a:buFontTx/>
              <a:buChar char="-"/>
              <a:tabLst>
                <a:tab pos="4902077" algn="l"/>
              </a:tabLst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рет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керлерд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ңбег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қ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лд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иімділіг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ғал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реж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algn="just" defTabSz="1225520">
              <a:lnSpc>
                <a:spcPts val="1100"/>
              </a:lnSpc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  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зірлен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кітіл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:</a:t>
            </a:r>
          </a:p>
          <a:p>
            <a:pPr marL="171450" indent="-171450" algn="just" defTabSz="1225520">
              <a:lnSpc>
                <a:spcPts val="1100"/>
              </a:lnSpc>
              <a:buFont typeface="Arial" panose="020B0604020202020204" pitchFamily="34" charset="0"/>
              <a:buChar char="•"/>
              <a:tabLst>
                <a:tab pos="4902077" algn="l"/>
              </a:tabLst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ыбайла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емқорлыққ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с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комплаенс-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те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комплаенс-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фицер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лауазымд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ұсқаулы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;</a:t>
            </a:r>
          </a:p>
          <a:p>
            <a:pPr marL="171450" indent="-171450" algn="just" defTabSz="1225520">
              <a:lnSpc>
                <a:spcPts val="1100"/>
              </a:lnSpc>
              <a:buFont typeface="Arial" panose="020B0604020202020204" pitchFamily="34" charset="0"/>
              <a:buChar char="•"/>
              <a:tabLst>
                <a:tab pos="4902077" algn="l"/>
              </a:tabLst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филиалдар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режелер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згеріст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551F0D74-7D20-4D71-8A54-0ADE12037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67491" y="8702152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36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7475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39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20034" y="5686266"/>
            <a:ext cx="367445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900" b="1" i="1" dirty="0" err="1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енім</a:t>
            </a:r>
            <a:r>
              <a:rPr lang="ru-RU" sz="900" b="1" i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телефоны:</a:t>
            </a:r>
          </a:p>
          <a:p>
            <a:pPr algn="just"/>
            <a:r>
              <a:rPr lang="ru-RU" sz="900" b="1" i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8 (7172) 983 919</a:t>
            </a:r>
          </a:p>
          <a:p>
            <a:pPr algn="just"/>
            <a:endParaRPr lang="ru-RU" sz="900" b="1" i="1" dirty="0">
              <a:solidFill>
                <a:srgbClr val="00206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900" b="1" i="1" dirty="0" err="1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Электрондық</a:t>
            </a:r>
            <a:r>
              <a:rPr lang="ru-RU" sz="900" b="1" i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900" b="1" i="1" dirty="0" err="1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кен-жайы</a:t>
            </a:r>
            <a:r>
              <a:rPr lang="ru-RU" sz="900" b="1" i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:</a:t>
            </a:r>
          </a:p>
          <a:p>
            <a:pPr algn="just"/>
            <a:r>
              <a:rPr lang="ru-RU" sz="900" b="1" i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hlinkClick r:id="rId2"/>
              </a:rPr>
              <a:t>info@gfss.kz</a:t>
            </a:r>
            <a:endParaRPr lang="ru-RU" sz="900" b="1" i="1" dirty="0">
              <a:solidFill>
                <a:srgbClr val="00206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just"/>
            <a:endParaRPr lang="ru-RU" sz="900" b="1" i="1" dirty="0">
              <a:solidFill>
                <a:srgbClr val="00206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900" b="1" i="1" dirty="0" err="1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шталық</a:t>
            </a:r>
            <a:r>
              <a:rPr lang="ru-RU" sz="900" b="1" i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900" b="1" i="1" dirty="0" err="1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кенжайы</a:t>
            </a:r>
            <a:r>
              <a:rPr lang="ru-RU" sz="900" b="1" i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: 010000, </a:t>
            </a:r>
            <a:r>
              <a:rPr lang="ru-RU" sz="900" b="1" i="1" dirty="0" err="1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зақстан</a:t>
            </a:r>
            <a:r>
              <a:rPr lang="ru-RU" sz="900" b="1" i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900" b="1" i="1" dirty="0" err="1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спубликасы</a:t>
            </a:r>
            <a:r>
              <a:rPr lang="ru-RU" sz="900" b="1" i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</a:p>
          <a:p>
            <a:pPr algn="just"/>
            <a:r>
              <a:rPr lang="ru-RU" sz="900" b="1" i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тана қ., </a:t>
            </a:r>
            <a:r>
              <a:rPr lang="kk-KZ" sz="900" b="1" i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остық көшесі</a:t>
            </a:r>
            <a:r>
              <a:rPr lang="ru-RU" sz="900" b="1" i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18 (17 </a:t>
            </a:r>
            <a:r>
              <a:rPr lang="ru-RU" sz="900" b="1" i="1" dirty="0" err="1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бат</a:t>
            </a:r>
            <a:r>
              <a:rPr lang="ru-RU" sz="900" b="1" i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7" name="object 8">
            <a:extLst>
              <a:ext uri="{FF2B5EF4-FFF2-40B4-BE49-F238E27FC236}">
                <a16:creationId xmlns:a16="http://schemas.microsoft.com/office/drawing/2014/main" id="{781234D9-FD81-495E-9522-A3B7638C6BCE}"/>
              </a:ext>
            </a:extLst>
          </p:cNvPr>
          <p:cNvSpPr txBox="1"/>
          <p:nvPr/>
        </p:nvSpPr>
        <p:spPr>
          <a:xfrm>
            <a:off x="85786" y="76245"/>
            <a:ext cx="5863589" cy="509541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ПЛАЕНС-БАҚЫЛАУ ЖӘНЕ СЫБАЙЛАС ЖЕМҚОРЛЫҚҚА ҚАРСЫ ІС-ҚИМЫЛ</a:t>
            </a:r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5547E7D8-F500-41CA-82FB-5D15B33C6E80}"/>
              </a:ext>
            </a:extLst>
          </p:cNvPr>
          <p:cNvCxnSpPr>
            <a:cxnSpLocks/>
          </p:cNvCxnSpPr>
          <p:nvPr/>
        </p:nvCxnSpPr>
        <p:spPr>
          <a:xfrm flipV="1">
            <a:off x="9586" y="585786"/>
            <a:ext cx="5939789" cy="53777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1A4CDFCE-C064-4D64-8DC4-678A47F48D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80673" y="8689518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37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1767AC3D-DA2F-4DD7-92D1-42E9CD5705F8}"/>
              </a:ext>
            </a:extLst>
          </p:cNvPr>
          <p:cNvSpPr/>
          <p:nvPr/>
        </p:nvSpPr>
        <p:spPr>
          <a:xfrm>
            <a:off x="320034" y="823396"/>
            <a:ext cx="6286981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«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ор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» АҚ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лауазымд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ұлғалар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ызметкерлеріні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үдделер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қтығысы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еттеу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ясат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л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орды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лауазымд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ұлғалар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ызметкерлеріні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үдделер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қтығысыны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уындауы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лдырмау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өніндег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індеттері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лард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еттеу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әсімі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елгілейд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сылайш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kk-KZ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рда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ақт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ықтимал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үдделер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қтығысы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сқаруды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ірыңғай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йесі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ұрайд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еңесіні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022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30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аусымдағ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№ 6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шешім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.</a:t>
            </a:r>
          </a:p>
          <a:p>
            <a:pPr indent="180975" algn="just"/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ыбайла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емқорлыққ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с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ясатт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іск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сыру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ыбайла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емқорлыққ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с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әдениетт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лыптастыру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шеңберінд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еңесіні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1.12.2023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№10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шешіміме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орд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ербе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ұрылым-сыбайла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емқорлыққ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с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комплаенс-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ызмет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ұрылд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</a:p>
          <a:p>
            <a:pPr indent="180975" algn="just"/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еңесіні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024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8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аурыздағ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№2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шешіміме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орды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ыбайла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емқорлыққ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с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комплаенс-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ызметінд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комплаенс-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фицеріні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лауазымдық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ұсқаулығ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екітілд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/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23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9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елтоқсанд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МӘСҚ Бас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иректорыны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ұйрығыме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024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ғ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рналға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іс-шаралар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оспар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екітілд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lang="en-US" sz="10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аңнам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ормаларыны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ықтимал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ұзушылықтар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қпаратт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едел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лу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ақсатынд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МӘСҚ-да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ер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йланы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рналар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едел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ел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электрондық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шталық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йланы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рналар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олғ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ойылға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ұмы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істейд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ларғ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ек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аңд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ұлғалар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гініп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ұйымдағ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ыбайла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емқорлықты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ықтимал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немесе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ры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лға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фактілер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барлау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үмкін</a:t>
            </a:r>
            <a:endParaRPr lang="ru-RU" sz="10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24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ғ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рналға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«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ңбек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лықт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орғау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инистрлігінд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ңбек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орғау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омитетінд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өші-қо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омитетінд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едомстволық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ғыныст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ұйымдард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ыбайла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емқорлықты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лды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лу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ға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с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іс-қимыл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» №4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үлгілік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залық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ғыты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ұда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р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- </a:t>
            </a:r>
            <a:r>
              <a:rPr lang="kk-KZ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ҮББ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4)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рындау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шеңберінд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ҚР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ыбайла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емқорлыққ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с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ызметіні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ызметкерлері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шақыруме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ор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филиалдарынд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1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әрі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орды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рталық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аппараты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еңгейінд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филиалдарды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тысуыме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3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әрі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ткізілд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ұда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сқ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ділет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инистрлігіні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дістемелік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ұсынымдарын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әйке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ұқықтық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асихат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өніндег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іс-шаралард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ткізу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ҮББ-4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іск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сыру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024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БАҚ-да 291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і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шара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рналастырыл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тырып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ткізілд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/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орд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ыбайла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емқорлыққ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с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әдениетт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лыптастыру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пт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йы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ұрылымдық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өлімшелерді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филиалдарды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сш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ызметкерлер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иректорларыны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электрондық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екенжайларын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ыбайла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емқорлыққ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с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қырыпт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37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едиаматериал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үсініктем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іберілд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</a:p>
          <a:p>
            <a:pPr indent="180975" algn="just"/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24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оғамд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ыбайла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емқорлық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фактілер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нықталға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оқ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/>
            <a:endParaRPr lang="ru-RU" sz="10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RU" sz="10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indent="361950" algn="just"/>
            <a:endParaRPr lang="ru-RU" sz="10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838880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258019" y="633800"/>
            <a:ext cx="3170981" cy="7171194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indent="180975" algn="just"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Р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декс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31-бабына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әйке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ухгалтерл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ргізе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спубликас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ңнамасын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лгіленг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әртіпп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-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ншік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ажа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ктивт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өле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жы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птілік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ұсын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>
              <a:tabLst>
                <a:tab pos="4902077" algn="l"/>
              </a:tabLst>
            </a:pPr>
            <a:r>
              <a:rPr lang="ru-RU" sz="8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нықтама</a:t>
            </a:r>
            <a:r>
              <a:rPr lang="ru-RU" sz="8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: </a:t>
            </a:r>
            <a:r>
              <a:rPr lang="ru-RU" sz="8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оғырландырылған</a:t>
            </a:r>
            <a:r>
              <a:rPr lang="ru-RU" sz="8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дық</a:t>
            </a:r>
            <a:r>
              <a:rPr lang="ru-RU" sz="8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жылық</a:t>
            </a:r>
            <a:r>
              <a:rPr lang="ru-RU" sz="8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птілік</a:t>
            </a:r>
            <a:r>
              <a:rPr lang="ru-RU" sz="8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</a:t>
            </a:r>
            <a:r>
              <a:rPr lang="ru-RU" sz="8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йын</a:t>
            </a:r>
            <a:r>
              <a:rPr lang="ru-RU" sz="8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жылық</a:t>
            </a:r>
            <a:r>
              <a:rPr lang="ru-RU" sz="8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птілік</a:t>
            </a:r>
            <a:r>
              <a:rPr lang="ru-RU" sz="8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епозитарийінің</a:t>
            </a:r>
            <a:r>
              <a:rPr lang="ru-RU" sz="8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интернет-</a:t>
            </a:r>
            <a:r>
              <a:rPr lang="ru-RU" sz="8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сурсында</a:t>
            </a:r>
            <a:r>
              <a:rPr lang="ru-RU" sz="8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("</a:t>
            </a:r>
            <a:r>
              <a:rPr lang="ru-RU" sz="8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кционерлік</a:t>
            </a:r>
            <a:r>
              <a:rPr lang="ru-RU" sz="8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ғамдар</a:t>
            </a:r>
            <a:r>
              <a:rPr lang="ru-RU" sz="8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уралы</a:t>
            </a:r>
            <a:r>
              <a:rPr lang="ru-RU" sz="8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" ҚР </a:t>
            </a:r>
            <a:r>
              <a:rPr lang="ru-RU" sz="8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ңының</a:t>
            </a:r>
            <a:r>
              <a:rPr lang="ru-RU" sz="8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76-бабының 4-тармағы), </a:t>
            </a:r>
            <a:r>
              <a:rPr lang="ru-RU" sz="8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ндай-ақ</a:t>
            </a:r>
            <a:r>
              <a:rPr lang="ru-RU" sz="8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-</a:t>
            </a:r>
            <a:r>
              <a:rPr lang="ru-RU" sz="8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ың</a:t>
            </a:r>
            <a:r>
              <a:rPr lang="ru-RU" sz="8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сми</a:t>
            </a:r>
            <a:r>
              <a:rPr lang="ru-RU" sz="8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интернет-</a:t>
            </a:r>
            <a:r>
              <a:rPr lang="ru-RU" sz="8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сурсында</a:t>
            </a:r>
            <a:r>
              <a:rPr lang="ru-RU" sz="8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рияланады</a:t>
            </a:r>
            <a:r>
              <a:rPr lang="ru-RU" sz="8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>
              <a:tabLst>
                <a:tab pos="4902077" algn="l"/>
              </a:tabLst>
            </a:pPr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-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ншік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ажа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рғы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апиталын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ссия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ыйақыд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ұр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лі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үск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арымдард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арымдар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нвестиция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быс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уақты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(немесе)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о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еген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сімпұлд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ынат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ссия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ыйақ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бін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>
              <a:tabLst>
                <a:tab pos="4902077" algn="l"/>
              </a:tabLst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ссия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ыйақ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айызд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өлшерлемес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ек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амас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0,70% - да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пай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(2023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15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аусымда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№ 475 ҚРКБ). </a:t>
            </a:r>
          </a:p>
          <a:p>
            <a:pPr indent="180975" algn="just">
              <a:tabLst>
                <a:tab pos="4902077" algn="l"/>
              </a:tabLst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р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024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нал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ссия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ыйақыс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айызд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өлшерлемес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амас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0,63% (ЕХӘҚМ 09.01.2024 ж. №4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ұйры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. </a:t>
            </a:r>
          </a:p>
          <a:p>
            <a:pPr indent="180975" algn="just"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4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31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елтоқсанда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ғдай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ктивт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1 068 093,8 млн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ңген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ай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ш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ға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ғазд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наластырыл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лымдар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–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938 238,1 млн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ң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ҚР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Ұлтт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нкінде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оттарда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қ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– 129 855,7 млн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ң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індеттемел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1 068 093,8 млн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ңген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ай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ш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овизия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– 1 134 498,0 млн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ң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зервт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– (81 986,6 млн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ң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ж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алдар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йт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ғал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зервт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/>
            </a:r>
            <a:b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– (98 306,5 млн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ң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зервт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аз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ла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тілет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өлш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– 113 449,8 млн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ң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ссия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ыйақ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редитор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реше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– 439,0 млн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ң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Р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декс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32-бабына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әйке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спубликас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итор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ңнамасы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әйке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аудит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ргізу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қы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бар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итор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ұйымд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д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жы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птіліг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аудит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ргізе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3608930" y="633800"/>
            <a:ext cx="2988000" cy="3477875"/>
          </a:xfrm>
          <a:prstGeom prst="rect">
            <a:avLst/>
          </a:prstGeom>
          <a:solidFill>
            <a:schemeClr val="bg1"/>
          </a:solidFill>
        </p:spPr>
        <p:txBody>
          <a:bodyPr wrap="square" numCol="1">
            <a:spAutoFit/>
          </a:bodyPr>
          <a:lstStyle/>
          <a:p>
            <a:pPr lvl="0" indent="180975" algn="just">
              <a:tabLst>
                <a:tab pos="4902077" algn="l"/>
              </a:tabLst>
            </a:pP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лғыз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кционердің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ешіміме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рдың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024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жылық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птілігін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аудит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ргізеті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иторлық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ұйым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йқындалд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(12.09.2024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№ 364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ұйрық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</a:t>
            </a:r>
            <a:endParaRPr lang="en-US" sz="1000" dirty="0">
              <a:solidFill>
                <a:prstClr val="black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lvl="0" indent="180975" algn="just">
              <a:tabLst>
                <a:tab pos="4902077" algn="l"/>
              </a:tabLst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4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31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елтоқсандағ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ғдай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дық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жылық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птілігінің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иті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024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5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ркүйектег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№ №040440004549/240171/00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артына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әйкес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"</a:t>
            </a:r>
            <a:r>
              <a:rPr lang="en-US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FAI Kazakhstan" 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ШС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әуелсіз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ыртқ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иторлар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ргізд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Аудитор МӘСҚ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жылық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птіліг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жылық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птіліктің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алықаралық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тандарттарына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(ҚЕХС)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әйкестіг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ктивтер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а,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з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ажат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а 2024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31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елтоқсандағ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жылық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ғдайының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рлық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аңызд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пектілерінд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енімд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рініс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бу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ң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ікір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ілдірд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ЕХС-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әйке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айындал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024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ӘСҚ-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д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жы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птілі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ығару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кітіл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ж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птіліг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епозитарий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н МӘСҚ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йтын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риялан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6" name="object 8">
            <a:extLst>
              <a:ext uri="{FF2B5EF4-FFF2-40B4-BE49-F238E27FC236}">
                <a16:creationId xmlns:a16="http://schemas.microsoft.com/office/drawing/2014/main" id="{73F0D343-6705-431F-A1E0-0D4808563BF0}"/>
              </a:ext>
            </a:extLst>
          </p:cNvPr>
          <p:cNvSpPr txBox="1"/>
          <p:nvPr/>
        </p:nvSpPr>
        <p:spPr>
          <a:xfrm>
            <a:off x="85786" y="76245"/>
            <a:ext cx="5863589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ЖЫЛЫҚ КӨРСЕТКІШТЕР</a:t>
            </a:r>
          </a:p>
        </p:txBody>
      </p: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8CD2F114-816C-4A2D-BFAB-48223C40F190}"/>
              </a:ext>
            </a:extLst>
          </p:cNvPr>
          <p:cNvCxnSpPr>
            <a:cxnSpLocks/>
          </p:cNvCxnSpPr>
          <p:nvPr/>
        </p:nvCxnSpPr>
        <p:spPr>
          <a:xfrm flipV="1">
            <a:off x="85786" y="339565"/>
            <a:ext cx="5863589" cy="60538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1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40" y="8807383"/>
            <a:ext cx="535781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222AA7C4-52AA-4369-8FEF-249DA1E0F9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72100" y="8701396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38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841661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object 8">
            <a:extLst>
              <a:ext uri="{FF2B5EF4-FFF2-40B4-BE49-F238E27FC236}">
                <a16:creationId xmlns:a16="http://schemas.microsoft.com/office/drawing/2014/main" id="{17AD95F7-2C44-4C76-A68A-B9243F5CF4C5}"/>
              </a:ext>
            </a:extLst>
          </p:cNvPr>
          <p:cNvSpPr txBox="1"/>
          <p:nvPr/>
        </p:nvSpPr>
        <p:spPr>
          <a:xfrm>
            <a:off x="75615" y="80073"/>
            <a:ext cx="6611815" cy="26332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 ИНВЕСТИЦИЯЛЫҚ ҚЫЗМЕТІ</a:t>
            </a:r>
          </a:p>
        </p:txBody>
      </p:sp>
      <p:sp>
        <p:nvSpPr>
          <p:cNvPr id="102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2695" y="8806815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840165" y="8783955"/>
            <a:ext cx="1069975" cy="314586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/>
              <a:t>39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67929DC4-B716-4760-9670-6F594165101E}"/>
              </a:ext>
            </a:extLst>
          </p:cNvPr>
          <p:cNvSpPr/>
          <p:nvPr/>
        </p:nvSpPr>
        <p:spPr>
          <a:xfrm>
            <a:off x="133430" y="505153"/>
            <a:ext cx="649618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698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025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1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ңтардағ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ғдай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инвестициялы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портфель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арықтық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йт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ғалауды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скер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тырып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938,2 млрд. </a:t>
            </a:r>
            <a:r>
              <a:rPr lang="ru-RU" sz="10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еңгені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ктивтерді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ірістіліг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- 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2,8% </a:t>
            </a:r>
            <a:r>
              <a:rPr lang="ru-RU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147 млрд. </a:t>
            </a:r>
            <a:r>
              <a:rPr lang="ru-RU" sz="1000" i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еңге</a:t>
            </a:r>
            <a:r>
              <a:rPr lang="ru-RU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ұрады</a:t>
            </a:r>
            <a:r>
              <a:rPr lang="ru-RU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  <a:endParaRPr lang="ru-KZ" sz="1000" i="1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graphicFrame>
        <p:nvGraphicFramePr>
          <p:cNvPr id="15" name="Диаграмма 14">
            <a:extLst>
              <a:ext uri="{FF2B5EF4-FFF2-40B4-BE49-F238E27FC236}">
                <a16:creationId xmlns:a16="http://schemas.microsoft.com/office/drawing/2014/main" id="{D781A65C-2AFB-472D-B665-6BC1C80663F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3725064"/>
              </p:ext>
            </p:extLst>
          </p:nvPr>
        </p:nvGraphicFramePr>
        <p:xfrm>
          <a:off x="1073672" y="1319905"/>
          <a:ext cx="4865533" cy="24474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692D906-33A9-4418-B90A-1B168B729DFA}"/>
              </a:ext>
            </a:extLst>
          </p:cNvPr>
          <p:cNvSpPr/>
          <p:nvPr/>
        </p:nvSpPr>
        <p:spPr>
          <a:xfrm>
            <a:off x="228600" y="4259411"/>
            <a:ext cx="6343197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МӘСҚ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инвестиция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екларацияс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ыналар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өздей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0" indent="-180975" algn="just">
              <a:buSzPct val="85000"/>
              <a:buFont typeface="Wingdings" panose="05000000000000000000" pitchFamily="2" charset="2"/>
              <a:buChar char="Ø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МӘСҚ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ктивтер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ізбес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лимиттер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ҚР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Үкіме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йқындайт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рж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ралдарын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рналасты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(ҚР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Үкіметінің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 15.06.2023 ж. №473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Қаулысы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); </a:t>
            </a:r>
          </a:p>
          <a:p>
            <a:pPr marL="361950" lvl="0" indent="-180975" algn="just">
              <a:buSzPct val="85000"/>
              <a:buFont typeface="Wingdings" panose="05000000000000000000" pitchFamily="2" charset="2"/>
              <a:buChar char="Ø"/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инвестициял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валютас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361950" lvl="0" indent="-180975" algn="just">
              <a:buSzPct val="85000"/>
              <a:buFont typeface="Wingdings" panose="05000000000000000000" pitchFamily="2" charset="2"/>
              <a:buChar char="Ø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МӘСҚ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ктивтерін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юрациясы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індеттемелерд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юрациясын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ұмтылу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361950" lvl="0" indent="-180975" algn="just">
              <a:buSzPct val="85000"/>
              <a:buFont typeface="Wingdings" panose="05000000000000000000" pitchFamily="2" charset="2"/>
              <a:buChar char="Ø"/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рж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ралында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немесе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эмитенттег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реди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рейтингт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менг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еңгей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"ВВ-"кем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емес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0" indent="-180975" algn="just">
              <a:buSzPct val="85000"/>
              <a:buFont typeface="Wingdings" panose="05000000000000000000" pitchFamily="2" charset="2"/>
              <a:buChar char="Ø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ҚР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рж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инистрліг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мен ҚР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Ұлтт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нкін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рж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ралдар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спаған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і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эмитентт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рж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ралдарын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инвестициял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лими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ктивтерін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10% -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н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спай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</a:p>
          <a:p>
            <a:pPr marL="361950" lvl="0" indent="-180975" algn="just">
              <a:buSzPct val="85000"/>
              <a:buFont typeface="Wingdings" panose="05000000000000000000" pitchFamily="2" charset="2"/>
              <a:buChar char="Ø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МӘСҚ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ктивтерін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қталу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т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ғдар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инфляция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нысана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әлізін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әнін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м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мес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еңгей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лы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былат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инвестиция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іріс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17DFFC47-F6CB-4ADC-B82E-96CD4C241042}"/>
              </a:ext>
            </a:extLst>
          </p:cNvPr>
          <p:cNvSpPr/>
          <p:nvPr/>
        </p:nvSpPr>
        <p:spPr>
          <a:xfrm>
            <a:off x="1916165" y="1059050"/>
            <a:ext cx="2707793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05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Инвестициялық</a:t>
            </a:r>
            <a:r>
              <a:rPr lang="ru-RU" sz="105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сқару</a:t>
            </a:r>
            <a:r>
              <a:rPr lang="ru-RU" sz="105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инамикасы</a:t>
            </a:r>
            <a:endParaRPr lang="ru-KZ" sz="105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134D1EA-C0D7-4B32-87B9-15F1F6312EA2}"/>
              </a:ext>
            </a:extLst>
          </p:cNvPr>
          <p:cNvSpPr txBox="1"/>
          <p:nvPr/>
        </p:nvSpPr>
        <p:spPr>
          <a:xfrm>
            <a:off x="1666106" y="6286392"/>
            <a:ext cx="296427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Инвестициялық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портфельдің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құрылымы</a:t>
            </a:r>
            <a:endParaRPr lang="ru-KZ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2" name="Диаграмма 21">
            <a:extLst>
              <a:ext uri="{FF2B5EF4-FFF2-40B4-BE49-F238E27FC236}">
                <a16:creationId xmlns:a16="http://schemas.microsoft.com/office/drawing/2014/main" id="{4D22A7ED-1BA7-43A9-97BB-7C580C9F94A1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437575" y="6487946"/>
          <a:ext cx="2624907" cy="22739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3" name="Таблица 22">
            <a:extLst>
              <a:ext uri="{FF2B5EF4-FFF2-40B4-BE49-F238E27FC236}">
                <a16:creationId xmlns:a16="http://schemas.microsoft.com/office/drawing/2014/main" id="{4EBD0409-8D14-493C-8FC9-DC0333D939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3620172"/>
              </p:ext>
            </p:extLst>
          </p:nvPr>
        </p:nvGraphicFramePr>
        <p:xfrm>
          <a:off x="3506438" y="6685617"/>
          <a:ext cx="2971650" cy="1930587"/>
        </p:xfrm>
        <a:graphic>
          <a:graphicData uri="http://schemas.openxmlformats.org/drawingml/2006/table">
            <a:tbl>
              <a:tblPr firstRow="1" bandRow="1"/>
              <a:tblGrid>
                <a:gridCol w="1214493">
                  <a:extLst>
                    <a:ext uri="{9D8B030D-6E8A-4147-A177-3AD203B41FA5}">
                      <a16:colId xmlns:a16="http://schemas.microsoft.com/office/drawing/2014/main" val="4211547870"/>
                    </a:ext>
                  </a:extLst>
                </a:gridCol>
                <a:gridCol w="1119208">
                  <a:extLst>
                    <a:ext uri="{9D8B030D-6E8A-4147-A177-3AD203B41FA5}">
                      <a16:colId xmlns:a16="http://schemas.microsoft.com/office/drawing/2014/main" val="4127923461"/>
                    </a:ext>
                  </a:extLst>
                </a:gridCol>
                <a:gridCol w="637949">
                  <a:extLst>
                    <a:ext uri="{9D8B030D-6E8A-4147-A177-3AD203B41FA5}">
                      <a16:colId xmlns:a16="http://schemas.microsoft.com/office/drawing/2014/main" val="3176418259"/>
                    </a:ext>
                  </a:extLst>
                </a:gridCol>
              </a:tblGrid>
              <a:tr h="498166"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700" b="1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Қаржы</a:t>
                      </a:r>
                      <a:r>
                        <a:rPr lang="ru-RU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700" b="1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құралдарының</a:t>
                      </a:r>
                      <a:r>
                        <a:rPr lang="ru-RU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700" b="1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түрлері</a:t>
                      </a:r>
                      <a:endParaRPr lang="en-US" sz="700" b="1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700" b="1" kern="1200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Салынған</a:t>
                      </a:r>
                      <a:r>
                        <a:rPr lang="ru-RU" sz="700" b="1" kern="12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700" b="1" kern="1200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қаражаттың</a:t>
                      </a:r>
                      <a:r>
                        <a:rPr lang="ru-RU" sz="700" b="1" kern="12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700" b="1" kern="1200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құны</a:t>
                      </a:r>
                      <a:endParaRPr lang="en-US" sz="700" b="1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i="1" kern="1200" baseline="0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үлесі</a:t>
                      </a:r>
                      <a:r>
                        <a:rPr lang="ru-RU" sz="700" b="0" i="1" kern="1200" baseline="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,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i="1" kern="1200" baseline="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%</a:t>
                      </a:r>
                      <a:endParaRPr lang="en-US" sz="700" b="0" i="1" kern="120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700" b="1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4695232"/>
                  </a:ext>
                </a:extLst>
              </a:tr>
              <a:tr h="221406"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671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     ҚР ҚМ МБҚ</a:t>
                      </a:r>
                      <a:endParaRPr lang="en-US" sz="70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568</a:t>
                      </a:r>
                      <a:r>
                        <a:rPr lang="ru-RU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4</a:t>
                      </a:r>
                      <a:r>
                        <a:rPr lang="ru-RU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млрд. </a:t>
                      </a:r>
                      <a:r>
                        <a:rPr lang="ru-RU" sz="7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Т</a:t>
                      </a:r>
                      <a:r>
                        <a:rPr lang="kk-KZ" sz="7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г</a:t>
                      </a:r>
                      <a:endParaRPr lang="en-US" sz="70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700" i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6</a:t>
                      </a:r>
                      <a:r>
                        <a:rPr lang="en-US" sz="700" i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0</a:t>
                      </a:r>
                      <a:r>
                        <a:rPr lang="ru-RU" sz="700" i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700" i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6</a:t>
                      </a:r>
                      <a:r>
                        <a:rPr lang="ru-RU" sz="700" i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en-US" sz="700" i="1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4809769"/>
                  </a:ext>
                </a:extLst>
              </a:tr>
              <a:tr h="498166"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7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                </a:t>
                      </a:r>
                      <a:r>
                        <a:rPr lang="ru-RU" sz="700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Агенттік</a:t>
                      </a:r>
                      <a:r>
                        <a:rPr lang="ru-RU" sz="7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    </a:t>
                      </a:r>
                    </a:p>
                    <a:p>
                      <a:r>
                        <a:rPr lang="ru-RU" sz="7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           </a:t>
                      </a:r>
                      <a:r>
                        <a:rPr lang="ru-RU" sz="700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облигациялар</a:t>
                      </a:r>
                      <a:r>
                        <a:rPr lang="ru-RU" sz="7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r>
                        <a:rPr lang="ru-RU" sz="7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         (</a:t>
                      </a:r>
                      <a:r>
                        <a:rPr lang="ru-RU" sz="700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квазимемлекеттік</a:t>
                      </a:r>
                      <a:r>
                        <a:rPr lang="ru-RU" sz="7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r>
                        <a:rPr lang="ru-RU" sz="7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                  сектор)</a:t>
                      </a:r>
                      <a:endParaRPr lang="en-US" sz="700" i="1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en-US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34</a:t>
                      </a:r>
                      <a:r>
                        <a:rPr lang="ru-RU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9</a:t>
                      </a:r>
                      <a:r>
                        <a:rPr lang="ru-RU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млрд. </a:t>
                      </a:r>
                      <a:r>
                        <a:rPr lang="ru-RU" sz="700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Тг</a:t>
                      </a:r>
                      <a:endParaRPr lang="en-US" sz="70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700" i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en-US" sz="700" i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5</a:t>
                      </a:r>
                      <a:r>
                        <a:rPr lang="ru-RU" sz="700" i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en-US" sz="700" i="1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5363695"/>
                  </a:ext>
                </a:extLst>
              </a:tr>
              <a:tr h="250045"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7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     МҚҰ </a:t>
                      </a:r>
                      <a:r>
                        <a:rPr lang="ru-RU" sz="700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облигациялары</a:t>
                      </a:r>
                      <a:endParaRPr lang="en-US" sz="70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kk-KZ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33</a:t>
                      </a:r>
                      <a:r>
                        <a:rPr lang="kk-KZ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6</a:t>
                      </a:r>
                      <a:r>
                        <a:rPr lang="kk-KZ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млрд.</a:t>
                      </a:r>
                      <a:r>
                        <a:rPr lang="ru-RU" sz="7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700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Тг</a:t>
                      </a:r>
                      <a:endParaRPr lang="en-US" sz="70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700" i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700" i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4</a:t>
                      </a:r>
                      <a:r>
                        <a:rPr lang="ru-RU" sz="700" i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,2%</a:t>
                      </a:r>
                      <a:endParaRPr lang="en-US" sz="700" i="1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07721"/>
                  </a:ext>
                </a:extLst>
              </a:tr>
              <a:tr h="221406"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7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     ҚР ҰБ </a:t>
                      </a:r>
                      <a:r>
                        <a:rPr lang="ru-RU" sz="700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депозиттері</a:t>
                      </a:r>
                      <a:endParaRPr lang="en-US" sz="70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ru-RU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4</a:t>
                      </a:r>
                      <a:r>
                        <a:rPr lang="ru-RU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млрд. </a:t>
                      </a:r>
                      <a:r>
                        <a:rPr lang="ru-RU" sz="700" b="0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Тг</a:t>
                      </a:r>
                      <a:endParaRPr lang="en-US" sz="70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700" i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0,1%</a:t>
                      </a:r>
                      <a:endParaRPr lang="en-US" sz="700" i="1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2248173"/>
                  </a:ext>
                </a:extLst>
              </a:tr>
              <a:tr h="221406"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700" b="1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Барлығы</a:t>
                      </a:r>
                      <a:endParaRPr lang="ru-RU" sz="700" b="1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938</a:t>
                      </a:r>
                      <a:r>
                        <a:rPr lang="ru-RU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ru-RU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млрд. </a:t>
                      </a:r>
                      <a:r>
                        <a:rPr lang="ru-RU" sz="700" b="0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тг</a:t>
                      </a:r>
                      <a:endParaRPr lang="en-US" sz="700" b="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700" b="0" i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700" b="0" i="1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8500554"/>
                  </a:ext>
                </a:extLst>
              </a:tr>
            </a:tbl>
          </a:graphicData>
        </a:graphic>
      </p:graphicFrame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24D4CAAE-9613-4290-A649-9D7EBF8E4DB9}"/>
              </a:ext>
            </a:extLst>
          </p:cNvPr>
          <p:cNvSpPr/>
          <p:nvPr/>
        </p:nvSpPr>
        <p:spPr>
          <a:xfrm>
            <a:off x="228600" y="3816641"/>
            <a:ext cx="634319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Р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дексін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әйкес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ивтері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німгерлік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қаруд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ҚР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лттық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ялық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екларация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гізінд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ырад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5A227989-143A-4ED7-9E5E-AC1711A67797}"/>
              </a:ext>
            </a:extLst>
          </p:cNvPr>
          <p:cNvCxnSpPr>
            <a:cxnSpLocks/>
          </p:cNvCxnSpPr>
          <p:nvPr/>
        </p:nvCxnSpPr>
        <p:spPr>
          <a:xfrm>
            <a:off x="75615" y="343393"/>
            <a:ext cx="5863590" cy="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3581400" y="8220076"/>
            <a:ext cx="104775" cy="9525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3571875" y="7239001"/>
            <a:ext cx="104775" cy="95250"/>
          </a:xfrm>
          <a:prstGeom prst="rect">
            <a:avLst/>
          </a:prstGeom>
          <a:solidFill>
            <a:srgbClr val="0088B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/>
          <p:cNvSpPr/>
          <p:nvPr/>
        </p:nvSpPr>
        <p:spPr>
          <a:xfrm>
            <a:off x="3571874" y="7624945"/>
            <a:ext cx="104775" cy="95250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/>
          <p:cNvSpPr/>
          <p:nvPr/>
        </p:nvSpPr>
        <p:spPr>
          <a:xfrm>
            <a:off x="3581400" y="7962901"/>
            <a:ext cx="104775" cy="95250"/>
          </a:xfrm>
          <a:prstGeom prst="rect">
            <a:avLst/>
          </a:prstGeom>
          <a:solidFill>
            <a:srgbClr val="0D536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087567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extBox 39">
            <a:extLst>
              <a:ext uri="{FF2B5EF4-FFF2-40B4-BE49-F238E27FC236}">
                <a16:creationId xmlns:a16="http://schemas.microsoft.com/office/drawing/2014/main" id="{DD15CE48-14A3-41F9-A06F-3F8104CB9B7E}"/>
              </a:ext>
            </a:extLst>
          </p:cNvPr>
          <p:cNvSpPr txBox="1"/>
          <p:nvPr/>
        </p:nvSpPr>
        <p:spPr>
          <a:xfrm rot="10800000" flipV="1">
            <a:off x="1428749" y="960334"/>
            <a:ext cx="5020311" cy="86177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ркүйектен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тап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спубликасы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дексінің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латформалық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ыспен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мту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өніндегі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ті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зеге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атын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дамдарды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мсыздандыру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өніндегі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ормалары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лданысқа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енгізілді</a:t>
            </a:r>
            <a:endParaRPr lang="en-US" sz="14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FD9A3A7-425B-4AEB-A125-B79E389D150E}"/>
              </a:ext>
            </a:extLst>
          </p:cNvPr>
          <p:cNvSpPr txBox="1"/>
          <p:nvPr/>
        </p:nvSpPr>
        <p:spPr>
          <a:xfrm>
            <a:off x="1428749" y="6355081"/>
            <a:ext cx="5020311" cy="64633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әуекелдерді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қару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йесінің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жаттарын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кітті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</a:t>
            </a:r>
            <a:r>
              <a:rPr lang="ru-RU" sz="14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ясат</a:t>
            </a:r>
            <a:r>
              <a:rPr lang="ru-RU" sz="14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4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режелер</a:t>
            </a:r>
            <a:r>
              <a:rPr lang="ru-RU" sz="14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4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ізілім</a:t>
            </a:r>
            <a:r>
              <a:rPr lang="ru-RU" sz="14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4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әуекел</a:t>
            </a:r>
            <a:r>
              <a:rPr lang="ru-RU" sz="14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артасы</a:t>
            </a:r>
            <a:r>
              <a:rPr lang="ru-RU" sz="14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</a:t>
            </a:r>
            <a:endParaRPr lang="en-US" sz="1400" i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DA22099E-55FE-44C1-AAAF-503AC87C3D7F}"/>
              </a:ext>
            </a:extLst>
          </p:cNvPr>
          <p:cNvSpPr txBox="1"/>
          <p:nvPr/>
        </p:nvSpPr>
        <p:spPr>
          <a:xfrm>
            <a:off x="1339169" y="3398460"/>
            <a:ext cx="5109892" cy="86177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lvl="0" algn="just"/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тық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(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е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нген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арымдар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н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сімпұлдарды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йтаруға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тінімдерді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ңдеу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ңа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</a:t>
            </a:r>
            <a:r>
              <a:rPr lang="en-US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форматында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ығыс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дерді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лыптастыру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ISO 20022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алықаралық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тандартын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айдалануға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шірілді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BD8E3D8E-0941-466F-8142-38B281421CB7}"/>
              </a:ext>
            </a:extLst>
          </p:cNvPr>
          <p:cNvSpPr txBox="1"/>
          <p:nvPr/>
        </p:nvSpPr>
        <p:spPr>
          <a:xfrm>
            <a:off x="1428749" y="2217420"/>
            <a:ext cx="5020313" cy="64633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-дан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ңбекке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білеттілігінен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йырылу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аушысынан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йырылу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ғдайлары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ұзақ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рзімді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дердің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өлшері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7% -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ға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тты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:</a:t>
            </a:r>
            <a:endParaRPr lang="en-US" sz="14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0E9E5108-FB51-4B2E-9E04-05009432681B}"/>
              </a:ext>
            </a:extLst>
          </p:cNvPr>
          <p:cNvSpPr txBox="1"/>
          <p:nvPr/>
        </p:nvSpPr>
        <p:spPr>
          <a:xfrm>
            <a:off x="1428749" y="4593844"/>
            <a:ext cx="5020311" cy="150810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АЖ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нтеграциясы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ргізілді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:</a:t>
            </a:r>
          </a:p>
          <a:p>
            <a:pPr algn="just"/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Асырауындағыларды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үндізгі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ысанда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қыту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уралы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ліметтерді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у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НБСД АЖ - мен Е-Макет;</a:t>
            </a:r>
          </a:p>
          <a:p>
            <a:pPr algn="just"/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«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тық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(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е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нген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арымдарды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йтару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»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рсету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әтижелері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уралы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еректерді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беру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«ХҚКО» ААЖ-мен «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дерді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ңдеуді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ұйымдастыру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»</a:t>
            </a:r>
          </a:p>
        </p:txBody>
      </p:sp>
      <p:sp>
        <p:nvSpPr>
          <p:cNvPr id="27" name="object 8">
            <a:extLst>
              <a:ext uri="{FF2B5EF4-FFF2-40B4-BE49-F238E27FC236}">
                <a16:creationId xmlns:a16="http://schemas.microsoft.com/office/drawing/2014/main" id="{4ADD05D3-E53F-40E9-AD53-B373E257E38C}"/>
              </a:ext>
            </a:extLst>
          </p:cNvPr>
          <p:cNvSpPr txBox="1"/>
          <p:nvPr/>
        </p:nvSpPr>
        <p:spPr>
          <a:xfrm>
            <a:off x="301624" y="234755"/>
            <a:ext cx="5863590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4 ЖЫЛДЫҢ БАСТЫ ОҚИҒАЛАРЫ</a:t>
            </a:r>
          </a:p>
        </p:txBody>
      </p:sp>
      <p:cxnSp>
        <p:nvCxnSpPr>
          <p:cNvPr id="28" name="Прямая соединительная линия 27">
            <a:extLst>
              <a:ext uri="{FF2B5EF4-FFF2-40B4-BE49-F238E27FC236}">
                <a16:creationId xmlns:a16="http://schemas.microsoft.com/office/drawing/2014/main" id="{D58BB0EE-18D4-42E3-9D26-AC99E6E0F517}"/>
              </a:ext>
            </a:extLst>
          </p:cNvPr>
          <p:cNvCxnSpPr>
            <a:cxnSpLocks/>
          </p:cNvCxnSpPr>
          <p:nvPr/>
        </p:nvCxnSpPr>
        <p:spPr>
          <a:xfrm flipV="1">
            <a:off x="301624" y="636408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3018A5A0-C016-43C1-98A2-8950BDDD1690}"/>
              </a:ext>
            </a:extLst>
          </p:cNvPr>
          <p:cNvSpPr txBox="1"/>
          <p:nvPr/>
        </p:nvSpPr>
        <p:spPr>
          <a:xfrm rot="10800000" flipV="1">
            <a:off x="1428750" y="7611664"/>
            <a:ext cx="5020310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қалы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тқарушы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орган – Бас</a:t>
            </a:r>
            <a:r>
              <a:rPr lang="kk-KZ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рма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нгізілді</a:t>
            </a:r>
            <a:endParaRPr lang="en-US" sz="14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 descr="Линейчатая диаграмма с тенденцией к повышению">
            <a:extLst>
              <a:ext uri="{FF2B5EF4-FFF2-40B4-BE49-F238E27FC236}">
                <a16:creationId xmlns:a16="http://schemas.microsoft.com/office/drawing/2014/main" id="{C5C595D8-BA56-4A82-80F0-AC27BF16E933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47361" y="2217419"/>
            <a:ext cx="760679" cy="731521"/>
          </a:xfrm>
          <a:prstGeom prst="rect">
            <a:avLst/>
          </a:prstGeom>
        </p:spPr>
      </p:pic>
      <p:pic>
        <p:nvPicPr>
          <p:cNvPr id="5" name="Рисунок 4" descr="Документ">
            <a:extLst>
              <a:ext uri="{FF2B5EF4-FFF2-40B4-BE49-F238E27FC236}">
                <a16:creationId xmlns:a16="http://schemas.microsoft.com/office/drawing/2014/main" id="{4025685A-A9CF-4C03-AC16-1B837F3D8739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447361" y="6272213"/>
            <a:ext cx="793113" cy="814387"/>
          </a:xfrm>
          <a:prstGeom prst="rect">
            <a:avLst/>
          </a:prstGeom>
        </p:spPr>
      </p:pic>
      <p:pic>
        <p:nvPicPr>
          <p:cNvPr id="17" name="Рисунок 16" descr="Закрытая книга">
            <a:extLst>
              <a:ext uri="{FF2B5EF4-FFF2-40B4-BE49-F238E27FC236}">
                <a16:creationId xmlns:a16="http://schemas.microsoft.com/office/drawing/2014/main" id="{CF4F5309-1631-4BF3-A113-65ED29A64D9A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411480" y="902149"/>
            <a:ext cx="919960" cy="919960"/>
          </a:xfrm>
          <a:prstGeom prst="rect">
            <a:avLst/>
          </a:prstGeom>
        </p:spPr>
      </p:pic>
      <p:pic>
        <p:nvPicPr>
          <p:cNvPr id="19" name="Рисунок 18" descr="База данных">
            <a:extLst>
              <a:ext uri="{FF2B5EF4-FFF2-40B4-BE49-F238E27FC236}">
                <a16:creationId xmlns:a16="http://schemas.microsoft.com/office/drawing/2014/main" id="{66DE7035-D981-47B3-B46A-76413CAA7E5E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322140" y="3344250"/>
            <a:ext cx="918334" cy="861774"/>
          </a:xfrm>
          <a:prstGeom prst="rect">
            <a:avLst/>
          </a:prstGeom>
        </p:spPr>
      </p:pic>
      <p:pic>
        <p:nvPicPr>
          <p:cNvPr id="32" name="Рисунок 31" descr="Синхронизация облака">
            <a:extLst>
              <a:ext uri="{FF2B5EF4-FFF2-40B4-BE49-F238E27FC236}">
                <a16:creationId xmlns:a16="http://schemas.microsoft.com/office/drawing/2014/main" id="{9059547F-305F-44F3-B4B4-B66CDACB6259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447360" y="4659911"/>
            <a:ext cx="760679" cy="990942"/>
          </a:xfrm>
          <a:prstGeom prst="rect">
            <a:avLst/>
          </a:prstGeom>
        </p:spPr>
      </p:pic>
      <p:sp>
        <p:nvSpPr>
          <p:cNvPr id="16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47" y="8798671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8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49062" y="8798671"/>
            <a:ext cx="412750" cy="263530"/>
          </a:xfrm>
        </p:spPr>
        <p:txBody>
          <a:bodyPr/>
          <a:lstStyle/>
          <a:p>
            <a:r>
              <a:rPr lang="kk-KZ" b="1" dirty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37210" y="7277476"/>
            <a:ext cx="703264" cy="769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592151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54236" y="432276"/>
            <a:ext cx="6294691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4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нал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ты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оспар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00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рмақ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мти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ш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:</a:t>
            </a:r>
          </a:p>
          <a:p>
            <a:pPr marL="180975" indent="180975">
              <a:buFont typeface="Arial" panose="020B0604020202020204" pitchFamily="34" charset="0"/>
              <a:buChar char="•"/>
            </a:pP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89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уарлар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ты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;</a:t>
            </a:r>
          </a:p>
          <a:p>
            <a:pPr marL="180975" indent="180975">
              <a:buFont typeface="Arial" panose="020B0604020202020204" pitchFamily="34" charset="0"/>
              <a:buChar char="•"/>
            </a:pP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9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ыстар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ынд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;</a:t>
            </a:r>
          </a:p>
          <a:p>
            <a:pPr marL="180975" indent="180975">
              <a:buFont typeface="Arial" panose="020B0604020202020204" pitchFamily="34" charset="0"/>
              <a:buChar char="•"/>
            </a:pP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02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тер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ынд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0975"/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тып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у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оспарының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ындалуы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ір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шінде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98,5%-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ы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kk-KZ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ады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</a:p>
          <a:p>
            <a:pPr indent="180975" algn="just"/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і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рма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арт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індеттемелер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ындалмауы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йланыс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іржақ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әртіпп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ұзыл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нім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руш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артт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ындалу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ту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нгізбе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.</a:t>
            </a:r>
          </a:p>
        </p:txBody>
      </p:sp>
      <p:graphicFrame>
        <p:nvGraphicFramePr>
          <p:cNvPr id="9" name="Диаграмма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88289549"/>
              </p:ext>
            </p:extLst>
          </p:nvPr>
        </p:nvGraphicFramePr>
        <p:xfrm>
          <a:off x="324853" y="1855744"/>
          <a:ext cx="6124074" cy="22933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Прямоугольник 9"/>
          <p:cNvSpPr/>
          <p:nvPr/>
        </p:nvSpPr>
        <p:spPr>
          <a:xfrm>
            <a:off x="324853" y="4389183"/>
            <a:ext cx="6232358" cy="40011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ыл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ты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у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лп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лем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702,6 млн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ңген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негізгі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ле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86,2%)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тер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ты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у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ғыттал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</p:txBody>
      </p:sp>
      <p:graphicFrame>
        <p:nvGraphicFramePr>
          <p:cNvPr id="6" name="Диаграмма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59876314"/>
              </p:ext>
            </p:extLst>
          </p:nvPr>
        </p:nvGraphicFramePr>
        <p:xfrm>
          <a:off x="265709" y="5214021"/>
          <a:ext cx="6291499" cy="26506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object 8">
            <a:extLst>
              <a:ext uri="{FF2B5EF4-FFF2-40B4-BE49-F238E27FC236}">
                <a16:creationId xmlns:a16="http://schemas.microsoft.com/office/drawing/2014/main" id="{4CC5C636-0DD4-4AF0-B7FA-523F1D411507}"/>
              </a:ext>
            </a:extLst>
          </p:cNvPr>
          <p:cNvSpPr txBox="1"/>
          <p:nvPr/>
        </p:nvSpPr>
        <p:spPr>
          <a:xfrm>
            <a:off x="265709" y="178359"/>
            <a:ext cx="5659283" cy="26332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МЛЕКЕТТІК САТЫП АЛУ ТӘЖІРИБЕСІ</a:t>
            </a:r>
          </a:p>
        </p:txBody>
      </p: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A6B40CCC-89CF-4283-9EA1-3133771C3176}"/>
              </a:ext>
            </a:extLst>
          </p:cNvPr>
          <p:cNvCxnSpPr>
            <a:cxnSpLocks/>
          </p:cNvCxnSpPr>
          <p:nvPr/>
        </p:nvCxnSpPr>
        <p:spPr>
          <a:xfrm flipV="1">
            <a:off x="0" y="432276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1134C20D-2C68-4074-BD26-C13791BCC56F}"/>
              </a:ext>
            </a:extLst>
          </p:cNvPr>
          <p:cNvSpPr txBox="1"/>
          <p:nvPr/>
        </p:nvSpPr>
        <p:spPr>
          <a:xfrm>
            <a:off x="182037" y="1601827"/>
            <a:ext cx="635110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k-KZ" sz="1050" b="1" dirty="0">
                <a:latin typeface="Arial" panose="020B0604020202020204" pitchFamily="34" charset="0"/>
                <a:cs typeface="Arial" panose="020B0604020202020204" pitchFamily="34" charset="0"/>
              </a:rPr>
              <a:t>Сатып алынған тауарлардың, жұмыстардың, көрсетілетін қызметтердің көлемі </a:t>
            </a:r>
            <a:r>
              <a:rPr lang="kk-KZ" sz="105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kk-KZ" sz="1050" i="1" dirty="0">
                <a:latin typeface="Arial" panose="020B0604020202020204" pitchFamily="34" charset="0"/>
                <a:cs typeface="Arial" panose="020B0604020202020204" pitchFamily="34" charset="0"/>
              </a:rPr>
              <a:t>млн. теңге</a:t>
            </a:r>
            <a:r>
              <a:rPr lang="kk-KZ" sz="105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KZ" sz="105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937E77CC-BA15-4AA7-A21A-1931FCAB9BE9}"/>
              </a:ext>
            </a:extLst>
          </p:cNvPr>
          <p:cNvSpPr/>
          <p:nvPr/>
        </p:nvSpPr>
        <p:spPr>
          <a:xfrm>
            <a:off x="426243" y="7864680"/>
            <a:ext cx="6130967" cy="40011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ты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у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негізгі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ле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ұсыныстар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ұрат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әсілі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ыл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– 50% (101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ты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у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38,22 млн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ңге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. 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C7886315-E4BB-45A0-8662-4039A5678A0D}"/>
              </a:ext>
            </a:extLst>
          </p:cNvPr>
          <p:cNvSpPr/>
          <p:nvPr/>
        </p:nvSpPr>
        <p:spPr>
          <a:xfrm>
            <a:off x="717242" y="4824413"/>
            <a:ext cx="5839967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200" b="0" i="0" u="none" strike="noStrike" kern="1200" spc="0" baseline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r>
              <a:rPr lang="ru-RU" sz="1050" b="1" dirty="0" err="1"/>
              <a:t>Мемлекеттік</a:t>
            </a:r>
            <a:r>
              <a:rPr lang="ru-RU" sz="1050" b="1" dirty="0"/>
              <a:t> </a:t>
            </a:r>
            <a:r>
              <a:rPr lang="ru-RU" sz="1050" b="1" dirty="0" err="1"/>
              <a:t>сатып</a:t>
            </a:r>
            <a:r>
              <a:rPr lang="ru-RU" sz="1050" b="1" dirty="0"/>
              <a:t> </a:t>
            </a:r>
            <a:r>
              <a:rPr lang="ru-RU" sz="1050" b="1" dirty="0" err="1"/>
              <a:t>алуды</a:t>
            </a:r>
            <a:r>
              <a:rPr lang="ru-RU" sz="1050" b="1" dirty="0"/>
              <a:t> </a:t>
            </a:r>
            <a:r>
              <a:rPr lang="ru-RU" sz="1050" b="1" dirty="0" err="1"/>
              <a:t>жүзеге</a:t>
            </a:r>
            <a:r>
              <a:rPr lang="ru-RU" sz="1050" b="1" dirty="0"/>
              <a:t> </a:t>
            </a:r>
            <a:r>
              <a:rPr lang="ru-RU" sz="1050" b="1" dirty="0" err="1"/>
              <a:t>асыру</a:t>
            </a:r>
            <a:r>
              <a:rPr lang="ru-RU" sz="1050" b="1" dirty="0"/>
              <a:t> </a:t>
            </a:r>
            <a:r>
              <a:rPr lang="ru-RU" sz="1050" b="1" dirty="0" err="1"/>
              <a:t>тәсілдері</a:t>
            </a:r>
            <a:endParaRPr lang="ru-RU" sz="1050" b="1" dirty="0"/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39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A73F4E5C-7632-4C3F-9DE8-61E9D9C822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72100" y="8689518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40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1225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5" name="Таблица 7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4879235"/>
              </p:ext>
            </p:extLst>
          </p:nvPr>
        </p:nvGraphicFramePr>
        <p:xfrm>
          <a:off x="242368" y="5820189"/>
          <a:ext cx="6406737" cy="4641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06737">
                  <a:extLst>
                    <a:ext uri="{9D8B030D-6E8A-4147-A177-3AD203B41FA5}">
                      <a16:colId xmlns:a16="http://schemas.microsoft.com/office/drawing/2014/main" val="3030285574"/>
                    </a:ext>
                  </a:extLst>
                </a:gridCol>
              </a:tblGrid>
              <a:tr h="464198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8615307"/>
                  </a:ext>
                </a:extLst>
              </a:tr>
            </a:tbl>
          </a:graphicData>
        </a:graphic>
      </p:graphicFrame>
      <p:sp>
        <p:nvSpPr>
          <p:cNvPr id="6" name="object 8">
            <a:extLst>
              <a:ext uri="{FF2B5EF4-FFF2-40B4-BE49-F238E27FC236}">
                <a16:creationId xmlns:a16="http://schemas.microsoft.com/office/drawing/2014/main" id="{530230C3-9982-47B2-98DC-B58C5CADF9C8}"/>
              </a:ext>
            </a:extLst>
          </p:cNvPr>
          <p:cNvSpPr txBox="1"/>
          <p:nvPr/>
        </p:nvSpPr>
        <p:spPr>
          <a:xfrm>
            <a:off x="114300" y="171449"/>
            <a:ext cx="5835075" cy="261519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ӘУЕКЕЛДЕРДІ БАСҚАРУ ЖҮЙЕСІ</a:t>
            </a:r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B6303416-7C38-47D8-AD64-5633D3672229}"/>
              </a:ext>
            </a:extLst>
          </p:cNvPr>
          <p:cNvCxnSpPr>
            <a:cxnSpLocks/>
          </p:cNvCxnSpPr>
          <p:nvPr/>
        </p:nvCxnSpPr>
        <p:spPr>
          <a:xfrm>
            <a:off x="85786" y="505515"/>
            <a:ext cx="5777804" cy="1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8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40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E3A50C75-7395-4C42-A1F2-7C23DDA00C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72100" y="8689966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41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54AAE3F6-24A9-41AB-B770-0260C4045686}"/>
              </a:ext>
            </a:extLst>
          </p:cNvPr>
          <p:cNvSpPr/>
          <p:nvPr/>
        </p:nvSpPr>
        <p:spPr>
          <a:xfrm>
            <a:off x="242370" y="505515"/>
            <a:ext cx="627091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әуекелдер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сқа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йес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ұд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– ТБЖ)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орпоратив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сқа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йесін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негізгі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омпоненттерін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і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лы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была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lang="ru-KZ" sz="10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83527" y="4292663"/>
            <a:ext cx="640673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ңесін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2024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24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елтоқсанда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шешімім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(№18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хаттам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) ТБЖ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жаттар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екітіл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algn="just">
              <a:spcAft>
                <a:spcPts val="0"/>
              </a:spcAf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ТБЖ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яса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– ТБЖ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ақсаттар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індеттер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принципте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дістер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лп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ұйымдастырылу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процестер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нықтай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algn="just"/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БЖ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режелер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рбір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оцест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ТБЖ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тысушыларыны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ызметі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еттейд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;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әуекелдерд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сқар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оцестері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сыру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ерзімдер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езеңділігін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йқындайды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; 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1" name="Группа 30">
            <a:extLst>
              <a:ext uri="{FF2B5EF4-FFF2-40B4-BE49-F238E27FC236}">
                <a16:creationId xmlns:a16="http://schemas.microsoft.com/office/drawing/2014/main" id="{8E537BFC-2456-42F2-BC0A-DE8FE45499FA}"/>
              </a:ext>
            </a:extLst>
          </p:cNvPr>
          <p:cNvGrpSpPr/>
          <p:nvPr/>
        </p:nvGrpSpPr>
        <p:grpSpPr>
          <a:xfrm>
            <a:off x="242370" y="1626859"/>
            <a:ext cx="2933412" cy="2512955"/>
            <a:chOff x="866042" y="1302231"/>
            <a:chExt cx="4676238" cy="4610483"/>
          </a:xfrm>
        </p:grpSpPr>
        <p:sp>
          <p:nvSpPr>
            <p:cNvPr id="32" name="Овал 31">
              <a:extLst>
                <a:ext uri="{FF2B5EF4-FFF2-40B4-BE49-F238E27FC236}">
                  <a16:creationId xmlns:a16="http://schemas.microsoft.com/office/drawing/2014/main" id="{A1248575-A60E-4E17-B05F-C3AA866A0570}"/>
                </a:ext>
              </a:extLst>
            </p:cNvPr>
            <p:cNvSpPr/>
            <p:nvPr/>
          </p:nvSpPr>
          <p:spPr>
            <a:xfrm>
              <a:off x="866042" y="1302231"/>
              <a:ext cx="4676238" cy="4610483"/>
            </a:xfrm>
            <a:prstGeom prst="ellipse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3" name="Прямоугольник 32">
              <a:extLst>
                <a:ext uri="{FF2B5EF4-FFF2-40B4-BE49-F238E27FC236}">
                  <a16:creationId xmlns:a16="http://schemas.microsoft.com/office/drawing/2014/main" id="{B637BE3C-FD19-40CF-9CD4-1EE63AE88618}"/>
                </a:ext>
              </a:extLst>
            </p:cNvPr>
            <p:cNvSpPr/>
            <p:nvPr/>
          </p:nvSpPr>
          <p:spPr>
            <a:xfrm>
              <a:off x="1893826" y="2211914"/>
              <a:ext cx="2624328" cy="50508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900" b="1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олдану</a:t>
              </a:r>
              <a:r>
                <a:rPr lang="ru-RU" sz="9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900" b="1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ясы</a:t>
              </a:r>
              <a:r>
                <a:rPr lang="ru-RU" sz="9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контекст, </a:t>
              </a:r>
              <a:r>
                <a:rPr lang="ru-RU" sz="900" b="1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ритерийлер</a:t>
              </a:r>
              <a:endParaRPr lang="ru-RU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Прямоугольник 33">
              <a:extLst>
                <a:ext uri="{FF2B5EF4-FFF2-40B4-BE49-F238E27FC236}">
                  <a16:creationId xmlns:a16="http://schemas.microsoft.com/office/drawing/2014/main" id="{B3803F09-917D-409E-8E45-9AB3CECA2ABD}"/>
                </a:ext>
              </a:extLst>
            </p:cNvPr>
            <p:cNvSpPr/>
            <p:nvPr/>
          </p:nvSpPr>
          <p:spPr>
            <a:xfrm>
              <a:off x="1985318" y="2809354"/>
              <a:ext cx="2532834" cy="135988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ru-RU" sz="900" b="1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әуекелдерді</a:t>
              </a:r>
              <a:r>
                <a:rPr lang="ru-RU" sz="9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900" b="1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ағалау</a:t>
              </a:r>
              <a:endParaRPr lang="ru-RU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endParaRPr lang="ru-RU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Стрелка: пятиугольник 8">
              <a:extLst>
                <a:ext uri="{FF2B5EF4-FFF2-40B4-BE49-F238E27FC236}">
                  <a16:creationId xmlns:a16="http://schemas.microsoft.com/office/drawing/2014/main" id="{F58FCBB1-94A7-41FD-BB76-D68CCE249645}"/>
                </a:ext>
              </a:extLst>
            </p:cNvPr>
            <p:cNvSpPr/>
            <p:nvPr/>
          </p:nvSpPr>
          <p:spPr>
            <a:xfrm rot="5400000">
              <a:off x="3129902" y="2064621"/>
              <a:ext cx="246273" cy="2481319"/>
            </a:xfrm>
            <a:prstGeom prst="homePlate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r>
                <a:rPr lang="ru-RU" sz="9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әуекелдерді</a:t>
              </a:r>
              <a:r>
                <a:rPr lang="ru-RU" sz="9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9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нықтау</a:t>
              </a:r>
              <a:endParaRPr lang="ru-RU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Стрелка: пятиугольник 9">
              <a:extLst>
                <a:ext uri="{FF2B5EF4-FFF2-40B4-BE49-F238E27FC236}">
                  <a16:creationId xmlns:a16="http://schemas.microsoft.com/office/drawing/2014/main" id="{70425008-4D7B-44A3-A2DF-BD7192937E35}"/>
                </a:ext>
              </a:extLst>
            </p:cNvPr>
            <p:cNvSpPr/>
            <p:nvPr/>
          </p:nvSpPr>
          <p:spPr>
            <a:xfrm rot="5400000">
              <a:off x="3034010" y="2396918"/>
              <a:ext cx="319502" cy="2416885"/>
            </a:xfrm>
            <a:prstGeom prst="homePlate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r>
                <a:rPr lang="ru-RU" sz="9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әуекелдерд</a:t>
              </a:r>
              <a:r>
                <a:rPr lang="ru-RU" sz="9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9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алдау</a:t>
              </a:r>
              <a:endParaRPr lang="ru-RU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Стрелка: пятиугольник 10">
              <a:extLst>
                <a:ext uri="{FF2B5EF4-FFF2-40B4-BE49-F238E27FC236}">
                  <a16:creationId xmlns:a16="http://schemas.microsoft.com/office/drawing/2014/main" id="{AF638994-E88F-47A9-8D36-519D15A51E3D}"/>
                </a:ext>
              </a:extLst>
            </p:cNvPr>
            <p:cNvSpPr/>
            <p:nvPr/>
          </p:nvSpPr>
          <p:spPr>
            <a:xfrm rot="5400000">
              <a:off x="3034010" y="2716421"/>
              <a:ext cx="319502" cy="2416885"/>
            </a:xfrm>
            <a:prstGeom prst="homePlate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r>
                <a:rPr lang="ru-RU" sz="9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әуекелді</a:t>
              </a:r>
              <a:r>
                <a:rPr lang="ru-RU" sz="9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9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ағалау</a:t>
              </a:r>
              <a:endParaRPr lang="ru-RU" sz="9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8" name="Прямоугольник 37">
              <a:extLst>
                <a:ext uri="{FF2B5EF4-FFF2-40B4-BE49-F238E27FC236}">
                  <a16:creationId xmlns:a16="http://schemas.microsoft.com/office/drawing/2014/main" id="{5FABFE2C-932F-49F3-A6F9-703C6D8BF40A}"/>
                </a:ext>
              </a:extLst>
            </p:cNvPr>
            <p:cNvSpPr/>
            <p:nvPr/>
          </p:nvSpPr>
          <p:spPr>
            <a:xfrm>
              <a:off x="1985319" y="4300001"/>
              <a:ext cx="2624328" cy="39622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900" b="1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әуекелді</a:t>
              </a:r>
              <a:r>
                <a:rPr lang="ru-RU" sz="9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900" b="1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өңдеу</a:t>
              </a:r>
              <a:endParaRPr lang="ru-RU" sz="9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9" name="Стрелка: пятиугольник 12">
              <a:extLst>
                <a:ext uri="{FF2B5EF4-FFF2-40B4-BE49-F238E27FC236}">
                  <a16:creationId xmlns:a16="http://schemas.microsoft.com/office/drawing/2014/main" id="{AD29254C-BB48-4AF0-BD8E-348CBEC8AA2F}"/>
                </a:ext>
              </a:extLst>
            </p:cNvPr>
            <p:cNvSpPr/>
            <p:nvPr/>
          </p:nvSpPr>
          <p:spPr>
            <a:xfrm rot="16200000">
              <a:off x="2861261" y="3825428"/>
              <a:ext cx="685800" cy="2416885"/>
            </a:xfrm>
            <a:prstGeom prst="homePlate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ҰЖАТТАМА ЖӘНЕ ЕСЕПТІЛІК </a:t>
              </a:r>
            </a:p>
          </p:txBody>
        </p:sp>
        <p:sp>
          <p:nvSpPr>
            <p:cNvPr id="40" name="Стрелка: пятиугольник 14">
              <a:extLst>
                <a:ext uri="{FF2B5EF4-FFF2-40B4-BE49-F238E27FC236}">
                  <a16:creationId xmlns:a16="http://schemas.microsoft.com/office/drawing/2014/main" id="{488AD743-453E-4714-A91C-B6E6B2DBDBFF}"/>
                </a:ext>
              </a:extLst>
            </p:cNvPr>
            <p:cNvSpPr/>
            <p:nvPr/>
          </p:nvSpPr>
          <p:spPr>
            <a:xfrm>
              <a:off x="1024613" y="2471561"/>
              <a:ext cx="823465" cy="2190415"/>
            </a:xfrm>
            <a:prstGeom prst="homePlate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ОММУНИКАЦИЯЛАР ЖӘНЕ КОНСУЛЬТАЦИЯР</a:t>
              </a:r>
            </a:p>
          </p:txBody>
        </p:sp>
        <p:sp>
          <p:nvSpPr>
            <p:cNvPr id="41" name="Стрелка: пятиугольник 15">
              <a:extLst>
                <a:ext uri="{FF2B5EF4-FFF2-40B4-BE49-F238E27FC236}">
                  <a16:creationId xmlns:a16="http://schemas.microsoft.com/office/drawing/2014/main" id="{EB2922D2-2D9D-4BC6-B958-F82A6D62D2D6}"/>
                </a:ext>
              </a:extLst>
            </p:cNvPr>
            <p:cNvSpPr/>
            <p:nvPr/>
          </p:nvSpPr>
          <p:spPr>
            <a:xfrm rot="10800000">
              <a:off x="4563900" y="2574274"/>
              <a:ext cx="685799" cy="1965423"/>
            </a:xfrm>
            <a:prstGeom prst="homePlate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ОНИТОРИНГ ЖӘНЕ ТАЛДАУ</a:t>
              </a:r>
            </a:p>
          </p:txBody>
        </p:sp>
        <p:sp>
          <p:nvSpPr>
            <p:cNvPr id="42" name="Стрелка: вниз 16">
              <a:extLst>
                <a:ext uri="{FF2B5EF4-FFF2-40B4-BE49-F238E27FC236}">
                  <a16:creationId xmlns:a16="http://schemas.microsoft.com/office/drawing/2014/main" id="{73245121-0594-43D2-9838-E00B0592F126}"/>
                </a:ext>
              </a:extLst>
            </p:cNvPr>
            <p:cNvSpPr/>
            <p:nvPr/>
          </p:nvSpPr>
          <p:spPr>
            <a:xfrm rot="18141285">
              <a:off x="4650655" y="2336942"/>
              <a:ext cx="125465" cy="321724"/>
            </a:xfrm>
            <a:prstGeom prst="downArrow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3" name="Стрелка: вниз 17">
              <a:extLst>
                <a:ext uri="{FF2B5EF4-FFF2-40B4-BE49-F238E27FC236}">
                  <a16:creationId xmlns:a16="http://schemas.microsoft.com/office/drawing/2014/main" id="{64ADDAB8-2378-4E48-A65E-3D062F2BFE4A}"/>
                </a:ext>
              </a:extLst>
            </p:cNvPr>
            <p:cNvSpPr/>
            <p:nvPr/>
          </p:nvSpPr>
          <p:spPr>
            <a:xfrm rot="3364055">
              <a:off x="4669652" y="4666295"/>
              <a:ext cx="125465" cy="321724"/>
            </a:xfrm>
            <a:prstGeom prst="downArrow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4" name="Стрелка: вниз 18">
              <a:extLst>
                <a:ext uri="{FF2B5EF4-FFF2-40B4-BE49-F238E27FC236}">
                  <a16:creationId xmlns:a16="http://schemas.microsoft.com/office/drawing/2014/main" id="{2A8372E0-BD24-4B37-AC14-2F746A9E6A72}"/>
                </a:ext>
              </a:extLst>
            </p:cNvPr>
            <p:cNvSpPr/>
            <p:nvPr/>
          </p:nvSpPr>
          <p:spPr>
            <a:xfrm rot="8120974">
              <a:off x="1673415" y="4666293"/>
              <a:ext cx="125465" cy="321724"/>
            </a:xfrm>
            <a:prstGeom prst="downArrow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5" name="Стрелка: вниз 19">
              <a:extLst>
                <a:ext uri="{FF2B5EF4-FFF2-40B4-BE49-F238E27FC236}">
                  <a16:creationId xmlns:a16="http://schemas.microsoft.com/office/drawing/2014/main" id="{D943CF1B-1DA5-4F1F-A06A-4B5CC4D6A1D7}"/>
                </a:ext>
              </a:extLst>
            </p:cNvPr>
            <p:cNvSpPr/>
            <p:nvPr/>
          </p:nvSpPr>
          <p:spPr>
            <a:xfrm rot="14324886">
              <a:off x="1625714" y="2324701"/>
              <a:ext cx="125465" cy="321724"/>
            </a:xfrm>
            <a:prstGeom prst="downArrow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46" name="Заголовок 13">
            <a:extLst>
              <a:ext uri="{FF2B5EF4-FFF2-40B4-BE49-F238E27FC236}">
                <a16:creationId xmlns:a16="http://schemas.microsoft.com/office/drawing/2014/main" id="{D0EF8774-B794-E24B-A28F-DC9773D8432C}"/>
              </a:ext>
            </a:extLst>
          </p:cNvPr>
          <p:cNvSpPr txBox="1">
            <a:spLocks/>
          </p:cNvSpPr>
          <p:nvPr/>
        </p:nvSpPr>
        <p:spPr>
          <a:xfrm>
            <a:off x="451691" y="945907"/>
            <a:ext cx="5190437" cy="1661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kk-KZ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kk-KZ" sz="1200" dirty="0">
                <a:latin typeface="Arial" panose="020B0604020202020204" pitchFamily="34" charset="0"/>
                <a:cs typeface="Arial" panose="020B0604020202020204" pitchFamily="34" charset="0"/>
              </a:rPr>
              <a:t>МӘСҚ» АҚ т</a:t>
            </a:r>
            <a:r>
              <a:rPr lang="ru-RU" sz="1200" dirty="0" err="1">
                <a:latin typeface="Arial" panose="020B0604020202020204" pitchFamily="34" charset="0"/>
                <a:cs typeface="Arial" panose="020B0604020202020204" pitchFamily="34" charset="0"/>
              </a:rPr>
              <a:t>әуекелдерді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latin typeface="Arial" panose="020B0604020202020204" pitchFamily="34" charset="0"/>
                <a:cs typeface="Arial" panose="020B0604020202020204" pitchFamily="34" charset="0"/>
              </a:rPr>
              <a:t>басқару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latin typeface="Arial" panose="020B0604020202020204" pitchFamily="34" charset="0"/>
                <a:cs typeface="Arial" panose="020B0604020202020204" pitchFamily="34" charset="0"/>
              </a:rPr>
              <a:t>жүйесі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 (ТБЖ)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5D82BF5A-4BBA-47ED-A856-8E1F207D1AC7}"/>
              </a:ext>
            </a:extLst>
          </p:cNvPr>
          <p:cNvSpPr txBox="1"/>
          <p:nvPr/>
        </p:nvSpPr>
        <p:spPr>
          <a:xfrm>
            <a:off x="451690" y="1223073"/>
            <a:ext cx="276015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400"/>
              </a:spcAft>
            </a:pPr>
            <a:r>
              <a:rPr lang="ru-RU" sz="1000" b="1" dirty="0">
                <a:solidFill>
                  <a:srgbClr val="1568E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БЖ </a:t>
            </a:r>
            <a:r>
              <a:rPr lang="ru-RU" sz="1000" b="1" dirty="0" err="1">
                <a:solidFill>
                  <a:srgbClr val="1568E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цестері</a:t>
            </a:r>
            <a:endParaRPr lang="ru-RU" sz="1000" b="1" dirty="0">
              <a:solidFill>
                <a:srgbClr val="24283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BDA1ACB-7528-45E7-8CEF-869A450F17D2}"/>
              </a:ext>
            </a:extLst>
          </p:cNvPr>
          <p:cNvSpPr txBox="1"/>
          <p:nvPr/>
        </p:nvSpPr>
        <p:spPr>
          <a:xfrm>
            <a:off x="3211850" y="1201557"/>
            <a:ext cx="343725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400"/>
              </a:spcAft>
            </a:pPr>
            <a:r>
              <a:rPr lang="ru-RU" sz="10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БЖ </a:t>
            </a:r>
            <a:r>
              <a:rPr lang="ru-RU" sz="1000" b="1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гізгі</a:t>
            </a:r>
            <a:r>
              <a:rPr lang="ru-RU" sz="10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індеттер</a:t>
            </a:r>
            <a:r>
              <a:rPr lang="kk-KZ" sz="10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</a:t>
            </a:r>
            <a:r>
              <a:rPr lang="ru-RU" sz="1000" b="1" dirty="0">
                <a:solidFill>
                  <a:schemeClr val="accent1"/>
                </a:solidFill>
              </a:rPr>
              <a:t>:</a:t>
            </a:r>
            <a:endParaRPr lang="ru-RU" sz="1000" b="1" dirty="0">
              <a:cs typeface="Gotham Pro Light" panose="02000503030000020004" pitchFamily="2" charset="0"/>
            </a:endParaRPr>
          </a:p>
        </p:txBody>
      </p: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id="{D0719A1C-D8E7-46AA-A2B2-EE1B82E0A80B}"/>
              </a:ext>
            </a:extLst>
          </p:cNvPr>
          <p:cNvSpPr/>
          <p:nvPr/>
        </p:nvSpPr>
        <p:spPr>
          <a:xfrm>
            <a:off x="3486895" y="1531129"/>
            <a:ext cx="3210132" cy="27084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әуекелдер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уақты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нықт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algn="just"/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әуекелдер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сыру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о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ерме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лар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лдар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лай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еңгей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ей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мендет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сқарм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үшелер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ңес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әуекелдер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сқа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әселеле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хабарл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algn="just"/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әуекелдерд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ржы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ұрақтылыққ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тратегия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перация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ақсаттар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еткізу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еделі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сер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қыл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algn="just"/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әуекелдер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сқа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ласында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ішк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норматив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қықт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ктілер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зірг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заман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й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лд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</a:p>
          <a:p>
            <a:pPr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әуекелдер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сқа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әдениет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амыт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та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йтқан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ызметкерлер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қыт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іс-шаралар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рқылы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Управляющая кнопка: далее 49">
            <a:hlinkClick r:id="" action="ppaction://hlinkshowjump?jump=nextslide" highlightClick="1"/>
          </p:cNvPr>
          <p:cNvSpPr/>
          <p:nvPr/>
        </p:nvSpPr>
        <p:spPr>
          <a:xfrm>
            <a:off x="3294185" y="1551124"/>
            <a:ext cx="192710" cy="268519"/>
          </a:xfrm>
          <a:prstGeom prst="actionButtonForwardNex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Управляющая кнопка: далее 50">
            <a:hlinkClick r:id="" action="ppaction://hlinkshowjump?jump=nextslide" highlightClick="1"/>
          </p:cNvPr>
          <p:cNvSpPr/>
          <p:nvPr/>
        </p:nvSpPr>
        <p:spPr>
          <a:xfrm>
            <a:off x="3303381" y="1924782"/>
            <a:ext cx="192710" cy="268519"/>
          </a:xfrm>
          <a:prstGeom prst="actionButtonForwardNex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Управляющая кнопка: далее 51">
            <a:hlinkClick r:id="" action="ppaction://hlinkshowjump?jump=nextslide" highlightClick="1"/>
          </p:cNvPr>
          <p:cNvSpPr/>
          <p:nvPr/>
        </p:nvSpPr>
        <p:spPr>
          <a:xfrm>
            <a:off x="3303317" y="2372549"/>
            <a:ext cx="192710" cy="268519"/>
          </a:xfrm>
          <a:prstGeom prst="actionButtonForwardNex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Управляющая кнопка: далее 52">
            <a:hlinkClick r:id="" action="ppaction://hlinkshowjump?jump=nextslide" highlightClick="1"/>
          </p:cNvPr>
          <p:cNvSpPr/>
          <p:nvPr/>
        </p:nvSpPr>
        <p:spPr>
          <a:xfrm>
            <a:off x="3303317" y="2828135"/>
            <a:ext cx="192710" cy="268519"/>
          </a:xfrm>
          <a:prstGeom prst="actionButtonForwardNex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Управляющая кнопка: далее 53">
            <a:hlinkClick r:id="" action="ppaction://hlinkshowjump?jump=nextslide" highlightClick="1"/>
          </p:cNvPr>
          <p:cNvSpPr/>
          <p:nvPr/>
        </p:nvSpPr>
        <p:spPr>
          <a:xfrm>
            <a:off x="3294185" y="3270662"/>
            <a:ext cx="192710" cy="268519"/>
          </a:xfrm>
          <a:prstGeom prst="actionButtonForwardNex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Управляющая кнопка: далее 54">
            <a:hlinkClick r:id="" action="ppaction://hlinkshowjump?jump=nextslide" highlightClick="1"/>
          </p:cNvPr>
          <p:cNvSpPr/>
          <p:nvPr/>
        </p:nvSpPr>
        <p:spPr>
          <a:xfrm>
            <a:off x="3303275" y="3718430"/>
            <a:ext cx="192710" cy="268519"/>
          </a:xfrm>
          <a:prstGeom prst="actionButtonForwardNex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Заголовок 13">
            <a:extLst>
              <a:ext uri="{FF2B5EF4-FFF2-40B4-BE49-F238E27FC236}">
                <a16:creationId xmlns:a16="http://schemas.microsoft.com/office/drawing/2014/main" id="{D0EF8774-B794-E24B-A28F-DC9773D8432C}"/>
              </a:ext>
            </a:extLst>
          </p:cNvPr>
          <p:cNvSpPr txBox="1">
            <a:spLocks/>
          </p:cNvSpPr>
          <p:nvPr/>
        </p:nvSpPr>
        <p:spPr>
          <a:xfrm rot="10800000" flipV="1">
            <a:off x="2533344" y="5345220"/>
            <a:ext cx="2419227" cy="238273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400">
              <a:spcAft>
                <a:spcPts val="400"/>
              </a:spcAft>
            </a:pPr>
            <a:r>
              <a:rPr lang="ru-RU" sz="1000" b="1" dirty="0">
                <a:solidFill>
                  <a:srgbClr val="1568E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БЖ </a:t>
            </a:r>
            <a:r>
              <a:rPr lang="ru-RU" sz="1000" b="1" dirty="0" err="1">
                <a:solidFill>
                  <a:srgbClr val="1568E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ұжаттары</a:t>
            </a:r>
            <a:endParaRPr lang="ru-RU" sz="1000" b="1" dirty="0">
              <a:solidFill>
                <a:srgbClr val="1568E8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5D82BF5A-4BBA-47ED-A856-8E1F207D1AC7}"/>
              </a:ext>
            </a:extLst>
          </p:cNvPr>
          <p:cNvSpPr txBox="1"/>
          <p:nvPr/>
        </p:nvSpPr>
        <p:spPr>
          <a:xfrm rot="10800000" flipV="1">
            <a:off x="341842" y="5554032"/>
            <a:ext cx="254943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000" b="1" dirty="0" err="1">
                <a:solidFill>
                  <a:srgbClr val="1568E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уекелдерді</a:t>
            </a:r>
            <a:r>
              <a:rPr lang="ru-RU" sz="1000" b="1" dirty="0">
                <a:solidFill>
                  <a:srgbClr val="1568E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solidFill>
                  <a:srgbClr val="1568E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қару</a:t>
            </a:r>
            <a:r>
              <a:rPr lang="ru-RU" sz="1000" b="1" dirty="0">
                <a:solidFill>
                  <a:srgbClr val="1568E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solidFill>
                  <a:srgbClr val="1568E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өніндегі</a:t>
            </a:r>
            <a:r>
              <a:rPr lang="ru-RU" sz="1000" b="1" dirty="0">
                <a:solidFill>
                  <a:srgbClr val="1568E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solidFill>
                  <a:srgbClr val="1568E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ясат</a:t>
            </a:r>
            <a:r>
              <a:rPr lang="ru-RU" sz="1000" b="1" dirty="0">
                <a:solidFill>
                  <a:srgbClr val="1568E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000" b="1" dirty="0">
              <a:solidFill>
                <a:srgbClr val="24283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7BDA1ACB-7528-45E7-8CEF-869A450F17D2}"/>
              </a:ext>
            </a:extLst>
          </p:cNvPr>
          <p:cNvSpPr txBox="1"/>
          <p:nvPr/>
        </p:nvSpPr>
        <p:spPr>
          <a:xfrm>
            <a:off x="4018547" y="5554032"/>
            <a:ext cx="183824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400"/>
              </a:spcAft>
            </a:pPr>
            <a:r>
              <a:rPr lang="ru-RU" sz="10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БЖ </a:t>
            </a:r>
            <a:r>
              <a:rPr lang="ru-RU" sz="1000" b="1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ғидалары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1016C590-6269-414B-B701-9B6095F334ED}"/>
              </a:ext>
            </a:extLst>
          </p:cNvPr>
          <p:cNvSpPr txBox="1"/>
          <p:nvPr/>
        </p:nvSpPr>
        <p:spPr>
          <a:xfrm rot="10800000" flipV="1">
            <a:off x="887101" y="5877055"/>
            <a:ext cx="1464728" cy="40011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defTabSz="685800"/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Құқықтық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база</a:t>
            </a:r>
          </a:p>
          <a:p>
            <a:pPr defTabSz="685800"/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Прямоугольник 64">
            <a:extLst>
              <a:ext uri="{FF2B5EF4-FFF2-40B4-BE49-F238E27FC236}">
                <a16:creationId xmlns:a16="http://schemas.microsoft.com/office/drawing/2014/main" id="{F106C3E3-23B7-4212-8D81-2F8CC3462648}"/>
              </a:ext>
            </a:extLst>
          </p:cNvPr>
          <p:cNvSpPr/>
          <p:nvPr/>
        </p:nvSpPr>
        <p:spPr>
          <a:xfrm rot="10800000" flipV="1">
            <a:off x="3486893" y="5808893"/>
            <a:ext cx="315026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>
                <a:srgbClr val="000000"/>
              </a:buClr>
              <a:buSzPts val="1400"/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Республикасы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одексі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buClr>
                <a:srgbClr val="000000"/>
              </a:buClr>
              <a:buSzPts val="1400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«МӘСҚ» АҚ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орпоратив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сқа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одексі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2841835"/>
              </p:ext>
            </p:extLst>
          </p:nvPr>
        </p:nvGraphicFramePr>
        <p:xfrm>
          <a:off x="242371" y="6260472"/>
          <a:ext cx="6694918" cy="1005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67155">
                  <a:extLst>
                    <a:ext uri="{9D8B030D-6E8A-4147-A177-3AD203B41FA5}">
                      <a16:colId xmlns:a16="http://schemas.microsoft.com/office/drawing/2014/main" val="1298111283"/>
                    </a:ext>
                  </a:extLst>
                </a:gridCol>
                <a:gridCol w="2195698">
                  <a:extLst>
                    <a:ext uri="{9D8B030D-6E8A-4147-A177-3AD203B41FA5}">
                      <a16:colId xmlns:a16="http://schemas.microsoft.com/office/drawing/2014/main" val="3566973629"/>
                    </a:ext>
                  </a:extLst>
                </a:gridCol>
                <a:gridCol w="3132065">
                  <a:extLst>
                    <a:ext uri="{9D8B030D-6E8A-4147-A177-3AD203B41FA5}">
                      <a16:colId xmlns:a16="http://schemas.microsoft.com/office/drawing/2014/main" val="498249829"/>
                    </a:ext>
                  </a:extLst>
                </a:gridCol>
              </a:tblGrid>
              <a:tr h="975673">
                <a:tc>
                  <a:txBody>
                    <a:bodyPr/>
                    <a:lstStyle/>
                    <a:p>
                      <a:r>
                        <a:rPr lang="ru-RU" sz="1000" b="1" kern="1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Құжаттың</a:t>
                      </a:r>
                      <a:r>
                        <a:rPr lang="ru-RU" sz="10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kern="1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ақсаттары</a:t>
                      </a:r>
                      <a:r>
                        <a:rPr lang="ru-RU" sz="10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endParaRPr lang="ru-RU" sz="1000" b="1" kern="120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000" b="0" kern="1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ақсаттары</a:t>
                      </a: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000" b="0" kern="1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індеттері</a:t>
                      </a: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000" b="0" kern="1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инциптері</a:t>
                      </a: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kern="1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kern="1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әдістері</a:t>
                      </a: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000" b="0" kern="1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алпы</a:t>
                      </a: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kern="1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ұйымдастыру</a:t>
                      </a: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kern="1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ТБЖ </a:t>
                      </a:r>
                      <a:r>
                        <a:rPr lang="ru-RU" sz="1000" b="0" kern="1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цестері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endParaRPr lang="ru-RU" sz="1000" b="1" kern="120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</a:t>
                      </a:r>
                      <a:r>
                        <a:rPr lang="ru-RU" sz="1000" b="0" kern="1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әр</a:t>
                      </a: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kern="1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цесте</a:t>
                      </a: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ТБЖ </a:t>
                      </a:r>
                      <a:r>
                        <a:rPr lang="ru-RU" sz="1000" b="0" kern="1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қатысушыларының</a:t>
                      </a: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kern="1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қызметін</a:t>
                      </a: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kern="1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егламенттейді</a:t>
                      </a: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;</a:t>
                      </a:r>
                    </a:p>
                    <a:p>
                      <a:pPr algn="just"/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</a:t>
                      </a:r>
                      <a:r>
                        <a:rPr lang="ru-RU" sz="1000" b="0" kern="1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әуекелдерді</a:t>
                      </a: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kern="1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асқару</a:t>
                      </a: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kern="1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ойынша</a:t>
                      </a: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kern="1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цестерді</a:t>
                      </a: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kern="1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үзеге</a:t>
                      </a: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kern="1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сыру</a:t>
                      </a: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kern="1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ерзімдерін</a:t>
                      </a: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kern="1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kern="1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езеңділігін</a:t>
                      </a: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kern="1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нықтайды</a:t>
                      </a: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</a:t>
                      </a:r>
                    </a:p>
                    <a:p>
                      <a:endParaRPr lang="ru-RU" sz="1000" b="1" kern="120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3427663"/>
                  </a:ext>
                </a:extLst>
              </a:tr>
            </a:tbl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6157688"/>
              </p:ext>
            </p:extLst>
          </p:nvPr>
        </p:nvGraphicFramePr>
        <p:xfrm>
          <a:off x="242368" y="7176782"/>
          <a:ext cx="6406737" cy="15131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074">
                  <a:extLst>
                    <a:ext uri="{9D8B030D-6E8A-4147-A177-3AD203B41FA5}">
                      <a16:colId xmlns:a16="http://schemas.microsoft.com/office/drawing/2014/main" val="212854869"/>
                    </a:ext>
                  </a:extLst>
                </a:gridCol>
                <a:gridCol w="2211880">
                  <a:extLst>
                    <a:ext uri="{9D8B030D-6E8A-4147-A177-3AD203B41FA5}">
                      <a16:colId xmlns:a16="http://schemas.microsoft.com/office/drawing/2014/main" val="608260693"/>
                    </a:ext>
                  </a:extLst>
                </a:gridCol>
                <a:gridCol w="3125783">
                  <a:extLst>
                    <a:ext uri="{9D8B030D-6E8A-4147-A177-3AD203B41FA5}">
                      <a16:colId xmlns:a16="http://schemas.microsoft.com/office/drawing/2014/main" val="71860575"/>
                    </a:ext>
                  </a:extLst>
                </a:gridCol>
              </a:tblGrid>
              <a:tr h="1513184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гізгі</a:t>
                      </a:r>
                      <a:r>
                        <a:rPr lang="ru-RU" sz="10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kern="1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ережелер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endParaRPr lang="ru-RU" b="1" dirty="0"/>
                    </a:p>
                  </a:txBody>
                  <a:tcP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БЖ-</a:t>
                      </a:r>
                      <a:r>
                        <a:rPr lang="ru-RU" sz="10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ің</a:t>
                      </a:r>
                      <a:r>
                        <a:rPr lang="ru-RU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қсаты</a:t>
                      </a:r>
                      <a:r>
                        <a:rPr lang="ru-RU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0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індеттері</a:t>
                      </a:r>
                      <a:r>
                        <a:rPr lang="ru-RU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нциптері</a:t>
                      </a:r>
                      <a:endParaRPr lang="ru-RU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just"/>
                      <a:r>
                        <a:rPr lang="ru-RU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БЖ </a:t>
                      </a:r>
                      <a:r>
                        <a:rPr lang="ru-RU" sz="10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ұйымдық</a:t>
                      </a:r>
                      <a:r>
                        <a:rPr lang="ru-RU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ұрылымы</a:t>
                      </a:r>
                      <a:endParaRPr lang="ru-RU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just"/>
                      <a:r>
                        <a:rPr lang="ru-RU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БЖ </a:t>
                      </a:r>
                      <a:r>
                        <a:rPr lang="ru-RU" sz="10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атысушылар</a:t>
                      </a:r>
                      <a:r>
                        <a:rPr lang="ru-RU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лардың</a:t>
                      </a:r>
                      <a:r>
                        <a:rPr lang="ru-RU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ункциялары</a:t>
                      </a:r>
                      <a:endParaRPr lang="ru-RU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just"/>
                      <a:r>
                        <a:rPr lang="ru-RU" sz="10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қпарат</a:t>
                      </a:r>
                      <a:r>
                        <a:rPr lang="ru-RU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ммуникациялар</a:t>
                      </a:r>
                      <a:endParaRPr lang="ru-RU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just"/>
                      <a:r>
                        <a:rPr lang="ru-RU" sz="10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әуекелдерді</a:t>
                      </a:r>
                      <a:r>
                        <a:rPr lang="ru-RU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сқару</a:t>
                      </a:r>
                      <a:r>
                        <a:rPr lang="ru-RU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әдениетін</a:t>
                      </a:r>
                      <a:r>
                        <a:rPr lang="ru-RU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мыту</a:t>
                      </a:r>
                      <a:endParaRPr lang="ru-RU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just"/>
                      <a:r>
                        <a:rPr lang="ru-RU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БЖ </a:t>
                      </a:r>
                      <a:r>
                        <a:rPr lang="ru-RU" sz="10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иімділігін</a:t>
                      </a:r>
                      <a:r>
                        <a:rPr lang="ru-RU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ғалау</a:t>
                      </a:r>
                      <a:endParaRPr lang="ru-RU" dirty="0"/>
                    </a:p>
                  </a:txBody>
                  <a:tcP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0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әуекел</a:t>
                      </a:r>
                      <a:r>
                        <a:rPr lang="ru-RU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наттары</a:t>
                      </a:r>
                      <a:endParaRPr lang="ru-RU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just"/>
                      <a:r>
                        <a:rPr lang="ru-RU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БЖ </a:t>
                      </a:r>
                      <a:r>
                        <a:rPr lang="ru-RU" sz="10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цестері</a:t>
                      </a:r>
                      <a:endParaRPr lang="ru-RU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just"/>
                      <a:r>
                        <a:rPr lang="ru-RU" sz="10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әуекелдерді</a:t>
                      </a:r>
                      <a:r>
                        <a:rPr lang="ru-RU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нықтау</a:t>
                      </a:r>
                      <a:r>
                        <a:rPr lang="ru-RU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ғалау</a:t>
                      </a:r>
                      <a:endParaRPr lang="ru-RU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just"/>
                      <a:r>
                        <a:rPr lang="ru-RU" sz="10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ізілім</a:t>
                      </a:r>
                      <a:r>
                        <a:rPr lang="ru-RU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арта </a:t>
                      </a:r>
                      <a:r>
                        <a:rPr lang="ru-RU" sz="10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әуекелдерін</a:t>
                      </a:r>
                      <a:r>
                        <a:rPr lang="ru-RU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алыптастыру</a:t>
                      </a:r>
                      <a:r>
                        <a:rPr lang="ru-RU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екіту</a:t>
                      </a:r>
                      <a:r>
                        <a:rPr lang="ru-RU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algn="just"/>
                      <a:r>
                        <a:rPr lang="ru-RU" sz="10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әуекелдерді</a:t>
                      </a:r>
                      <a:r>
                        <a:rPr lang="ru-RU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сқару</a:t>
                      </a:r>
                      <a:endParaRPr lang="ru-RU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just"/>
                      <a:r>
                        <a:rPr lang="ru-RU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ониторинг </a:t>
                      </a:r>
                      <a:r>
                        <a:rPr lang="ru-RU" sz="10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септілік</a:t>
                      </a:r>
                      <a:endParaRPr lang="ru-RU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ru-RU" dirty="0"/>
                    </a:p>
                  </a:txBody>
                  <a:tcP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26879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5871432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8">
            <a:extLst>
              <a:ext uri="{FF2B5EF4-FFF2-40B4-BE49-F238E27FC236}">
                <a16:creationId xmlns:a16="http://schemas.microsoft.com/office/drawing/2014/main" id="{530230C3-9982-47B2-98DC-B58C5CADF9C8}"/>
              </a:ext>
            </a:extLst>
          </p:cNvPr>
          <p:cNvSpPr txBox="1"/>
          <p:nvPr/>
        </p:nvSpPr>
        <p:spPr>
          <a:xfrm>
            <a:off x="341521" y="159792"/>
            <a:ext cx="5863589" cy="26332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ӘУЕКЕЛДЕРДІ БАСҚАРУ ЖҮЙЕСІ</a:t>
            </a:r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B6303416-7C38-47D8-AD64-5633D3672229}"/>
              </a:ext>
            </a:extLst>
          </p:cNvPr>
          <p:cNvCxnSpPr>
            <a:cxnSpLocks/>
          </p:cNvCxnSpPr>
          <p:nvPr/>
        </p:nvCxnSpPr>
        <p:spPr>
          <a:xfrm>
            <a:off x="341522" y="432969"/>
            <a:ext cx="5863589" cy="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8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40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E3A50C75-7395-4C42-A1F2-7C23DDA00C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72100" y="8689966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42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53388" y="583990"/>
            <a:ext cx="6246564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әуекелде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ізілім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-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әуекелде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лес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рылымд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қпарат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мтит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иынт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ст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әуекелдерд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тау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әуекелдерд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иппатамас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әуеке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иеле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әуекелдерд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пай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болу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ебепте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факторлар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әуекелдер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іск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сыруд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лат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ықтима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лдарлар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ипаттамас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әуекелдер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сқа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өніндег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іс-шарал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әуекелдер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ғал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algn="just">
              <a:spcAft>
                <a:spcPts val="0"/>
              </a:spcAft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әуеке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артас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-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әуекелдерд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ипаттамас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әуекелде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лар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еңгейі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йланыс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әйек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үр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рналастырыл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графика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ск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үрін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ұсыныл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>
              <a:spcAft>
                <a:spcPts val="0"/>
              </a:spcAf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ТБЖ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істеуін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ғымда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зеңін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оны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процестері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нгіз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шешімде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былд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зін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ғымда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перация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ызметт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ызметкерле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расын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әуекел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ғдарлан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әдениет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амыт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ргізіле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>
              <a:spcAft>
                <a:spcPts val="0"/>
              </a:spcAft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ізілім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әуеке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артасын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әйкес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13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әуеке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нықтал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11" name="Прямоугольник 10"/>
          <p:cNvSpPr/>
          <p:nvPr/>
        </p:nvSpPr>
        <p:spPr>
          <a:xfrm rot="10800000" flipV="1">
            <a:off x="253387" y="4897827"/>
            <a:ext cx="624656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рбі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әуеке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әуекелд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уынд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ықтималдығ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ұста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лу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мендету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ғыттал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іс-шарал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өзделг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әуекелдерд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иеле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йқындал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сеп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зе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ішін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іс-шаралар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рындалуын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мониторинг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ргізіл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</p:txBody>
      </p:sp>
      <p:graphicFrame>
        <p:nvGraphicFramePr>
          <p:cNvPr id="16" name="Диаграмма 15">
            <a:extLst>
              <a:ext uri="{FF2B5EF4-FFF2-40B4-BE49-F238E27FC236}">
                <a16:creationId xmlns:a16="http://schemas.microsoft.com/office/drawing/2014/main" id="{C279F73B-0289-4DF1-93E4-1C990255CE1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04198169"/>
              </p:ext>
            </p:extLst>
          </p:nvPr>
        </p:nvGraphicFramePr>
        <p:xfrm>
          <a:off x="457200" y="2598820"/>
          <a:ext cx="2995864" cy="127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74C26E99-3032-46A4-AC15-C72048E0D389}"/>
              </a:ext>
            </a:extLst>
          </p:cNvPr>
          <p:cNvSpPr txBox="1"/>
          <p:nvPr/>
        </p:nvSpPr>
        <p:spPr>
          <a:xfrm>
            <a:off x="341521" y="2479402"/>
            <a:ext cx="2509964" cy="35907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400"/>
              </a:spcAft>
            </a:pPr>
            <a:r>
              <a:rPr lang="ru-RU" sz="10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МӘСҚ» АҚ </a:t>
            </a:r>
            <a:r>
              <a:rPr lang="ru-RU" sz="1000" b="1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уекелдер</a:t>
            </a:r>
            <a:r>
              <a:rPr lang="ru-RU" sz="10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ртасы</a:t>
            </a:r>
            <a:r>
              <a:rPr lang="ru-RU" sz="10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>
              <a:spcAft>
                <a:spcPts val="400"/>
              </a:spcAft>
            </a:pPr>
            <a:r>
              <a:rPr lang="ru-RU" sz="10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 </a:t>
            </a:r>
            <a:r>
              <a:rPr lang="ru-RU" sz="1000" b="1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уекел</a:t>
            </a:r>
            <a:r>
              <a:rPr lang="ru-RU" sz="10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ықталды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607D686B-438C-4A04-8064-29D8BD6F15A1}"/>
              </a:ext>
            </a:extLst>
          </p:cNvPr>
          <p:cNvSpPr/>
          <p:nvPr/>
        </p:nvSpPr>
        <p:spPr>
          <a:xfrm>
            <a:off x="341522" y="3932604"/>
            <a:ext cx="3111542" cy="8694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Ескертпе</a:t>
            </a:r>
            <a:r>
              <a:rPr lang="ru-RU" sz="1050" i="1" dirty="0"/>
              <a:t>: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негізгі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үлесі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сәйкестендірілген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тәуекелдердің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тиесілі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сары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аймаққа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 балы 9,2),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сәйкес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келетін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 орта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басталу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ықтималдығы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әлеуетті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әсері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Қордың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қызметі</a:t>
            </a:r>
            <a:endParaRPr lang="ru-RU" sz="10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Заголовок 13">
            <a:extLst>
              <a:ext uri="{FF2B5EF4-FFF2-40B4-BE49-F238E27FC236}">
                <a16:creationId xmlns:a16="http://schemas.microsoft.com/office/drawing/2014/main" id="{D0EF8774-B794-E24B-A28F-DC9773D8432C}"/>
              </a:ext>
            </a:extLst>
          </p:cNvPr>
          <p:cNvSpPr txBox="1">
            <a:spLocks/>
          </p:cNvSpPr>
          <p:nvPr/>
        </p:nvSpPr>
        <p:spPr>
          <a:xfrm rot="10800000" flipV="1">
            <a:off x="1263316" y="2215205"/>
            <a:ext cx="4527883" cy="205761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1200" b="1" dirty="0" err="1">
                <a:latin typeface="Arial" panose="020B0604020202020204" pitchFamily="34" charset="0"/>
                <a:cs typeface="Arial" panose="020B0604020202020204" pitchFamily="34" charset="0"/>
              </a:rPr>
              <a:t>Тәуекелдер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latin typeface="Arial" panose="020B0604020202020204" pitchFamily="34" charset="0"/>
                <a:cs typeface="Arial" panose="020B0604020202020204" pitchFamily="34" charset="0"/>
              </a:rPr>
              <a:t>тізілімі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200" b="1" dirty="0" err="1">
                <a:latin typeface="Arial" panose="020B0604020202020204" pitchFamily="34" charset="0"/>
                <a:cs typeface="Arial" panose="020B0604020202020204" pitchFamily="34" charset="0"/>
              </a:rPr>
              <a:t>картасы</a:t>
            </a:r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FCFEB1F-9C2B-4438-B2C3-5D8665917E74}"/>
              </a:ext>
            </a:extLst>
          </p:cNvPr>
          <p:cNvSpPr txBox="1"/>
          <p:nvPr/>
        </p:nvSpPr>
        <p:spPr>
          <a:xfrm rot="10800000" flipV="1">
            <a:off x="3631547" y="2530130"/>
            <a:ext cx="257356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400"/>
              </a:spcAft>
            </a:pPr>
            <a:r>
              <a:rPr lang="ru-RU" sz="1000" b="1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уекелдер</a:t>
            </a:r>
            <a:r>
              <a:rPr lang="ru-RU" sz="10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наттары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1" name="Диаграмма 30">
            <a:extLst>
              <a:ext uri="{FF2B5EF4-FFF2-40B4-BE49-F238E27FC236}">
                <a16:creationId xmlns:a16="http://schemas.microsoft.com/office/drawing/2014/main" id="{BFBF0C4C-157A-4AB5-BAEE-3C8DE064984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52314067"/>
              </p:ext>
            </p:extLst>
          </p:nvPr>
        </p:nvGraphicFramePr>
        <p:xfrm>
          <a:off x="3453063" y="2677474"/>
          <a:ext cx="3046887" cy="12551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32" name="Группа 31">
            <a:extLst>
              <a:ext uri="{FF2B5EF4-FFF2-40B4-BE49-F238E27FC236}">
                <a16:creationId xmlns:a16="http://schemas.microsoft.com/office/drawing/2014/main" id="{73C1381E-2549-421B-BF0A-59A2A3558E5E}"/>
              </a:ext>
            </a:extLst>
          </p:cNvPr>
          <p:cNvGrpSpPr/>
          <p:nvPr/>
        </p:nvGrpSpPr>
        <p:grpSpPr>
          <a:xfrm>
            <a:off x="2490537" y="3874168"/>
            <a:ext cx="3838504" cy="1023662"/>
            <a:chOff x="626849" y="3427751"/>
            <a:chExt cx="3768547" cy="674796"/>
          </a:xfrm>
        </p:grpSpPr>
        <p:pic>
          <p:nvPicPr>
            <p:cNvPr id="33" name="Рисунок 32">
              <a:extLst>
                <a:ext uri="{FF2B5EF4-FFF2-40B4-BE49-F238E27FC236}">
                  <a16:creationId xmlns:a16="http://schemas.microsoft.com/office/drawing/2014/main" id="{ED5D63CA-5877-49CD-8992-633BEB9CFDC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303826" y="3552652"/>
              <a:ext cx="525206" cy="335280"/>
            </a:xfrm>
            <a:prstGeom prst="rect">
              <a:avLst/>
            </a:prstGeom>
          </p:spPr>
        </p:pic>
        <p:graphicFrame>
          <p:nvGraphicFramePr>
            <p:cNvPr id="34" name="Диаграмма 33">
              <a:extLst>
                <a:ext uri="{FF2B5EF4-FFF2-40B4-BE49-F238E27FC236}">
                  <a16:creationId xmlns:a16="http://schemas.microsoft.com/office/drawing/2014/main" id="{C728992E-12EB-449B-AD0B-0B98AA6D4A02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914174846"/>
                </p:ext>
              </p:extLst>
            </p:nvPr>
          </p:nvGraphicFramePr>
          <p:xfrm>
            <a:off x="626849" y="3427751"/>
            <a:ext cx="3768547" cy="67479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</p:grpSp>
      <p:sp>
        <p:nvSpPr>
          <p:cNvPr id="37" name="Заголовок 13">
            <a:extLst>
              <a:ext uri="{FF2B5EF4-FFF2-40B4-BE49-F238E27FC236}">
                <a16:creationId xmlns:a16="http://schemas.microsoft.com/office/drawing/2014/main" id="{D0EF8774-B794-E24B-A28F-DC9773D8432C}"/>
              </a:ext>
            </a:extLst>
          </p:cNvPr>
          <p:cNvSpPr txBox="1">
            <a:spLocks/>
          </p:cNvSpPr>
          <p:nvPr/>
        </p:nvSpPr>
        <p:spPr>
          <a:xfrm rot="10800000" flipV="1">
            <a:off x="457200" y="5659107"/>
            <a:ext cx="6042750" cy="14866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200" b="1" dirty="0" err="1">
                <a:latin typeface="Arial" panose="020B0604020202020204" pitchFamily="34" charset="0"/>
                <a:cs typeface="Arial" panose="020B0604020202020204" pitchFamily="34" charset="0"/>
              </a:rPr>
              <a:t>Жасалды</a:t>
            </a:r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905C714-0935-4161-AE1C-6C60B2D21A0E}"/>
              </a:ext>
            </a:extLst>
          </p:cNvPr>
          <p:cNvSpPr txBox="1"/>
          <p:nvPr/>
        </p:nvSpPr>
        <p:spPr>
          <a:xfrm>
            <a:off x="457199" y="5968458"/>
            <a:ext cx="249053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457200">
              <a:defRPr/>
            </a:pPr>
            <a:r>
              <a:rPr lang="ru-RU" sz="10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-қадам</a:t>
            </a:r>
            <a:endParaRPr kumimoji="0" lang="ru-RU" sz="1000" u="none" strike="noStrike" kern="1200" cap="none" spc="0" normalizeH="0" baseline="0" noProof="0" dirty="0">
              <a:ln>
                <a:noFill/>
              </a:ln>
              <a:solidFill>
                <a:srgbClr val="5E6972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 defTabSz="457200">
              <a:defRPr/>
            </a:pPr>
            <a:r>
              <a:rPr lang="ru-RU" sz="100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тама</a:t>
            </a:r>
            <a:r>
              <a:rPr lang="ru-RU" sz="10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қсаты</a:t>
            </a:r>
            <a:r>
              <a:rPr lang="ru-RU" sz="10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уекел-үйлестірушілер</a:t>
            </a:r>
            <a:r>
              <a:rPr lang="ru-RU" sz="10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дың</a:t>
            </a:r>
            <a:r>
              <a:rPr lang="ru-RU" sz="10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рбір</a:t>
            </a:r>
            <a:r>
              <a:rPr lang="ru-RU" sz="10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ымдық</a:t>
            </a:r>
            <a:r>
              <a:rPr lang="ru-RU" sz="10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өлімшеде</a:t>
            </a:r>
            <a:endParaRPr kumimoji="0" lang="ru-RU" sz="100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FA39D140-B8EF-4BFC-9242-111D3967EFB0}"/>
              </a:ext>
            </a:extLst>
          </p:cNvPr>
          <p:cNvSpPr txBox="1"/>
          <p:nvPr/>
        </p:nvSpPr>
        <p:spPr>
          <a:xfrm rot="10800000" flipV="1">
            <a:off x="457199" y="7132005"/>
            <a:ext cx="2627066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>
              <a:defRPr/>
            </a:pPr>
            <a:r>
              <a:rPr lang="ru-RU" sz="10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-қадам</a:t>
            </a:r>
            <a:endParaRPr kumimoji="0" lang="ru-RU" sz="738" u="none" strike="noStrike" kern="1200" cap="none" spc="0" normalizeH="0" baseline="0" noProof="0" dirty="0">
              <a:ln>
                <a:noFill/>
              </a:ln>
              <a:solidFill>
                <a:srgbClr val="5E6972"/>
              </a:solidFill>
              <a:effectLst/>
              <a:uLnTx/>
              <a:uFillTx/>
              <a:latin typeface="Gotham Pro Light" panose="02000503030000020004" pitchFamily="2" charset="0"/>
              <a:cs typeface="Gotham Pro Light" panose="02000503030000020004" pitchFamily="2" charset="0"/>
            </a:endParaRPr>
          </a:p>
          <a:p>
            <a:pPr algn="just" defTabSz="457200">
              <a:defRPr/>
            </a:pPr>
            <a:r>
              <a:rPr lang="ru-RU" sz="100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дың</a:t>
            </a:r>
            <a:r>
              <a:rPr lang="ru-RU" sz="10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ымдық</a:t>
            </a:r>
            <a:r>
              <a:rPr lang="ru-RU" sz="10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өлімшелерімен</a:t>
            </a:r>
            <a:r>
              <a:rPr lang="ru-RU" sz="10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қырыптық</a:t>
            </a:r>
            <a:r>
              <a:rPr lang="ru-RU" sz="10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қу</a:t>
            </a:r>
            <a:r>
              <a:rPr lang="ru-RU" sz="10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десулер</a:t>
            </a:r>
            <a:r>
              <a:rPr lang="ru-RU" sz="10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лқылаулар</a:t>
            </a:r>
            <a:r>
              <a:rPr lang="ru-RU" sz="10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рматында</a:t>
            </a:r>
            <a:r>
              <a:rPr lang="ru-RU" sz="10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ұхбат</a:t>
            </a:r>
            <a:r>
              <a:rPr lang="ru-RU" sz="10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кізілді</a:t>
            </a:r>
            <a:endParaRPr lang="ru-RU" sz="1000" b="1" dirty="0"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CB7F07F-0CF5-4DA4-B28C-6575FA960017}"/>
              </a:ext>
            </a:extLst>
          </p:cNvPr>
          <p:cNvSpPr txBox="1"/>
          <p:nvPr/>
        </p:nvSpPr>
        <p:spPr>
          <a:xfrm rot="10800000" flipV="1">
            <a:off x="3163264" y="5968458"/>
            <a:ext cx="314067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>
              <a:defRPr/>
            </a:pPr>
            <a:r>
              <a:rPr lang="ru-RU" sz="10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-қадам</a:t>
            </a:r>
            <a:endParaRPr kumimoji="0" lang="ru-RU" sz="738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Gotham Pro Light" panose="02000503030000020004" pitchFamily="2" charset="0"/>
              <a:cs typeface="Gotham Pro Light" panose="02000503030000020004" pitchFamily="2" charset="0"/>
            </a:endParaRPr>
          </a:p>
          <a:p>
            <a:pPr algn="just" defTabSz="457200">
              <a:defRPr/>
            </a:pPr>
            <a:r>
              <a:rPr lang="ru-RU" sz="100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лдау</a:t>
            </a:r>
            <a:r>
              <a:rPr lang="ru-RU" sz="10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ыстағы</a:t>
            </a:r>
            <a:r>
              <a:rPr lang="ru-RU" sz="10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ІНҚ бизнес-</a:t>
            </a:r>
            <a:r>
              <a:rPr lang="ru-RU" sz="100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цестерінің</a:t>
            </a:r>
            <a:r>
              <a:rPr lang="ru-RU" sz="10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дың</a:t>
            </a:r>
            <a:r>
              <a:rPr lang="ru-RU" sz="10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ылып</a:t>
            </a:r>
            <a:r>
              <a:rPr lang="ru-RU" sz="10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рген</a:t>
            </a:r>
            <a:r>
              <a:rPr lang="ru-RU" sz="10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ерациялық</a:t>
            </a:r>
            <a:r>
              <a:rPr lang="ru-RU" sz="10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спарды</a:t>
            </a:r>
            <a:r>
              <a:rPr lang="ru-RU" sz="10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спарларын</a:t>
            </a:r>
            <a:r>
              <a:rPr lang="ru-RU" sz="10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зету</a:t>
            </a:r>
            <a:r>
              <a:rPr lang="ru-RU" sz="10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с-шараларының</a:t>
            </a:r>
            <a:r>
              <a:rPr lang="ru-RU" sz="10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әтижелері</a:t>
            </a:r>
            <a:r>
              <a:rPr lang="ru-RU" sz="10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серу</a:t>
            </a:r>
            <a:r>
              <a:rPr lang="ru-RU" sz="10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удит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F1B9D075-6290-457C-A266-E7CC4236F41D}"/>
              </a:ext>
            </a:extLst>
          </p:cNvPr>
          <p:cNvSpPr txBox="1"/>
          <p:nvPr/>
        </p:nvSpPr>
        <p:spPr>
          <a:xfrm rot="10800000" flipV="1">
            <a:off x="3296652" y="7219643"/>
            <a:ext cx="329665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>
              <a:defRPr/>
            </a:pPr>
            <a:r>
              <a:rPr lang="ru-RU" sz="10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-қадам</a:t>
            </a:r>
            <a:endParaRPr kumimoji="0" lang="ru-RU" sz="738" u="none" strike="noStrike" kern="1200" cap="none" spc="0" normalizeH="0" baseline="0" noProof="0" dirty="0">
              <a:ln>
                <a:noFill/>
              </a:ln>
              <a:solidFill>
                <a:srgbClr val="5E6972"/>
              </a:solidFill>
              <a:effectLst/>
              <a:uLnTx/>
              <a:uFillTx/>
              <a:latin typeface="Gotham Pro Light" panose="02000503030000020004" pitchFamily="2" charset="0"/>
              <a:cs typeface="Gotham Pro Light" panose="02000503030000020004" pitchFamily="2" charset="0"/>
            </a:endParaRPr>
          </a:p>
          <a:p>
            <a:pPr algn="just" defTabSz="457200">
              <a:defRPr/>
            </a:pPr>
            <a:r>
              <a:rPr lang="ru-RU" sz="100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дың</a:t>
            </a:r>
            <a:r>
              <a:rPr lang="ru-RU" sz="10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кітілген</a:t>
            </a:r>
            <a:r>
              <a:rPr lang="ru-RU" sz="10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уекелдер</a:t>
            </a:r>
            <a:r>
              <a:rPr lang="ru-RU" sz="10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ізілімі</a:t>
            </a:r>
            <a:r>
              <a:rPr lang="ru-RU" sz="10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ртасы</a:t>
            </a:r>
            <a:endParaRPr lang="ru-RU" sz="1000" dirty="0"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8B9538D5-8D77-4815-92B3-0FCE49A2C544}"/>
              </a:ext>
            </a:extLst>
          </p:cNvPr>
          <p:cNvSpPr txBox="1"/>
          <p:nvPr/>
        </p:nvSpPr>
        <p:spPr>
          <a:xfrm rot="10800000" flipV="1">
            <a:off x="1780674" y="8124910"/>
            <a:ext cx="369369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>
              <a:defRPr/>
            </a:pPr>
            <a:r>
              <a:rPr lang="ru-RU" sz="10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-қадам</a:t>
            </a:r>
            <a:endParaRPr kumimoji="0" lang="ru-RU" sz="738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Gotham Pro Light" panose="02000503030000020004" pitchFamily="2" charset="0"/>
              <a:cs typeface="Gotham Pro Light" panose="02000503030000020004" pitchFamily="2" charset="0"/>
            </a:endParaRPr>
          </a:p>
          <a:p>
            <a:pPr algn="just" defTabSz="457200">
              <a:defRPr/>
            </a:pPr>
            <a:r>
              <a:rPr lang="ru-RU" sz="100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уекелдерді</a:t>
            </a:r>
            <a:r>
              <a:rPr lang="ru-RU" sz="10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қару</a:t>
            </a:r>
            <a:r>
              <a:rPr lang="ru-RU" sz="10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йесінің</a:t>
            </a:r>
            <a:r>
              <a:rPr lang="ru-RU" sz="10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кітілген</a:t>
            </a:r>
            <a:r>
              <a:rPr lang="ru-RU" sz="10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ғидалары</a:t>
            </a:r>
            <a:r>
              <a:rPr lang="ru-RU" sz="10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ru-RU" sz="100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ясаты</a:t>
            </a:r>
            <a:r>
              <a:rPr lang="ru-RU" sz="10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4731923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B6303416-7C38-47D8-AD64-5633D3672229}"/>
              </a:ext>
            </a:extLst>
          </p:cNvPr>
          <p:cNvCxnSpPr>
            <a:cxnSpLocks/>
          </p:cNvCxnSpPr>
          <p:nvPr/>
        </p:nvCxnSpPr>
        <p:spPr>
          <a:xfrm>
            <a:off x="85786" y="505515"/>
            <a:ext cx="5777804" cy="1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8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40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Объект 17"/>
          <p:cNvSpPr>
            <a:spLocks noGrp="1"/>
          </p:cNvSpPr>
          <p:nvPr>
            <p:ph idx="1"/>
          </p:nvPr>
        </p:nvSpPr>
        <p:spPr>
          <a:xfrm>
            <a:off x="247004" y="1026007"/>
            <a:ext cx="6268096" cy="745600"/>
          </a:xfrm>
        </p:spPr>
        <p:txBody>
          <a:bodyPr>
            <a:noAutofit/>
          </a:bodyPr>
          <a:lstStyle/>
          <a:p>
            <a:pPr marL="0" indent="182563" algn="just">
              <a:buNone/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экология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уапкершілікт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аңыздылығ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үсіне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лес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стамал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рқы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ша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рта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сер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зайту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ырыса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E3A50C75-7395-4C42-A1F2-7C23DDA00C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43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object 8">
            <a:extLst>
              <a:ext uri="{FF2B5EF4-FFF2-40B4-BE49-F238E27FC236}">
                <a16:creationId xmlns:a16="http://schemas.microsoft.com/office/drawing/2014/main" id="{530230C3-9982-47B2-98DC-B58C5CADF9C8}"/>
              </a:ext>
            </a:extLst>
          </p:cNvPr>
          <p:cNvSpPr txBox="1"/>
          <p:nvPr/>
        </p:nvSpPr>
        <p:spPr>
          <a:xfrm>
            <a:off x="85786" y="169649"/>
            <a:ext cx="5863589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НЫҚТЫ ДАМУДЫ БАСҚАРУ ЖҮЙЕСІ</a:t>
            </a:r>
          </a:p>
        </p:txBody>
      </p:sp>
      <p:sp>
        <p:nvSpPr>
          <p:cNvPr id="35" name="Заголовок 16"/>
          <p:cNvSpPr txBox="1">
            <a:spLocks/>
          </p:cNvSpPr>
          <p:nvPr/>
        </p:nvSpPr>
        <p:spPr>
          <a:xfrm>
            <a:off x="195911" y="711603"/>
            <a:ext cx="6466177" cy="25232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tabLst>
                <a:tab pos="263525" algn="l"/>
              </a:tabLst>
            </a:pPr>
            <a:r>
              <a:rPr lang="kk-KZ" sz="1000" dirty="0">
                <a:latin typeface="Arial" panose="020B0604020202020204" pitchFamily="34" charset="0"/>
                <a:cs typeface="Arial" panose="020B0604020202020204" pitchFamily="34" charset="0"/>
              </a:rPr>
              <a:t>       Қорда «МӘС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r>
              <a:rPr lang="kk-KZ" sz="1000" dirty="0">
                <a:latin typeface="Arial" panose="020B0604020202020204" pitchFamily="34" charset="0"/>
                <a:cs typeface="Arial" panose="020B0604020202020204" pitchFamily="34" charset="0"/>
              </a:rPr>
              <a:t> АҚ Корпоративтік басқару кодексінде бекітілген орнықты даму қағидаты енгізілуде.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004" y="1789471"/>
            <a:ext cx="1339424" cy="1562430"/>
          </a:xfrm>
          <a:prstGeom prst="rect">
            <a:avLst/>
          </a:prstGeom>
        </p:spPr>
      </p:pic>
      <p:sp>
        <p:nvSpPr>
          <p:cNvPr id="6" name="Скругленный прямоугольник 5"/>
          <p:cNvSpPr/>
          <p:nvPr/>
        </p:nvSpPr>
        <p:spPr>
          <a:xfrm>
            <a:off x="1954530" y="1789471"/>
            <a:ext cx="4308409" cy="120811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2045368" y="1931997"/>
            <a:ext cx="381822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нергетикалық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иімділік</a:t>
            </a:r>
            <a:r>
              <a:rPr lang="en-US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нергия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тынуды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ңтайландыру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нергияның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иімді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бдықтары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ологияларды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у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энергия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тынуды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зайту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ралар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былдау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dirty="0"/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1954530" y="3193578"/>
            <a:ext cx="4308407" cy="1192727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just" defTabSz="685800">
              <a:lnSpc>
                <a:spcPct val="90000"/>
              </a:lnSpc>
              <a:spcBef>
                <a:spcPts val="750"/>
              </a:spcBef>
            </a:pP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цестерді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ифрландыру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знес-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цестерді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томаттандыру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ифрландырылған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шімдерді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у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ғаз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жаттама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лемін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сқарту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зикалық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урстарды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тынуды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зайту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лектрондық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жат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налымын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у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4" name="Скругленный прямоугольник 23"/>
          <p:cNvSpPr/>
          <p:nvPr/>
        </p:nvSpPr>
        <p:spPr>
          <a:xfrm rot="10800000" flipV="1">
            <a:off x="1931667" y="4717795"/>
            <a:ext cx="4331267" cy="1192727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just" defTabSz="685800">
              <a:lnSpc>
                <a:spcPct val="90000"/>
              </a:lnSpc>
              <a:spcBef>
                <a:spcPts val="750"/>
              </a:spcBef>
            </a:pP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урстарды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нықты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қару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ғазды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қа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а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ңсе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алдарын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иімді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у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нымен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тар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арды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ю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1954530" y="6233377"/>
            <a:ext cx="4308406" cy="13180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just" defTabSz="685800">
              <a:lnSpc>
                <a:spcPct val="90000"/>
              </a:lnSpc>
              <a:spcBef>
                <a:spcPts val="750"/>
              </a:spcBef>
            </a:pP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тысу</a:t>
            </a:r>
            <a:r>
              <a:rPr lang="en-US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керлерінің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нында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а,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дан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ыс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рлерде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е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ологиялық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тамаларға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тысуы</a:t>
            </a:r>
            <a:endParaRPr lang="ru-RU" sz="11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292555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Скругленный прямоугольник 14"/>
          <p:cNvSpPr/>
          <p:nvPr/>
        </p:nvSpPr>
        <p:spPr>
          <a:xfrm>
            <a:off x="642937" y="6938010"/>
            <a:ext cx="5306437" cy="186937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B6303416-7C38-47D8-AD64-5633D3672229}"/>
              </a:ext>
            </a:extLst>
          </p:cNvPr>
          <p:cNvCxnSpPr>
            <a:cxnSpLocks/>
          </p:cNvCxnSpPr>
          <p:nvPr/>
        </p:nvCxnSpPr>
        <p:spPr>
          <a:xfrm>
            <a:off x="279141" y="505515"/>
            <a:ext cx="5863588" cy="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8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40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Объект 17"/>
          <p:cNvSpPr>
            <a:spLocks noGrp="1"/>
          </p:cNvSpPr>
          <p:nvPr>
            <p:ph idx="1"/>
          </p:nvPr>
        </p:nvSpPr>
        <p:spPr>
          <a:xfrm rot="10800000" flipV="1">
            <a:off x="765808" y="7043527"/>
            <a:ext cx="5080703" cy="1540403"/>
          </a:xfrm>
        </p:spPr>
        <p:txBody>
          <a:bodyPr>
            <a:noAutofit/>
          </a:bodyPr>
          <a:lstStyle/>
          <a:p>
            <a:pPr marL="0" lvl="0" indent="0" algn="just">
              <a:lnSpc>
                <a:spcPct val="100000"/>
              </a:lnSpc>
              <a:spcBef>
                <a:spcPts val="0"/>
              </a:spcBef>
              <a:buNone/>
              <a:tabLst>
                <a:tab pos="263525" algn="l"/>
                <a:tab pos="628650" algn="l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ңад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былдан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ызметкерле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lvl="0" algn="just">
              <a:lnSpc>
                <a:spcPct val="100000"/>
              </a:lnSpc>
              <a:spcBef>
                <a:spcPts val="0"/>
              </a:spcBef>
              <a:buFontTx/>
              <a:buChar char="-"/>
              <a:tabLst>
                <a:tab pos="457200" algn="l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ыбайлас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емқорлыққ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рс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іс-қимы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"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Заңм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</a:p>
          <a:p>
            <a:pPr lvl="0" algn="just">
              <a:lnSpc>
                <a:spcPct val="100000"/>
              </a:lnSpc>
              <a:spcBef>
                <a:spcPts val="0"/>
              </a:spcBef>
              <a:buFontTx/>
              <a:buChar char="-"/>
              <a:tabLst>
                <a:tab pos="457200" algn="l"/>
              </a:tabLst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орпоратив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сқа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одексім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</a:p>
          <a:p>
            <a:pPr lvl="0" algn="just">
              <a:lnSpc>
                <a:spcPct val="100000"/>
              </a:lnSpc>
              <a:spcBef>
                <a:spcPts val="0"/>
              </a:spcBef>
              <a:buFontTx/>
              <a:buChar char="-"/>
              <a:tabLst>
                <a:tab pos="457200" algn="l"/>
              </a:tabLst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ызметкерлерд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інез-құ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этика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одексім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</a:p>
          <a:p>
            <a:pPr lvl="0" algn="just">
              <a:lnSpc>
                <a:spcPct val="100000"/>
              </a:lnSpc>
              <a:spcBef>
                <a:spcPts val="0"/>
              </a:spcBef>
              <a:buFontTx/>
              <a:buChar char="-"/>
              <a:tabLst>
                <a:tab pos="457200" algn="l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МӘСҚ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лауазым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ұлғалар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ызметкерлерін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үдделе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қтығыс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ретте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яса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</a:p>
          <a:p>
            <a:pPr lvl="0" algn="just">
              <a:lnSpc>
                <a:spcPct val="100000"/>
              </a:lnSpc>
              <a:spcBef>
                <a:spcPts val="0"/>
              </a:spcBef>
              <a:buFontTx/>
              <a:buChar char="-"/>
              <a:tabLst>
                <a:tab pos="457200" algn="l"/>
              </a:tabLst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ңбе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уіпсіздіг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ңбек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ғ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ондай-а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қпаратт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уіпсізд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әселеле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өніндег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жаттарм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ныс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ірісп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нұсқау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растырыл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0" lvl="0" indent="0">
              <a:lnSpc>
                <a:spcPct val="107000"/>
              </a:lnSpc>
              <a:spcAft>
                <a:spcPts val="800"/>
              </a:spcAft>
              <a:buNone/>
              <a:tabLst>
                <a:tab pos="457200" algn="l"/>
              </a:tabLst>
            </a:pP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E3A50C75-7395-4C42-A1F2-7C23DDA00C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44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object 8">
            <a:extLst>
              <a:ext uri="{FF2B5EF4-FFF2-40B4-BE49-F238E27FC236}">
                <a16:creationId xmlns:a16="http://schemas.microsoft.com/office/drawing/2014/main" id="{530230C3-9982-47B2-98DC-B58C5CADF9C8}"/>
              </a:ext>
            </a:extLst>
          </p:cNvPr>
          <p:cNvSpPr txBox="1"/>
          <p:nvPr/>
        </p:nvSpPr>
        <p:spPr>
          <a:xfrm>
            <a:off x="250864" y="158370"/>
            <a:ext cx="5863589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НЫҚТЫ ДАМУД</a:t>
            </a:r>
            <a:r>
              <a:rPr lang="kk-KZ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Ы</a:t>
            </a: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БАСҚАРУ ЖҮЙЕСІ</a:t>
            </a:r>
          </a:p>
        </p:txBody>
      </p:sp>
      <p:sp>
        <p:nvSpPr>
          <p:cNvPr id="35" name="Заголовок 16"/>
          <p:cNvSpPr txBox="1">
            <a:spLocks/>
          </p:cNvSpPr>
          <p:nvPr/>
        </p:nvSpPr>
        <p:spPr>
          <a:xfrm>
            <a:off x="187286" y="505515"/>
            <a:ext cx="6422833" cy="50262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610" y="1416902"/>
            <a:ext cx="1600199" cy="1801041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187286" y="608859"/>
            <a:ext cx="614175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tabLst>
                <a:tab pos="182563" algn="l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ұмысшылар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еріктестерд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сқ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да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үддел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раптар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мі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ү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пас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қсарту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ықпа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тет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ғдарламалар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елсен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лдай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ұ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лес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әйкестік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мти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ңбе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тандарттар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стамалар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лд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орпоратив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әдениетт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аму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уіпсіздік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ді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ңбе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ғдайлар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т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2077509" y="1467666"/>
            <a:ext cx="4065220" cy="1819143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274570" y="1525132"/>
            <a:ext cx="3571941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 defTabSz="685800"/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керлердің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қықтар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үдделері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ғау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мбудсмен институты енгізілді: </a:t>
            </a:r>
          </a:p>
          <a:p>
            <a:pPr lvl="0" algn="just" defTabSz="685800"/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керлердің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мбудсменме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зара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с-қимыл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әсім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ІНҚ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зірленд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lvl="0" algn="just" defTabSz="685800">
              <a:tabLst>
                <a:tab pos="177800" algn="l"/>
                <a:tab pos="266700" algn="l"/>
              </a:tabLst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	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қыту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с-шаралар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ргізілд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алдық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мет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уапкершілік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әдениеті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лыптастыруға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ытталға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керлерг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налға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қпараттық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ссиялар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кізілд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171450" indent="-171450" algn="just" defTabSz="685800">
              <a:buFontTx/>
              <a:buChar char="-"/>
              <a:tabLst>
                <a:tab pos="88900" algn="l"/>
                <a:tab pos="177800" algn="l"/>
              </a:tabLst>
            </a:pP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Қызметкерлердің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оральдық-психологиялық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жағдайын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ауалнам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жүргізілді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</a:rPr>
              <a:t>.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dirty="0"/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451703" y="3441396"/>
            <a:ext cx="5877336" cy="1644954"/>
          </a:xfrm>
          <a:prstGeom prst="roundRect">
            <a:avLst>
              <a:gd name="adj" fmla="val 7290"/>
            </a:avLst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defTabSz="685800">
              <a:lnSpc>
                <a:spcPct val="90000"/>
              </a:lnSpc>
              <a:spcBef>
                <a:spcPts val="750"/>
              </a:spcBef>
            </a:pPr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defTabSz="685800">
              <a:lnSpc>
                <a:spcPct val="90000"/>
              </a:lnSpc>
              <a:spcBef>
                <a:spcPts val="750"/>
              </a:spcBef>
            </a:pPr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defTabSz="685800">
              <a:lnSpc>
                <a:spcPct val="90000"/>
              </a:lnSpc>
              <a:spcBef>
                <a:spcPts val="750"/>
              </a:spcBef>
            </a:pPr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defTabSz="446088">
              <a:tabLst>
                <a:tab pos="182563" algn="l"/>
                <a:tab pos="446088" algn="l"/>
                <a:tab pos="892175" algn="l"/>
              </a:tabLst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дың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ғанына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луына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ай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керлерд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териалдық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мес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ынталандыру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lvl="0" defTabSz="685800"/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«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ңбек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дагер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даліме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10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кер</a:t>
            </a:r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defTabSz="685800"/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«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еуметтік-еңбек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асының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здіг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с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лгісіме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- 9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кер</a:t>
            </a:r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defTabSz="685800"/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ңбек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лықт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ғау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стрінің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мет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амотасыме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– 10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кер</a:t>
            </a:r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defTabSz="685800"/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ңбек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лықт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ғау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стрінің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ғыс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тыме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2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кер</a:t>
            </a:r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defTabSz="685800"/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дың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қарма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рағасының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мет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амотасыме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13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ам</a:t>
            </a:r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defTabSz="685800"/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дың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қарма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рағасының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ғыс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тыме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8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ам</a:t>
            </a:r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defTabSz="685800"/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defTabSz="685800">
              <a:lnSpc>
                <a:spcPct val="90000"/>
              </a:lnSpc>
              <a:spcBef>
                <a:spcPts val="750"/>
              </a:spcBef>
            </a:pPr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defTabSz="685800">
              <a:lnSpc>
                <a:spcPct val="90000"/>
              </a:lnSpc>
              <a:spcBef>
                <a:spcPts val="750"/>
              </a:spcBef>
            </a:pPr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 rot="10800000" flipV="1">
            <a:off x="3691890" y="5294737"/>
            <a:ext cx="2631789" cy="1540404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керлердің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рпоративтік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ухы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ығайту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ғау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йес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керлерінің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нін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ЕХӘҚМ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домстволарының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керлер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асында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шахмат, волейбол, футбол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стел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ннис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ртакиадаға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керлерінің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тысты</a:t>
            </a:r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Скругленный прямоугольник 20"/>
          <p:cNvSpPr/>
          <p:nvPr/>
        </p:nvSpPr>
        <p:spPr>
          <a:xfrm rot="10800000" flipV="1">
            <a:off x="451700" y="5294737"/>
            <a:ext cx="3091599" cy="1540403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defTabSz="685800">
              <a:lnSpc>
                <a:spcPct val="90000"/>
              </a:lnSpc>
              <a:spcBef>
                <a:spcPts val="750"/>
              </a:spcBef>
            </a:pPr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defTabSz="720725">
              <a:tabLst>
                <a:tab pos="263525" algn="l"/>
                <a:tab pos="446088" algn="l"/>
              </a:tabLst>
            </a:pP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соналд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әсіби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мыту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:</a:t>
            </a:r>
          </a:p>
          <a:p>
            <a:pPr lvl="0" defTabSz="685800"/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70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ам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ліктілігі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ттыруда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т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lvl="0" defTabSz="685800"/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13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ам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әсіби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ғдылары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ттырд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lvl="0" defTabSz="685800"/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20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ш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рт-техникалық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инимум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лім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д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lvl="0" defTabSz="685800"/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шк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ервтер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біне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0-ден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там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қыту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с-шаралар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кізілд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ctr"/>
            <a:endParaRPr lang="ru-R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752933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B6303416-7C38-47D8-AD64-5633D3672229}"/>
              </a:ext>
            </a:extLst>
          </p:cNvPr>
          <p:cNvCxnSpPr>
            <a:cxnSpLocks/>
          </p:cNvCxnSpPr>
          <p:nvPr/>
        </p:nvCxnSpPr>
        <p:spPr>
          <a:xfrm>
            <a:off x="187286" y="432969"/>
            <a:ext cx="5762088" cy="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8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40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Объект 17"/>
          <p:cNvSpPr>
            <a:spLocks noGrp="1"/>
          </p:cNvSpPr>
          <p:nvPr>
            <p:ph idx="1"/>
          </p:nvPr>
        </p:nvSpPr>
        <p:spPr>
          <a:xfrm flipV="1">
            <a:off x="1751203" y="7272344"/>
            <a:ext cx="2942462" cy="361134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E3A50C75-7395-4C42-A1F2-7C23DDA00C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45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object 8">
            <a:extLst>
              <a:ext uri="{FF2B5EF4-FFF2-40B4-BE49-F238E27FC236}">
                <a16:creationId xmlns:a16="http://schemas.microsoft.com/office/drawing/2014/main" id="{530230C3-9982-47B2-98DC-B58C5CADF9C8}"/>
              </a:ext>
            </a:extLst>
          </p:cNvPr>
          <p:cNvSpPr txBox="1"/>
          <p:nvPr/>
        </p:nvSpPr>
        <p:spPr>
          <a:xfrm>
            <a:off x="85786" y="169649"/>
            <a:ext cx="5863589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НЫҚТЫ ДАМУЫҢ БАСҚАРУ ЖҮЙЕСІ</a:t>
            </a:r>
          </a:p>
        </p:txBody>
      </p:sp>
      <p:sp>
        <p:nvSpPr>
          <p:cNvPr id="35" name="Заголовок 16"/>
          <p:cNvSpPr txBox="1">
            <a:spLocks/>
          </p:cNvSpPr>
          <p:nvPr/>
        </p:nvSpPr>
        <p:spPr>
          <a:xfrm>
            <a:off x="187286" y="505515"/>
            <a:ext cx="6422833" cy="50262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332" y="1234201"/>
            <a:ext cx="1565053" cy="1576401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198303" y="608859"/>
            <a:ext cx="614175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63525" algn="just"/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ғам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орпоратив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сқару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аңыздылығ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үсіне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оны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лес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стамал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рқы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әт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сыру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ту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ырыса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2194352" y="1234201"/>
            <a:ext cx="4100190" cy="999328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308860" y="1358796"/>
            <a:ext cx="387477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 defTabSz="685800">
              <a:lnSpc>
                <a:spcPct val="90000"/>
              </a:lnSpc>
              <a:spcBef>
                <a:spcPts val="750"/>
              </a:spcBef>
            </a:pP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ономикалық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рақтылық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2024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ржы-шаруашы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ызметін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ытындыс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нәтиже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еткіз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лу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ейінг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пай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63 млн.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еңген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ра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383332" y="3425573"/>
            <a:ext cx="2938195" cy="1577477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just" defTabSz="685800">
              <a:lnSpc>
                <a:spcPct val="90000"/>
              </a:lnSpc>
              <a:spcBef>
                <a:spcPts val="750"/>
              </a:spcBef>
            </a:pPr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 defTabSz="685800">
              <a:lnSpc>
                <a:spcPct val="90000"/>
              </a:lnSpc>
              <a:spcBef>
                <a:spcPts val="750"/>
              </a:spcBef>
            </a:pP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қпараттың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шықтығ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lvl="0" algn="just" defTabSz="685800"/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дың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нтернет-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урсында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ҚШҚ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лық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қпарат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рияланад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ым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ыттар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йінд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қиғалар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індетт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йесі</a:t>
            </a:r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 defTabSz="685800"/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«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лектрондық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кімет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рталында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«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шы</a:t>
            </a:r>
            <a:r>
              <a:rPr lang="kk-KZ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иалог», «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шық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әліметтер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</a:p>
          <a:p>
            <a:pPr lvl="0" defTabSz="685800">
              <a:lnSpc>
                <a:spcPct val="90000"/>
              </a:lnSpc>
              <a:spcBef>
                <a:spcPts val="750"/>
              </a:spcBef>
            </a:pPr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3554730" y="3425573"/>
            <a:ext cx="2774309" cy="1577477"/>
          </a:xfrm>
          <a:prstGeom prst="roundRect">
            <a:avLst>
              <a:gd name="adj" fmla="val 10450"/>
            </a:avLst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just" defTabSz="685800">
              <a:lnSpc>
                <a:spcPct val="90000"/>
              </a:lnSpc>
              <a:spcBef>
                <a:spcPts val="750"/>
              </a:spcBef>
            </a:pPr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 defTabSz="685800"/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ыбайлас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мқорлыққа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с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омплаенс-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тің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і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ту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СЖҚК)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шк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удит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тер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ІАҚ),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дың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тқаруш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рганы мен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ымдық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өлімшелерінің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жы-шаруашылық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ін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ерациялар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с-әрекеттерін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қылауд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ырады</a:t>
            </a:r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1" name="Скругленный прямоугольник 20"/>
          <p:cNvSpPr/>
          <p:nvPr/>
        </p:nvSpPr>
        <p:spPr>
          <a:xfrm rot="10800000" flipV="1">
            <a:off x="800100" y="5337485"/>
            <a:ext cx="5383530" cy="1497655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just" defTabSz="685800"/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скерлік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делд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қару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имидж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ясат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:</a:t>
            </a:r>
          </a:p>
          <a:p>
            <a:pPr lvl="0" algn="just" defTabSz="685800"/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рияланымдар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яндамалар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минарлар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шық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ік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ндер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десулер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қыл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лықт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індетт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йес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қпараттандыру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қымд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ргізілді</a:t>
            </a:r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 defTabSz="685800"/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ақстанның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бас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"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уропаның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здік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жірибес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24" ӘҚХА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миясына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тысу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«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басының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ифраландырға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ртас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, «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тердің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ртас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«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лектрондық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ңбек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ржас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ӘҚХА-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ың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лауреат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миясының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мет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амоталарыме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рапатталд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194352" y="2337374"/>
            <a:ext cx="414570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Жарғының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 2-тарауының 6-тармағына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сәйкес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Қор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коммерциялық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емес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ұйым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болып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табылады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, негізгі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мақсаты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ретінде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кіріс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алу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болып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табылмайды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алынған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 таза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кірісті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өз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акционерлері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арасында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бөлмейді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өз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акциялары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дивидендтер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есептемейді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төлемейді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Алынған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пайда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Қор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пайдаланбайтын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бөлінбеген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пайдаға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жинақталады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7" name="Скругленный прямоугольник 16"/>
          <p:cNvSpPr/>
          <p:nvPr/>
        </p:nvSpPr>
        <p:spPr>
          <a:xfrm rot="10800000" flipV="1">
            <a:off x="800097" y="7061199"/>
            <a:ext cx="5383531" cy="1413937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just" defTabSz="685800">
              <a:lnSpc>
                <a:spcPct val="90000"/>
              </a:lnSpc>
              <a:spcBef>
                <a:spcPts val="750"/>
              </a:spcBef>
            </a:pP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уекелдерд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қару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йес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13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уекел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ықталд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рбір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уекел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уекелдің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ындау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ықтималдығы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тап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луға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мендетуг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ытталға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с-шаралар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зделген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уекел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елер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ықталды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lang="ru-R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805279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A7604E1C-6A13-45C6-B925-3AD694412323}"/>
              </a:ext>
            </a:extLst>
          </p:cNvPr>
          <p:cNvSpPr/>
          <p:nvPr/>
        </p:nvSpPr>
        <p:spPr>
          <a:xfrm>
            <a:off x="244806" y="778491"/>
            <a:ext cx="640938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24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МӘСҚ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ерсоналыны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рташ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ізімдік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штат саны </a:t>
            </a: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73,92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  <a:r>
              <a:rPr lang="ru-RU" sz="1000" b="1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ызметкерлерді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ұрад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ны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ішінд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кімшілік-басқару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персоналы 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6,83 </a:t>
            </a:r>
            <a:r>
              <a:rPr lang="ru-RU" sz="1000" b="1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ызметкер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рталық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ппаратты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ндірістік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персоналы -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55,67 </a:t>
            </a:r>
            <a:r>
              <a:rPr lang="ru-RU" sz="1000" b="1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ызметкер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МӘСҚ-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ы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0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ңірдег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персоналы –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91,42 </a:t>
            </a:r>
            <a:r>
              <a:rPr lang="ru-RU" sz="1000" b="1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ызметкер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</a:p>
          <a:p>
            <a:pPr indent="180975" algn="just"/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септ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үнг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адрлар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йналымыны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өрсеткіш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0,9%</a:t>
            </a:r>
            <a:r>
              <a:rPr lang="kk-KZ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ды </a:t>
            </a:r>
            <a:r>
              <a:rPr lang="kk-KZ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ұрайд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йналым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әуекел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орды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ызметін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ері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сері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қылау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ері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серді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зайту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е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ою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шаралары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былдау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орды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әуекелдер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артасын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нгізілге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 . </a:t>
            </a:r>
          </a:p>
        </p:txBody>
      </p: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CDD361B3-D367-404A-AE5B-E4D58521A055}"/>
              </a:ext>
            </a:extLst>
          </p:cNvPr>
          <p:cNvGrpSpPr/>
          <p:nvPr/>
        </p:nvGrpSpPr>
        <p:grpSpPr>
          <a:xfrm>
            <a:off x="550229" y="1843749"/>
            <a:ext cx="5860409" cy="2743995"/>
            <a:chOff x="-109998" y="1574009"/>
            <a:chExt cx="3960697" cy="2171622"/>
          </a:xfrm>
        </p:grpSpPr>
        <p:graphicFrame>
          <p:nvGraphicFramePr>
            <p:cNvPr id="7" name="Диаграмма 6">
              <a:extLst>
                <a:ext uri="{FF2B5EF4-FFF2-40B4-BE49-F238E27FC236}">
                  <a16:creationId xmlns:a16="http://schemas.microsoft.com/office/drawing/2014/main" id="{FB739C34-C760-4D3E-9287-57327E95C099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154700357"/>
                </p:ext>
              </p:extLst>
            </p:nvPr>
          </p:nvGraphicFramePr>
          <p:xfrm>
            <a:off x="-109998" y="1574009"/>
            <a:ext cx="3960697" cy="217162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id="{5DE29C9E-8C00-4736-900E-1561C88252F6}"/>
                </a:ext>
              </a:extLst>
            </p:cNvPr>
            <p:cNvSpPr/>
            <p:nvPr/>
          </p:nvSpPr>
          <p:spPr>
            <a:xfrm>
              <a:off x="-109998" y="1597478"/>
              <a:ext cx="3704106" cy="20095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050" b="1" dirty="0" err="1">
                  <a:solidFill>
                    <a:srgbClr val="00000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Персоналдың</a:t>
              </a:r>
              <a:r>
                <a:rPr lang="ru-RU" sz="1050" b="1" dirty="0">
                  <a:solidFill>
                    <a:srgbClr val="00000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r>
                <a:rPr lang="ru-RU" sz="1050" b="1" dirty="0" err="1">
                  <a:solidFill>
                    <a:srgbClr val="00000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жас</a:t>
              </a:r>
              <a:r>
                <a:rPr lang="ru-RU" sz="1050" b="1" dirty="0">
                  <a:solidFill>
                    <a:srgbClr val="00000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r>
                <a:rPr lang="ru-RU" sz="1050" b="1" dirty="0" err="1">
                  <a:solidFill>
                    <a:srgbClr val="00000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құрылымы</a:t>
              </a:r>
              <a:endParaRPr lang="ru-KZ" sz="105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2" name="object 8">
            <a:extLst>
              <a:ext uri="{FF2B5EF4-FFF2-40B4-BE49-F238E27FC236}">
                <a16:creationId xmlns:a16="http://schemas.microsoft.com/office/drawing/2014/main" id="{18C356BD-E62A-4894-B83C-CAC5A0C94746}"/>
              </a:ext>
            </a:extLst>
          </p:cNvPr>
          <p:cNvSpPr txBox="1"/>
          <p:nvPr/>
        </p:nvSpPr>
        <p:spPr>
          <a:xfrm>
            <a:off x="244806" y="76245"/>
            <a:ext cx="5863589" cy="522365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АДРЛЫҚ ӘЛЕУЕТ,</a:t>
            </a:r>
          </a:p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ДАМИ КАПИТАЛДЫ ДАМЫТУ</a:t>
            </a: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8F2A9858-0562-45E8-84AD-D81FE67A2988}"/>
              </a:ext>
            </a:extLst>
          </p:cNvPr>
          <p:cNvCxnSpPr>
            <a:cxnSpLocks/>
          </p:cNvCxnSpPr>
          <p:nvPr/>
        </p:nvCxnSpPr>
        <p:spPr>
          <a:xfrm>
            <a:off x="85786" y="598610"/>
            <a:ext cx="5863589" cy="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3C674882-A6DF-4FE0-872F-0A9F26FC6E52}"/>
              </a:ext>
            </a:extLst>
          </p:cNvPr>
          <p:cNvSpPr/>
          <p:nvPr/>
        </p:nvSpPr>
        <p:spPr>
          <a:xfrm>
            <a:off x="468630" y="3954780"/>
            <a:ext cx="602360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180975" algn="just"/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ызметкерлерді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өп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айыз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53%) 36-50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натын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тад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рталық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аппарат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ызметкерлеріні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рташ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с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–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41 </a:t>
            </a:r>
            <a:r>
              <a:rPr lang="ru-RU" sz="1000" b="1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филиалдард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– 37 </a:t>
            </a:r>
            <a:r>
              <a:rPr lang="ru-RU" sz="1000" b="1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Гендерлік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ұрғыдан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ор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ызметкерлерінің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68% - ы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йел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дамдард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ұрайды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pPr lvl="0" indent="180975" algn="just"/>
            <a:endParaRPr lang="ru-KZ" sz="10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C9C9F303-49FD-4C59-8BC3-830CEC002172}"/>
              </a:ext>
            </a:extLst>
          </p:cNvPr>
          <p:cNvSpPr/>
          <p:nvPr/>
        </p:nvSpPr>
        <p:spPr>
          <a:xfrm>
            <a:off x="468630" y="4637340"/>
            <a:ext cx="6023608" cy="40934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Орталық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деңгейде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етіледі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: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атериалдық-техника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ту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ызметтерд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уақты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өрсетілу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қыл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ониторингіле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ухгалтерл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сеп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адр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сеп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шығыстар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оспарл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ты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у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ргіз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қпараттық-техника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үйемелдеу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ударымдар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йта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ударымдар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ушілерм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ұмыс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</a:p>
          <a:p>
            <a:pPr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үйлесті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АТЖ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ргізу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үйлестіру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статистика мен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септілік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ргіз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қықт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ту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халықара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ұйымдарм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тратегия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оспарл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ызмет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лдау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ктуар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септе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инвестиция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лд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қықт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ктілер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зірлеу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тысу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Өңірлік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деңгейде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етіле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электронд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іс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акеттер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р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дер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ғайынд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ғайындауд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бас  </a:t>
            </a:r>
          </a:p>
          <a:p>
            <a:pPr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рт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шешімде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былд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лап-арыз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ұмыс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ударымдар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ушілерм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халықп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қпараттық-түсінді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ұмыстары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ек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заң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ұлғалар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тініштер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р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заматтар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былд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й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тысушыларын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ударымдар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й-күй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зғалыс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қпарат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  <a:p>
            <a:pPr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    беру</a:t>
            </a:r>
            <a:r>
              <a:rPr lang="kk-KZ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KZ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39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5367491" y="8701396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46</a:t>
            </a:fld>
            <a:endParaRPr lang="en-US" b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926945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258815" y="553532"/>
            <a:ext cx="3204000" cy="8492068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indent="180975" algn="just">
              <a:lnSpc>
                <a:spcPts val="1100"/>
              </a:lnSpc>
              <a:tabLst>
                <a:tab pos="361950" algn="l"/>
                <a:tab pos="4900613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ӘСҚ 2012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д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та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алық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рғ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ласын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ірыңғай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ясат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у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ақсат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ті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й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алықара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мсызданды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уымдастығ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(МАСО)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олыққан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үше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лы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был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    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2024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аңыз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қи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«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уропа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үзд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әжірибес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2024» ХӘҚҚ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премиясын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тыс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л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йқ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ытындыс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2024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әуі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йын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Португалия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тк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уропа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ңірл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мсызданды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форумын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шығарыл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н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зақстан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үш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обас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: «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тбасы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цифраландырыл</a:t>
            </a:r>
            <a:r>
              <a:rPr lang="kk-KZ" sz="1000" dirty="0">
                <a:latin typeface="Arial" panose="020B0604020202020204" pitchFamily="34" charset="0"/>
                <a:cs typeface="Arial" panose="020B0604020202020204" pitchFamily="34" charset="0"/>
              </a:rPr>
              <a:t>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артас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», «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ызметте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порталы»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«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Электронд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ңбе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иржас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ХӘҚҚ лауреат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премиясы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рмет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грамоталар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быс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тіл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indent="182563" algn="just"/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2024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аусым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Швейцария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(Женева қ.) ХӘҚҚ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ехника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омиссиялары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18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форумы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ұмысын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тыс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Форум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ясын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ХӘҚҚ Бас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хатшыс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арсело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би-Рамия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аэтаном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здес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т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н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зақстан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ясаты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«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-ауқатқ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о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ұжырымдамас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ұсыныл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аэтано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ырз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ұсыныл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ұжырымдама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ризашылығ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ілдірі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ңдал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дамдар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ұрыстығ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та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т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ұжырымдама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ысқа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емонстрацияс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Малайзия, Тунис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зірбайж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кілдері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де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ткізіл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2563" algn="just"/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зірбайж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Республикас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ңбе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халық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ғ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инистрлігін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"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DOST"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ұрақ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еде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мсызданды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генттігін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DOST)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кілде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ғымда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ыркүйе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йын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л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Сапар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рысын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ізд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ра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з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ызме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йты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ер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дер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ғайынд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зін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втоматтанды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әселеле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д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амыт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өніндег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індетте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лқылан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ондай-а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kk-KZ" sz="1000" dirty="0">
                <a:latin typeface="Arial" panose="020B0604020202020204" pitchFamily="34" charset="0"/>
                <a:cs typeface="Arial" panose="020B0604020202020204" pitchFamily="34" charset="0"/>
              </a:rPr>
              <a:t>т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рапт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лп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мсызданды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ласында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әжірибелерім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өліс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оным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т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ызметкерле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халықара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онлайн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іс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шаралар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тыса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әуі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йын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ейнеконференция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режимін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ТМД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емлекеттерін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зейнетақ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рдемақ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йесі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рнал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өңгеле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үсте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ұмысын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тыс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здес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рысын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зейнетақ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лар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сқару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қсарт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збекст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Республикасы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юджетт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ыс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зейнетақ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ы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инвестиция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тратегиялары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иімділіг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ртты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ЖИ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ехнологиялар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лдан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з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де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рнал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дер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у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ұйымдасты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өлігіндег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әселеле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ондай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зейнетақ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рдемақ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йес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втоматтанды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етілді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әселеле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лқылан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9" name="object 8">
            <a:extLst>
              <a:ext uri="{FF2B5EF4-FFF2-40B4-BE49-F238E27FC236}">
                <a16:creationId xmlns:a16="http://schemas.microsoft.com/office/drawing/2014/main" id="{A86AFF8D-225A-4C52-941C-4C7F61302D06}"/>
              </a:ext>
            </a:extLst>
          </p:cNvPr>
          <p:cNvSpPr txBox="1"/>
          <p:nvPr/>
        </p:nvSpPr>
        <p:spPr>
          <a:xfrm>
            <a:off x="85786" y="57195"/>
            <a:ext cx="5863589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АЛЫҚАРАЛЫҚ ЫНТЫМАҚТАСТЫҚ</a:t>
            </a: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88E8272A-3E25-40A6-BDD7-FDCAB38B7855}"/>
              </a:ext>
            </a:extLst>
          </p:cNvPr>
          <p:cNvCxnSpPr>
            <a:cxnSpLocks/>
          </p:cNvCxnSpPr>
          <p:nvPr/>
        </p:nvCxnSpPr>
        <p:spPr>
          <a:xfrm>
            <a:off x="85786" y="320515"/>
            <a:ext cx="5863589" cy="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E24A227D-5DFE-414D-A665-381C1F48D1CD}"/>
              </a:ext>
            </a:extLst>
          </p:cNvPr>
          <p:cNvSpPr/>
          <p:nvPr/>
        </p:nvSpPr>
        <p:spPr>
          <a:xfrm>
            <a:off x="3462815" y="2531164"/>
            <a:ext cx="3166586" cy="5016758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ыркүйе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йын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ХӘҚҚ-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ұйымдасты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сқа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инновациял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өніндег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ехника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омиссиясым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онлайн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здесу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«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мсызданды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екемелер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сқа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рылымдарында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шығармашы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пен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икемділ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рқы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ұрақтылық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ртты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» 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обас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лқыла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з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йын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ұлтт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ғ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генттігім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збекстан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ым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ынтымақтасат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GIZ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һанд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обасым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онлайн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ныс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здесу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т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збе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рап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рнал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негізін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йес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зірле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ақсатын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әжіриб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мас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м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д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ынтымақтастыққ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үдделілік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ілдір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ра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йын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Халықара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зейнетақ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л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уымдасты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зірбайж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Республикасы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ғ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ым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DOST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ірлесі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ұйымдастыр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«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зірбайжанда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дер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иім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сқа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әжіриб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инновация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ынтымақтаст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» онлайн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вебинарын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тыс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тысушыл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зірбайжанда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зейнетақыл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рдемақылар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йелер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ондай-а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DOST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генттігін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ызмет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өрсетудег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инновация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әсілдер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лқыла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    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лп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дың</a:t>
            </a:r>
            <a:r>
              <a:rPr lang="ru-RU" sz="1000">
                <a:latin typeface="Arial" panose="020B0604020202020204" pitchFamily="34" charset="0"/>
                <a:cs typeface="Arial" panose="020B0604020202020204" pitchFamily="34" charset="0"/>
              </a:rPr>
              <a:t> ХӘҚҚ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сқ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да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халықара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ұйымдарм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зар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іс-қимы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зақстан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індет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йес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нығайт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етілді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мсызданды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ласында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з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әжірибен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пайдалан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сым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үмкіндікте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ере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40" y="8807383"/>
            <a:ext cx="535781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FCBC4B5C-1591-4C41-AB83-EFE4C91853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72100" y="8691457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47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7FA9B9A-F045-40C6-B064-94235BB95CAC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0781" y="561886"/>
            <a:ext cx="2877484" cy="1969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06349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8F1EF8-D55F-4EAB-9B5F-B1D632BB5452}"/>
              </a:ext>
            </a:extLst>
          </p:cNvPr>
          <p:cNvSpPr/>
          <p:nvPr/>
        </p:nvSpPr>
        <p:spPr>
          <a:xfrm>
            <a:off x="1" y="-1"/>
            <a:ext cx="6857616" cy="1656000"/>
          </a:xfrm>
          <a:prstGeom prst="rect">
            <a:avLst/>
          </a:prstGeom>
          <a:pattFill prst="pct50">
            <a:fgClr>
              <a:schemeClr val="accent5">
                <a:lumMod val="75000"/>
              </a:schemeClr>
            </a:fgClr>
            <a:bgClr>
              <a:schemeClr val="accent5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A0151CA-4F17-486D-A55B-4FFDBA3708A3}"/>
              </a:ext>
            </a:extLst>
          </p:cNvPr>
          <p:cNvSpPr txBox="1"/>
          <p:nvPr/>
        </p:nvSpPr>
        <p:spPr>
          <a:xfrm>
            <a:off x="2034540" y="102871"/>
            <a:ext cx="4539880" cy="64633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just"/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лар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сінің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рағасы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 </a:t>
            </a: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спубликасы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ңбек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алықты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рғау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вице-</a:t>
            </a: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инистрі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В.В. </a:t>
            </a: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егайдың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ндеуі</a:t>
            </a:r>
            <a:endParaRPr lang="ru-KZ" sz="1400" dirty="0">
              <a:solidFill>
                <a:schemeClr val="bg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C38C736-8D77-41B8-86A9-92B04DCD1E78}"/>
              </a:ext>
            </a:extLst>
          </p:cNvPr>
          <p:cNvSpPr/>
          <p:nvPr/>
        </p:nvSpPr>
        <p:spPr>
          <a:xfrm>
            <a:off x="1632030" y="1650547"/>
            <a:ext cx="368369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04792" algn="ctr"/>
            <a:r>
              <a:rPr lang="ru-RU" sz="1600" b="1" dirty="0" err="1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метті</a:t>
            </a:r>
            <a:r>
              <a:rPr lang="ru-RU" sz="1600" b="1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зақстандықтар</a:t>
            </a:r>
            <a:r>
              <a:rPr lang="ru-RU" sz="1600" b="1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!</a:t>
            </a:r>
            <a:endParaRPr lang="ru-KZ" sz="1467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36FEC471-6839-49EF-9415-FC99EA87C8AC}"/>
              </a:ext>
            </a:extLst>
          </p:cNvPr>
          <p:cNvSpPr/>
          <p:nvPr/>
        </p:nvSpPr>
        <p:spPr>
          <a:xfrm>
            <a:off x="126998" y="1975046"/>
            <a:ext cx="3348000" cy="72000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182563" algn="just">
              <a:tabLst>
                <a:tab pos="536575" algn="l"/>
              </a:tabLst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мсыздандыру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ң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тандарттарын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өш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2004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ы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рылуын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ебе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л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</a:p>
          <a:p>
            <a:pPr indent="182563" algn="just">
              <a:tabLst>
                <a:tab pos="536575" algn="l"/>
              </a:tabLst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тк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рылғанын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20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олу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та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т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ұ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індет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йес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лп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зақстан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мсызданды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лас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өзсіз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аңыз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қи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2563" algn="just">
              <a:tabLst>
                <a:tab pos="536575" algn="l"/>
              </a:tabLst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20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д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ерейтойын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рай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ңбе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халық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ғ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инистрліг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ызметкерлерін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ңбег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та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т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«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ңбе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рдаге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едал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- 10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ызметкер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«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-еңбе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ласы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үздіг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сбелгіс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- 9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ызметкер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ңбе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халық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ғ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инистрін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рмет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грамотас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- 10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ызметкер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ңбе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халық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ғ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инистрін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ғыс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хаты – 2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ызметкер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быстал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2563" algn="just">
              <a:tabLst>
                <a:tab pos="536575" algn="l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Осы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үмкіндік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пайдалан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тыры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ұжымын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рбі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аман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рта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ісіміз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іңірг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ңбег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стамашылды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әсібиліг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дамгершіліг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үсіністіг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зақстандықтар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игіліг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тқар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ңбег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шынай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ғысым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ілдіремін</a:t>
            </a:r>
            <a:r>
              <a:rPr lang="ru-RU" sz="1000" dirty="0"/>
              <a:t>.</a:t>
            </a:r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2563" algn="just">
              <a:tabLst>
                <a:tab pos="536575" algn="l"/>
              </a:tabLst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ысқ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уақыт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ішін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лыптас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зеңін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мелдікк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ет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тысын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ей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үлк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олд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ті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үгін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зақстанда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йесін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і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иім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институтын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йнал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2563" algn="just">
              <a:tabLst>
                <a:tab pos="536575" algn="l"/>
              </a:tabLst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Негізг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індетте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дер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уақты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ғайынд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лар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үздіксіз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ржыланды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заматтар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йес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қпараттанды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үгін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з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ұмыс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лайық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үр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тқары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леді</a:t>
            </a:r>
            <a:r>
              <a:rPr lang="ru-RU" sz="1000" dirty="0"/>
              <a:t>.</a:t>
            </a:r>
          </a:p>
          <a:p>
            <a:pPr indent="182563" algn="just">
              <a:tabLst>
                <a:tab pos="536575" algn="l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2024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шамам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1,4 миллион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уш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д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сым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лд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2563" algn="just">
              <a:tabLst>
                <a:tab pos="536575" algn="l"/>
              </a:tabLst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лан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цифрланды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ясын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дер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ғайындау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тыс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негізг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үдерістер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втоматтанды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пилотт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обан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іск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с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</a:p>
          <a:p>
            <a:pPr indent="182563" algn="just">
              <a:tabLst>
                <a:tab pos="536575" algn="l"/>
              </a:tabLst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об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дер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ғайынд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ғайындауд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бас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рт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йт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септе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оқтат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ұ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оқтат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ияқ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перациялар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втоматтандырыл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режим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өшіру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өздей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Пилотт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еханизм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нгіз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ызметте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өрсет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ерзімдер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ысқарту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лар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шықтығ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рттыру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шешім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былд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зін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дами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фактор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лдырмау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ғыттал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F8D965C5-FEC6-490F-AF4D-2154D91CFF4A}"/>
              </a:ext>
            </a:extLst>
          </p:cNvPr>
          <p:cNvSpPr/>
          <p:nvPr/>
        </p:nvSpPr>
        <p:spPr>
          <a:xfrm>
            <a:off x="3541222" y="1975047"/>
            <a:ext cx="3240000" cy="7325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tabLst>
                <a:tab pos="177800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	</a:t>
            </a:r>
            <a:r>
              <a:rPr lang="ru-RU" sz="1000" dirty="0"/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филиалдар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заматтар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йес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ртықшылықтар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үмкіндікте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елсен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үр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қпараттандыры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ле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ұ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ұмыст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с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ақса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де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заматтар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йесі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рын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ө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рт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</a:p>
          <a:p>
            <a:pPr algn="just">
              <a:tabLst>
                <a:tab pos="177800" algn="l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ржы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рнықтылық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қт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індеттемелер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рындау,бұ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ұрақ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наз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иім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сқару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жет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тет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шен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інде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лы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была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>
              <a:tabLst>
                <a:tab pos="177800" algn="l"/>
              </a:tabLst>
            </a:pPr>
            <a:r>
              <a:rPr lang="ru-RU" sz="1000" dirty="0"/>
              <a:t>     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ғам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үддел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раптар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енім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т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ржы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ызметін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нәтижеле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ұрақ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үр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қпарат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ері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тыр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	</a:t>
            </a:r>
          </a:p>
          <a:p>
            <a:pPr algn="just">
              <a:tabLst>
                <a:tab pos="177800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	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й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кілеттікте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ңейі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ле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йыл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індеттерд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аңыз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да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рты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ты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</a:p>
          <a:p>
            <a:pPr algn="just">
              <a:tabLst>
                <a:tab pos="177800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   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ұ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рлы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ң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ғыттар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үш-жігер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шоғырландыру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уында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әселелер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еде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шешу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ла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те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етістікк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т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ек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йедег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р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ызметкерлерд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әсібиліг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зін-өз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о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рн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ірліг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kk-KZ" sz="1000" dirty="0">
                <a:latin typeface="Arial" panose="020B0604020202020204" pitchFamily="34" charset="0"/>
                <a:cs typeface="Arial" panose="020B0604020202020204" pitchFamily="34" charset="0"/>
              </a:rPr>
              <a:t>арқылы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ған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еткізу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лады</a:t>
            </a:r>
            <a:r>
              <a:rPr lang="ru-RU" sz="1000" dirty="0"/>
              <a:t>. </a:t>
            </a:r>
          </a:p>
          <a:p>
            <a:pPr algn="just">
              <a:tabLst>
                <a:tab pos="177800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  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зірг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уақытт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дын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йесін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параметрлер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д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етілді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ржы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рнықтылығ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нығайт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ызметін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халықара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тандарттарын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әйкестіг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т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індетте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йылған</a:t>
            </a:r>
            <a:r>
              <a:rPr lang="ru-RU" sz="1000" dirty="0"/>
              <a:t>.</a:t>
            </a:r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just">
              <a:tabLst>
                <a:tab pos="177800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  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метті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зақстандықтар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!</a:t>
            </a:r>
          </a:p>
          <a:p>
            <a:pPr algn="just">
              <a:tabLst>
                <a:tab pos="177800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  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йес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істе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рг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заматтар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рналар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өме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жет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тетіндер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йт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өл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рқы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тысушыл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быс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оғалтқ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ғдай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лдау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те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тк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дер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5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әуеке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ү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лп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958 млрд.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өлемін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ржыландыр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</a:p>
          <a:p>
            <a:pPr indent="182563" algn="just"/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рналар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уақыты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ұ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ңбекк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білеттілікт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йырыл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сыраушысын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йырыл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ұмысын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йырыл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ктілікк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сану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ң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у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лан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лалар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сыра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у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бала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і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рым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сқ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олған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ей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үтім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са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ғдайын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ізд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мсыздануыңызд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піл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піл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лы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была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17617" y="8810101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1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49062" y="8810101"/>
            <a:ext cx="412750" cy="263530"/>
          </a:xfrm>
        </p:spPr>
        <p:txBody>
          <a:bodyPr/>
          <a:lstStyle/>
          <a:p>
            <a:r>
              <a:rPr lang="kk-KZ" b="1" dirty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5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3B442139-A917-206B-B3C3-38D47296D0B4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9394" r="2631"/>
          <a:stretch/>
        </p:blipFill>
        <p:spPr>
          <a:xfrm>
            <a:off x="-4969" y="0"/>
            <a:ext cx="1330854" cy="16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6177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8F1EF8-D55F-4EAB-9B5F-B1D632BB5452}"/>
              </a:ext>
            </a:extLst>
          </p:cNvPr>
          <p:cNvSpPr/>
          <p:nvPr/>
        </p:nvSpPr>
        <p:spPr>
          <a:xfrm>
            <a:off x="0" y="-2"/>
            <a:ext cx="6858000" cy="1656000"/>
          </a:xfrm>
          <a:prstGeom prst="rect">
            <a:avLst/>
          </a:prstGeom>
          <a:pattFill prst="pct50">
            <a:fgClr>
              <a:schemeClr val="accent5">
                <a:lumMod val="75000"/>
              </a:schemeClr>
            </a:fgClr>
            <a:bgClr>
              <a:schemeClr val="accent5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A0151CA-4F17-486D-A55B-4FFDBA3708A3}"/>
              </a:ext>
            </a:extLst>
          </p:cNvPr>
          <p:cNvSpPr txBox="1"/>
          <p:nvPr/>
        </p:nvSpPr>
        <p:spPr>
          <a:xfrm>
            <a:off x="2148840" y="91441"/>
            <a:ext cx="4191637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04792"/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«МӘСҚ» АҚ  </a:t>
            </a: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қарма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рағасы</a:t>
            </a:r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                 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А.М.</a:t>
            </a:r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kk-KZ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у</a:t>
            </a: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мановтың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ндеуі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endParaRPr lang="ru-KZ" sz="1400" b="1" dirty="0">
              <a:solidFill>
                <a:schemeClr val="bg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C38C736-8D77-41B8-86A9-92B04DCD1E78}"/>
              </a:ext>
            </a:extLst>
          </p:cNvPr>
          <p:cNvSpPr/>
          <p:nvPr/>
        </p:nvSpPr>
        <p:spPr>
          <a:xfrm>
            <a:off x="1948882" y="1642273"/>
            <a:ext cx="299586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04792" algn="ctr"/>
            <a:r>
              <a:rPr lang="ru-RU" sz="1600" b="1" dirty="0" err="1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метті</a:t>
            </a:r>
            <a:r>
              <a:rPr lang="ru-RU" sz="1600" b="1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заматтар</a:t>
            </a:r>
            <a:r>
              <a:rPr lang="ru-RU" sz="1600" b="1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!</a:t>
            </a:r>
            <a:endParaRPr lang="ru-KZ" sz="16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36FEC471-6839-49EF-9415-FC99EA87C8AC}"/>
              </a:ext>
            </a:extLst>
          </p:cNvPr>
          <p:cNvSpPr/>
          <p:nvPr/>
        </p:nvSpPr>
        <p:spPr>
          <a:xfrm>
            <a:off x="73986" y="2043709"/>
            <a:ext cx="3355014" cy="71711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іздерд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зарларыңыз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р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024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д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б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ұсынам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епт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т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гіз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рсеткіштер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л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еткізу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ғыттал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ыст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рытындылар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індет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йес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амыту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гіз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рдіст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ндай-а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025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нал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оспар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ымдықтар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ол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рсетілг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</a:p>
          <a:p>
            <a:pPr indent="180975" algn="just"/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0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ы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стейт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заматт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рғау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сым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еңгей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т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тыры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зақстан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індет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йес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амыту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аңыз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зғауш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үш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лы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л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ре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</a:p>
          <a:p>
            <a:pPr indent="180975" algn="just"/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р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гіз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індетт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–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арымдар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инақт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әуекелд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уында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з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йе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ысушылары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дер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т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ысп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мтыл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алық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індет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йесі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мту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ейт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қ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ыстар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тқару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4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ркүйе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йын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ҚР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дек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латформа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ысп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мт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керлер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мсыздандыру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ыс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орма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олықтырыл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әтижес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ұл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нат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әуекелд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уында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зде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дер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у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қы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бар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й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ысушылар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амы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ңгізіл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</a:p>
          <a:p>
            <a:pPr indent="180975" algn="just"/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лімізд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р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ңірлер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й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йе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ысушылар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қықтар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қтандыру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инциптер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үсінді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қым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қпаратт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ыст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ргізіле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2024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сындай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3854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і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шара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ргізіл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шен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ыст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әтижес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ысп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мтылғ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алықт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70%-да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там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йесі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тыс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тк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рытындыс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йе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мтыл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еңгей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74,2%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ұр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й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үсет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арымдар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лем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рд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нет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өлемдерд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өлш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ушылар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саны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ты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ле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р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індеттер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і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—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ұза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рзім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ерспектива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індеттемелер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ындау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т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ұл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алықт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рғалу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лп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экономика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ұрақтылығ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ту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аса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аңыз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өл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тқара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B4CFAD0-C44C-4B25-9FFF-472C0FF34C2C}"/>
              </a:ext>
            </a:extLst>
          </p:cNvPr>
          <p:cNvSpPr/>
          <p:nvPr/>
        </p:nvSpPr>
        <p:spPr>
          <a:xfrm>
            <a:off x="3429000" y="2039090"/>
            <a:ext cx="3356810" cy="5170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2563" algn="just"/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арапын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індет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йесін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ржы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рнықтылығ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т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шарал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зең-кезеңім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сырылу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ішін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ударымдар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сқару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етілді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де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мтылғ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indent="182563" algn="just"/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сылай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2024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ударымдар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өл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әселелер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реттейт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норматив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қықт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ктілер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згерісте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нгізіл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Республикасы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өлем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йелері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тысушылар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ISO 20022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халықара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тандартын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і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езгіл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өші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айынд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шаралар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әтт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сырыл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indent="182563" algn="just"/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йен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амытум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т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із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ішк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етілдірулерм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де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істейміз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2024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ірқат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рылымд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реформал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үргізілі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тқаруш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орган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ретін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оллегия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сқа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органы —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сқарм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нгізіл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ұ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орпоратив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сқар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аласында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ұмыст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иімділіг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рттыру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үмкінд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ер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indent="182563" algn="just"/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да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уақытт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з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үш-жігер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ұза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ерзім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зең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рнықт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аму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еңбе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өнімділіг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рттыру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ызметтер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өрсет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бизнес-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процестер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втоматтандыру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ғыттайт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ла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ұ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ызметтерді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үрл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заматт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опта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лжетімділіг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қсартуғ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ғдарламаларымыз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экономикалы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сын-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атерлер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ейімдеу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үмкінді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еред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indent="18256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2024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ызмет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нәтижелер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ытындылай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л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ұжымын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ртақ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іск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ег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әсібиліг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далдығ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лғысымд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ілдірем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Мен осы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іртұтас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оманданың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ұрамынд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олғаным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ақтанамы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ірлесіп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да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әрі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де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үлке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етістіктер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қо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еткізетініміз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енімдімін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40477" y="8798671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60492" y="8798671"/>
            <a:ext cx="412750" cy="263530"/>
          </a:xfrm>
        </p:spPr>
        <p:txBody>
          <a:bodyPr/>
          <a:lstStyle/>
          <a:p>
            <a:r>
              <a:rPr lang="kk-KZ" b="1" dirty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6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2"/>
            <a:ext cx="1656000" cy="16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1075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5A0151CA-4F17-486D-A55B-4FFDBA3708A3}"/>
              </a:ext>
            </a:extLst>
          </p:cNvPr>
          <p:cNvSpPr txBox="1"/>
          <p:nvPr/>
        </p:nvSpPr>
        <p:spPr>
          <a:xfrm>
            <a:off x="559222" y="104310"/>
            <a:ext cx="5883487" cy="61555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сполнение ключевых показателей </a:t>
            </a:r>
          </a:p>
          <a:p>
            <a:pPr algn="ctr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лана развития ГФСС за 2023 год</a:t>
            </a:r>
            <a:endParaRPr lang="ru-KZ" sz="2000" b="1" dirty="0">
              <a:solidFill>
                <a:schemeClr val="bg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260EA6C-E7C9-438A-A850-C2C66A350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366000" y="8475136"/>
            <a:ext cx="3657600" cy="486833"/>
          </a:xfrm>
        </p:spPr>
        <p:txBody>
          <a:bodyPr/>
          <a:lstStyle/>
          <a:p>
            <a:fld id="{1046B996-B622-4B67-A455-51FC79324563}" type="slidenum">
              <a:rPr lang="en-US" smtClean="0">
                <a:solidFill>
                  <a:schemeClr val="bg1"/>
                </a:solidFill>
              </a:rPr>
              <a:pPr/>
              <a:t>7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object 8">
            <a:extLst>
              <a:ext uri="{FF2B5EF4-FFF2-40B4-BE49-F238E27FC236}">
                <a16:creationId xmlns:a16="http://schemas.microsoft.com/office/drawing/2014/main" id="{E99ADF80-703A-4C2F-93F0-42C0E3C04FB8}"/>
              </a:ext>
            </a:extLst>
          </p:cNvPr>
          <p:cNvSpPr txBox="1"/>
          <p:nvPr/>
        </p:nvSpPr>
        <p:spPr>
          <a:xfrm>
            <a:off x="232301" y="109323"/>
            <a:ext cx="6537328" cy="522365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>
            <a:defPPr>
              <a:defRPr lang="en-US"/>
            </a:defPPr>
            <a:lvl1pPr marL="16933">
              <a:spcBef>
                <a:spcPts val="133"/>
              </a:spcBef>
              <a:defRPr sz="1600" b="1" spc="2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МӘСҚ-НЫҢ 2024 ЖЫЛҒА АРНАЛҒАН ДАМУ ЖОСПАРЫНЫ</a:t>
            </a:r>
            <a:r>
              <a:rPr lang="kk-KZ" dirty="0"/>
              <a:t>Ң</a:t>
            </a:r>
            <a:endParaRPr lang="ru-RU" dirty="0"/>
          </a:p>
          <a:p>
            <a:r>
              <a:rPr lang="ru-RU" dirty="0"/>
              <a:t>БАСТЫ КӨРСЕТКІШТЕРІН ОРЫНДАУ</a:t>
            </a: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053511A9-CA85-4FA5-B865-3A47AC78948E}"/>
              </a:ext>
            </a:extLst>
          </p:cNvPr>
          <p:cNvCxnSpPr>
            <a:cxnSpLocks/>
          </p:cNvCxnSpPr>
          <p:nvPr/>
        </p:nvCxnSpPr>
        <p:spPr>
          <a:xfrm flipV="1">
            <a:off x="232301" y="707102"/>
            <a:ext cx="5631289" cy="12761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2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40477" y="8798671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 txBox="1">
            <a:spLocks/>
          </p:cNvSpPr>
          <p:nvPr/>
        </p:nvSpPr>
        <p:spPr>
          <a:xfrm>
            <a:off x="6426202" y="8798671"/>
            <a:ext cx="412750" cy="26353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k-KZ" b="1" dirty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7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4" name="Таблица 13">
            <a:extLst>
              <a:ext uri="{FF2B5EF4-FFF2-40B4-BE49-F238E27FC236}">
                <a16:creationId xmlns:a16="http://schemas.microsoft.com/office/drawing/2014/main" id="{A498AE01-33DC-40A1-BF32-B178CA5480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7011076"/>
              </p:ext>
            </p:extLst>
          </p:nvPr>
        </p:nvGraphicFramePr>
        <p:xfrm>
          <a:off x="388763" y="953388"/>
          <a:ext cx="6172058" cy="7224732"/>
        </p:xfrm>
        <a:graphic>
          <a:graphicData uri="http://schemas.openxmlformats.org/drawingml/2006/table">
            <a:tbl>
              <a:tblPr firstRow="1" firstCol="1" bandRow="1"/>
              <a:tblGrid>
                <a:gridCol w="471849">
                  <a:extLst>
                    <a:ext uri="{9D8B030D-6E8A-4147-A177-3AD203B41FA5}">
                      <a16:colId xmlns:a16="http://schemas.microsoft.com/office/drawing/2014/main" val="1700033711"/>
                    </a:ext>
                  </a:extLst>
                </a:gridCol>
                <a:gridCol w="2552575">
                  <a:extLst>
                    <a:ext uri="{9D8B030D-6E8A-4147-A177-3AD203B41FA5}">
                      <a16:colId xmlns:a16="http://schemas.microsoft.com/office/drawing/2014/main" val="975539595"/>
                    </a:ext>
                  </a:extLst>
                </a:gridCol>
                <a:gridCol w="839911">
                  <a:extLst>
                    <a:ext uri="{9D8B030D-6E8A-4147-A177-3AD203B41FA5}">
                      <a16:colId xmlns:a16="http://schemas.microsoft.com/office/drawing/2014/main" val="3501998398"/>
                    </a:ext>
                  </a:extLst>
                </a:gridCol>
                <a:gridCol w="839911">
                  <a:extLst>
                    <a:ext uri="{9D8B030D-6E8A-4147-A177-3AD203B41FA5}">
                      <a16:colId xmlns:a16="http://schemas.microsoft.com/office/drawing/2014/main" val="2055055988"/>
                    </a:ext>
                  </a:extLst>
                </a:gridCol>
                <a:gridCol w="733906">
                  <a:extLst>
                    <a:ext uri="{9D8B030D-6E8A-4147-A177-3AD203B41FA5}">
                      <a16:colId xmlns:a16="http://schemas.microsoft.com/office/drawing/2014/main" val="2438415788"/>
                    </a:ext>
                  </a:extLst>
                </a:gridCol>
                <a:gridCol w="733906">
                  <a:extLst>
                    <a:ext uri="{9D8B030D-6E8A-4147-A177-3AD203B41FA5}">
                      <a16:colId xmlns:a16="http://schemas.microsoft.com/office/drawing/2014/main" val="2525117730"/>
                    </a:ext>
                  </a:extLst>
                </a:gridCol>
              </a:tblGrid>
              <a:tr h="428474"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№</a:t>
                      </a:r>
                      <a:endParaRPr lang="ru-KZ" sz="10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Басты</a:t>
                      </a:r>
                      <a:r>
                        <a:rPr lang="ru-RU" sz="10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 </a:t>
                      </a:r>
                      <a:r>
                        <a:rPr lang="ru-RU" sz="1000" b="1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көрсеткіш</a:t>
                      </a:r>
                      <a:endParaRPr lang="ru-KZ" sz="10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Жоспар</a:t>
                      </a:r>
                      <a:endParaRPr lang="ru-KZ" sz="10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Факт</a:t>
                      </a:r>
                      <a:endParaRPr lang="ru-KZ" sz="10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000" b="1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Орындалуы</a:t>
                      </a:r>
                      <a:endParaRPr lang="ru-KZ" sz="10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9193485"/>
                  </a:ext>
                </a:extLst>
              </a:tr>
              <a:tr h="828000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Міндетті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әлеуметтік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сақтандыру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жүйесіндегі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жұмыспен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қамтылған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халықтың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үлесі</a:t>
                      </a:r>
                      <a:endParaRPr lang="ru-KZ" sz="1000" i="1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70,6%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74,</a:t>
                      </a:r>
                      <a:r>
                        <a:rPr lang="en-US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05,</a:t>
                      </a:r>
                      <a:r>
                        <a:rPr lang="en-US" sz="1000" b="1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ru-RU" sz="1000" b="1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%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lvl="0" indent="-342900" algn="r">
                        <a:spcAft>
                          <a:spcPts val="0"/>
                        </a:spcAft>
                        <a:buFont typeface="Wingdings" panose="05000000000000000000" pitchFamily="2" charset="2"/>
                        <a:buChar char=""/>
                      </a:pPr>
                      <a:r>
                        <a:rPr lang="ru-RU" sz="1000" b="1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KZ" sz="1000" b="1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0061"/>
                  </a:ext>
                </a:extLst>
              </a:tr>
              <a:tr h="1000258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Белгіленген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іс-шаралар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санына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міндетті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әлеуметтік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сақтандыру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жүйесі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мәселелері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бойынша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өңірлерде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ақпараттық-түсіндіру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жұмысы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бойынша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өткізілген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іс-шаралардың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үлесі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54,16%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54,16 %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lvl="0" indent="-342900" algn="r">
                        <a:spcAft>
                          <a:spcPts val="0"/>
                        </a:spcAft>
                        <a:buFont typeface="Wingdings" panose="05000000000000000000" pitchFamily="2" charset="2"/>
                        <a:buChar char=""/>
                      </a:pPr>
                      <a:r>
                        <a:rPr lang="ru-RU" sz="1000" b="1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KZ" sz="1000" b="1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0275016"/>
                  </a:ext>
                </a:extLst>
              </a:tr>
              <a:tr h="828000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Әлеуметтік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төлемдерді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тағайындау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бойынша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мемлекеттік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қызметті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уақтылы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көрсетудің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үлес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салмағы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99,99%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00 %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lvl="0" indent="-342900" algn="r">
                        <a:spcAft>
                          <a:spcPts val="0"/>
                        </a:spcAft>
                        <a:buFont typeface="Wingdings" panose="05000000000000000000" pitchFamily="2" charset="2"/>
                        <a:buChar char=""/>
                      </a:pPr>
                      <a:r>
                        <a:rPr lang="ru-RU" sz="1000" b="1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KZ" sz="1000" b="1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5276383"/>
                  </a:ext>
                </a:extLst>
              </a:tr>
              <a:tr h="828000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Әлеуметтік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төлемдерді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электрондық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нысанда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тағайындау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бойынша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көрсетілген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мемлекеттік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қызметтердің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үлесі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51%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70,5%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38,2 %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lvl="0" indent="-342900" algn="r">
                        <a:spcAft>
                          <a:spcPts val="0"/>
                        </a:spcAft>
                        <a:buFont typeface="Wingdings" panose="05000000000000000000" pitchFamily="2" charset="2"/>
                        <a:buChar char=""/>
                      </a:pPr>
                      <a:r>
                        <a:rPr lang="ru-RU" sz="1000" b="1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KZ" sz="1000" b="1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2714932"/>
                  </a:ext>
                </a:extLst>
              </a:tr>
              <a:tr h="828000"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Қордан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еңбекке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қабілеттілігінен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айырылған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жағдайда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әлеуметтік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төлемнің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кірісті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алмастыру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коэффициенті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30,8%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34,8</a:t>
                      </a:r>
                      <a:r>
                        <a:rPr lang="en-US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4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13</a:t>
                      </a:r>
                      <a:r>
                        <a:rPr lang="en-US" sz="10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,1</a:t>
                      </a:r>
                      <a:r>
                        <a:rPr lang="ru-RU" sz="10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ru-KZ" sz="10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lvl="0" indent="-342900" algn="r">
                        <a:spcAft>
                          <a:spcPts val="0"/>
                        </a:spcAft>
                        <a:buFont typeface="Wingdings" panose="05000000000000000000" pitchFamily="2" charset="2"/>
                        <a:buChar char=""/>
                      </a:pPr>
                      <a:r>
                        <a:rPr lang="ru-RU" sz="10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KZ" sz="10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1887675"/>
                  </a:ext>
                </a:extLst>
              </a:tr>
              <a:tr h="828000"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Міндетті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әлеуметтік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сақтандыру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жүйесіне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қатысушыларға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әлеуметтік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қамсыздандыру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қызметтерін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ұсыну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ru-KZ" sz="10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"/>
                        <a:tabLst/>
                        <a:defRPr/>
                      </a:pPr>
                      <a:r>
                        <a:rPr lang="ru-RU" sz="10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KZ" sz="10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marL="342900" lvl="0" indent="-342900" algn="r">
                        <a:spcAft>
                          <a:spcPts val="0"/>
                        </a:spcAft>
                        <a:buFont typeface="Wingdings" panose="05000000000000000000" pitchFamily="2" charset="2"/>
                        <a:buChar char=""/>
                      </a:pPr>
                      <a:endParaRPr lang="ru-KZ" sz="10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8714076"/>
                  </a:ext>
                </a:extLst>
              </a:tr>
              <a:tr h="828000"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Директорлар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Кеңесіндегі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әйелдердің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үлесін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кезең-кезеңмен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арттыру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30%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40%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33,3%</a:t>
                      </a: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"/>
                        <a:tabLst/>
                        <a:defRPr/>
                      </a:pPr>
                      <a:r>
                        <a:rPr lang="ru-RU" sz="10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KZ" sz="10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marL="342900" lvl="0" indent="-342900" algn="r">
                        <a:spcAft>
                          <a:spcPts val="0"/>
                        </a:spcAft>
                        <a:buFont typeface="Wingdings" panose="05000000000000000000" pitchFamily="2" charset="2"/>
                        <a:buChar char=""/>
                      </a:pPr>
                      <a:endParaRPr lang="ru-KZ" sz="10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8450496"/>
                  </a:ext>
                </a:extLst>
              </a:tr>
              <a:tr h="828000"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Ұйымның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құрылымдық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бөлімшелеріндегі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басшы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-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әйелдердің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үлесін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кезең-кезеңмен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арттыру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30%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50%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66,7%</a:t>
                      </a:r>
                      <a:endParaRPr lang="ru-KZ" sz="10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"/>
                        <a:tabLst/>
                        <a:defRPr/>
                      </a:pPr>
                      <a:r>
                        <a:rPr lang="ru-RU" sz="10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KZ" sz="10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marL="342900" lvl="0" indent="-342900" algn="r">
                        <a:spcAft>
                          <a:spcPts val="0"/>
                        </a:spcAft>
                        <a:buFont typeface="Wingdings" panose="05000000000000000000" pitchFamily="2" charset="2"/>
                        <a:buChar char=""/>
                      </a:pPr>
                      <a:endParaRPr lang="ru-KZ" sz="10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26659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354341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object 8">
            <a:extLst>
              <a:ext uri="{FF2B5EF4-FFF2-40B4-BE49-F238E27FC236}">
                <a16:creationId xmlns:a16="http://schemas.microsoft.com/office/drawing/2014/main" id="{17AD95F7-2C44-4C76-A68A-B9243F5CF4C5}"/>
              </a:ext>
            </a:extLst>
          </p:cNvPr>
          <p:cNvSpPr txBox="1"/>
          <p:nvPr/>
        </p:nvSpPr>
        <p:spPr>
          <a:xfrm>
            <a:off x="122745" y="198580"/>
            <a:ext cx="6675707" cy="52236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ЫСПЕН ҚАМТЫЛҒАН ХАЛЫҚТЫ МІНДЕТТІ ӘЛЕУМЕТТІК САҚТАНДЫРУ ЖҮЙЕСІМЕН ҚАМТУ КӨРСЕТКІШІ</a:t>
            </a:r>
          </a:p>
        </p:txBody>
      </p:sp>
      <p:sp>
        <p:nvSpPr>
          <p:cNvPr id="102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0236" y="8806256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B6796524-4307-4D37-8C38-020EFC7CBCC2}"/>
              </a:ext>
            </a:extLst>
          </p:cNvPr>
          <p:cNvSpPr/>
          <p:nvPr/>
        </p:nvSpPr>
        <p:spPr>
          <a:xfrm>
            <a:off x="-1" y="1004896"/>
            <a:ext cx="2199079" cy="813910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індетті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йесіне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тысушылар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ны</a:t>
            </a:r>
            <a:endParaRPr lang="ru-RU" sz="1050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50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 </a:t>
            </a:r>
            <a:r>
              <a:rPr lang="en-US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36</a:t>
            </a:r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86</a:t>
            </a:r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тысушы</a:t>
            </a:r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spcAft>
                <a:spcPts val="600"/>
              </a:spcAft>
            </a:pP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с</a:t>
            </a:r>
            <a:endParaRPr lang="ru-RU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 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с</a:t>
            </a:r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spcAft>
                <a:spcPts val="600"/>
              </a:spcAft>
            </a:pPr>
            <a:endParaRPr lang="ru-KZ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spcAft>
                <a:spcPts val="600"/>
              </a:spcAft>
            </a:pP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йедегі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ңбек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ілі</a:t>
            </a:r>
            <a:endParaRPr lang="ru-RU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,9 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spcAft>
                <a:spcPts val="600"/>
              </a:spcAft>
            </a:pPr>
            <a:endParaRPr lang="ru-RU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spcAft>
                <a:spcPts val="600"/>
              </a:spcAft>
            </a:pP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ыс</a:t>
            </a:r>
            <a:endParaRPr lang="ru-RU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0</a:t>
            </a:r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ң</a:t>
            </a:r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endParaRPr lang="ru-KZ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1B38F978-26CC-461E-95BB-FBDE0CB8951A}"/>
              </a:ext>
            </a:extLst>
          </p:cNvPr>
          <p:cNvSpPr/>
          <p:nvPr/>
        </p:nvSpPr>
        <p:spPr>
          <a:xfrm>
            <a:off x="2233568" y="1004896"/>
            <a:ext cx="4286250" cy="34140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266700" algn="just">
              <a:lnSpc>
                <a:spcPts val="1250"/>
              </a:lnSpc>
              <a:spcAft>
                <a:spcPts val="0"/>
              </a:spcAft>
            </a:pPr>
            <a:r>
              <a:rPr lang="kk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зақста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kk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еспубликасының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kk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 кодексіне сәйкес </a:t>
            </a:r>
            <a:br>
              <a:rPr lang="kk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kk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зақстан Республикасының азаматтары, қандастар, Қазақстан Республикасы аумағында тұрақты тұратын шетелдіктер мен азаматтығы жоқ адамдар қатарынан мынадай санаттар міндетті әлеуметтік сақтандыруға жатады:</a:t>
            </a:r>
          </a:p>
          <a:p>
            <a:pPr marL="228600" indent="-228600" algn="just">
              <a:lnSpc>
                <a:spcPts val="1250"/>
              </a:lnSpc>
              <a:spcAft>
                <a:spcPts val="0"/>
              </a:spcAft>
              <a:buAutoNum type="arabicParenR"/>
            </a:pPr>
            <a:r>
              <a:rPr lang="kk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ызметкерлер, оның ішінде Қазақстан Республикасындағы халықаралық ұйымдардың өкілдіктерінде, Қазақстан Республикасында аккредиттелген шет мемлекеттердің дипломатиялық өкілдіктерінде және консулдық мекемелерінде еңбек қызметін жүзеге асыратын қызметкерлер; </a:t>
            </a:r>
          </a:p>
          <a:p>
            <a:pPr marL="228600" indent="-228600" algn="just">
              <a:lnSpc>
                <a:spcPts val="1250"/>
              </a:lnSpc>
              <a:spcAft>
                <a:spcPts val="0"/>
              </a:spcAft>
              <a:buAutoNum type="arabicParenR"/>
            </a:pPr>
            <a:r>
              <a:rPr lang="kk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ара кәсіпкерлер, оның ішінде шаруа немесе фермер қожалықтарының басшылары, сондай-ақ он сегіз жасқа толған олардың мүшелері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;</a:t>
            </a:r>
          </a:p>
          <a:p>
            <a:pPr marL="228600" indent="-228600" algn="just">
              <a:lnSpc>
                <a:spcPts val="1250"/>
              </a:lnSpc>
              <a:buFontTx/>
              <a:buAutoNum type="arabicParenR"/>
            </a:pPr>
            <a:r>
              <a:rPr lang="kk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еке практикамен айналысатын адамдар;</a:t>
            </a:r>
          </a:p>
          <a:p>
            <a:pPr marL="228600" indent="-228600" algn="just">
              <a:lnSpc>
                <a:spcPts val="1250"/>
              </a:lnSpc>
              <a:buFontTx/>
              <a:buAutoNum type="arabicParenR"/>
            </a:pPr>
            <a:r>
              <a:rPr lang="kk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үріп-тұруы қиын бірінші топтағы мүгедектігі бар адамды алып жүру және объектілерге барған кезде көмек көрсету бойынша қызметтер көрсететін жеке көмекшілер;</a:t>
            </a:r>
          </a:p>
          <a:p>
            <a:pPr marL="228600" indent="-228600" algn="just">
              <a:lnSpc>
                <a:spcPts val="1250"/>
              </a:lnSpc>
              <a:buFontTx/>
              <a:buAutoNum type="arabicParenR"/>
            </a:pPr>
            <a:r>
              <a:rPr lang="kk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рнайы мобильді қосымшаны пайдалана отырып, арнайы салық режимін қолданатын жеке кәсіпкерлер</a:t>
            </a:r>
          </a:p>
          <a:p>
            <a:pPr algn="just">
              <a:lnSpc>
                <a:spcPts val="1250"/>
              </a:lnSpc>
              <a:spcAft>
                <a:spcPts val="0"/>
              </a:spcAft>
            </a:pPr>
            <a:endParaRPr lang="ru-RU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8DE41383-BE10-4254-BB3F-A8AD0D6207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7450" y="4865854"/>
            <a:ext cx="4029077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8096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indent="0" algn="ctr"/>
            <a:r>
              <a:rPr lang="ru-RU" altLang="ru-KZ" sz="1050" b="1" dirty="0">
                <a:ea typeface="Times New Roman" panose="02020603050405020304" pitchFamily="18" charset="0"/>
              </a:rPr>
              <a:t>2024 </a:t>
            </a:r>
            <a:r>
              <a:rPr lang="ru-RU" altLang="ru-KZ" sz="1050" b="1" dirty="0" err="1">
                <a:ea typeface="Times New Roman" panose="02020603050405020304" pitchFamily="18" charset="0"/>
              </a:rPr>
              <a:t>жылғы</a:t>
            </a:r>
            <a:r>
              <a:rPr lang="ru-RU" altLang="ru-KZ" sz="1050" b="1" dirty="0">
                <a:ea typeface="Times New Roman" panose="02020603050405020304" pitchFamily="18" charset="0"/>
              </a:rPr>
              <a:t> </a:t>
            </a:r>
            <a:r>
              <a:rPr lang="ru-RU" altLang="ru-KZ" sz="1050" b="1" dirty="0" err="1">
                <a:ea typeface="Times New Roman" panose="02020603050405020304" pitchFamily="18" charset="0"/>
              </a:rPr>
              <a:t>жұмыспен</a:t>
            </a:r>
            <a:r>
              <a:rPr lang="ru-RU" altLang="ru-KZ" sz="1050" b="1" dirty="0">
                <a:ea typeface="Times New Roman" panose="02020603050405020304" pitchFamily="18" charset="0"/>
              </a:rPr>
              <a:t> </a:t>
            </a:r>
            <a:r>
              <a:rPr lang="ru-RU" altLang="ru-KZ" sz="1050" b="1" dirty="0" err="1">
                <a:ea typeface="Times New Roman" panose="02020603050405020304" pitchFamily="18" charset="0"/>
              </a:rPr>
              <a:t>қамту</a:t>
            </a:r>
            <a:r>
              <a:rPr lang="ru-RU" altLang="ru-KZ" sz="1050" b="1" dirty="0">
                <a:ea typeface="Times New Roman" panose="02020603050405020304" pitchFamily="18" charset="0"/>
              </a:rPr>
              <a:t> </a:t>
            </a:r>
            <a:r>
              <a:rPr lang="ru-RU" altLang="ru-KZ" sz="1050" b="1" dirty="0" err="1">
                <a:ea typeface="Times New Roman" panose="02020603050405020304" pitchFamily="18" charset="0"/>
              </a:rPr>
              <a:t>санаттары</a:t>
            </a:r>
            <a:r>
              <a:rPr lang="ru-RU" altLang="ru-KZ" sz="1050" b="1" dirty="0">
                <a:ea typeface="Times New Roman" panose="02020603050405020304" pitchFamily="18" charset="0"/>
              </a:rPr>
              <a:t> </a:t>
            </a:r>
            <a:r>
              <a:rPr lang="ru-RU" altLang="ru-KZ" sz="1050" b="1" dirty="0" err="1">
                <a:ea typeface="Times New Roman" panose="02020603050405020304" pitchFamily="18" charset="0"/>
              </a:rPr>
              <a:t>бөлінісінде</a:t>
            </a:r>
            <a:r>
              <a:rPr lang="ru-RU" altLang="ru-KZ" sz="1050" b="1" dirty="0">
                <a:ea typeface="Times New Roman" panose="02020603050405020304" pitchFamily="18" charset="0"/>
              </a:rPr>
              <a:t> </a:t>
            </a:r>
          </a:p>
          <a:p>
            <a:pPr lvl="0" indent="0" algn="ctr"/>
            <a:r>
              <a:rPr lang="ru-RU" altLang="ru-KZ" sz="1050" b="1" dirty="0" err="1">
                <a:ea typeface="Times New Roman" panose="02020603050405020304" pitchFamily="18" charset="0"/>
              </a:rPr>
              <a:t>міндетті</a:t>
            </a:r>
            <a:r>
              <a:rPr lang="ru-RU" altLang="ru-KZ" sz="1050" b="1" dirty="0">
                <a:ea typeface="Times New Roman" panose="02020603050405020304" pitchFamily="18" charset="0"/>
              </a:rPr>
              <a:t> </a:t>
            </a:r>
            <a:r>
              <a:rPr lang="ru-RU" altLang="ru-KZ" sz="1050" b="1" dirty="0" err="1">
                <a:ea typeface="Times New Roman" panose="02020603050405020304" pitchFamily="18" charset="0"/>
              </a:rPr>
              <a:t>әлеуметтік</a:t>
            </a:r>
            <a:r>
              <a:rPr lang="ru-RU" altLang="ru-KZ" sz="1050" b="1" dirty="0">
                <a:ea typeface="Times New Roman" panose="02020603050405020304" pitchFamily="18" charset="0"/>
              </a:rPr>
              <a:t> </a:t>
            </a:r>
            <a:r>
              <a:rPr lang="ru-RU" altLang="ru-KZ" sz="1050" b="1" dirty="0" err="1">
                <a:ea typeface="Times New Roman" panose="02020603050405020304" pitchFamily="18" charset="0"/>
              </a:rPr>
              <a:t>сақтандыру</a:t>
            </a:r>
            <a:r>
              <a:rPr lang="ru-RU" altLang="ru-KZ" sz="1050" b="1" dirty="0">
                <a:ea typeface="Times New Roman" panose="02020603050405020304" pitchFamily="18" charset="0"/>
              </a:rPr>
              <a:t> </a:t>
            </a:r>
            <a:r>
              <a:rPr lang="ru-RU" altLang="ru-KZ" sz="1050" b="1" dirty="0" err="1">
                <a:ea typeface="Times New Roman" panose="02020603050405020304" pitchFamily="18" charset="0"/>
              </a:rPr>
              <a:t>жүйесіне</a:t>
            </a:r>
            <a:r>
              <a:rPr lang="ru-RU" altLang="ru-KZ" sz="1050" b="1" dirty="0">
                <a:ea typeface="Times New Roman" panose="02020603050405020304" pitchFamily="18" charset="0"/>
              </a:rPr>
              <a:t> </a:t>
            </a:r>
            <a:r>
              <a:rPr lang="ru-RU" altLang="ru-KZ" sz="1050" b="1" dirty="0" err="1">
                <a:ea typeface="Times New Roman" panose="02020603050405020304" pitchFamily="18" charset="0"/>
              </a:rPr>
              <a:t>қатысушылар</a:t>
            </a:r>
            <a:endParaRPr lang="ru-RU" altLang="ru-KZ" sz="1050" dirty="0"/>
          </a:p>
        </p:txBody>
      </p:sp>
      <p:graphicFrame>
        <p:nvGraphicFramePr>
          <p:cNvPr id="99" name="Диаграмма 98">
            <a:extLst>
              <a:ext uri="{FF2B5EF4-FFF2-40B4-BE49-F238E27FC236}">
                <a16:creationId xmlns:a16="http://schemas.microsoft.com/office/drawing/2014/main" id="{B8911FEA-4E37-4560-80AB-7A2664909A6C}"/>
              </a:ext>
            </a:extLst>
          </p:cNvPr>
          <p:cNvGraphicFramePr/>
          <p:nvPr>
            <p:extLst/>
          </p:nvPr>
        </p:nvGraphicFramePr>
        <p:xfrm>
          <a:off x="2268584" y="5308471"/>
          <a:ext cx="4406807" cy="2141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Rectangle 3">
            <a:extLst>
              <a:ext uri="{FF2B5EF4-FFF2-40B4-BE49-F238E27FC236}">
                <a16:creationId xmlns:a16="http://schemas.microsoft.com/office/drawing/2014/main" id="{DAFB3043-F8B2-4BE2-B089-924B5A55EA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29958" y="7456920"/>
            <a:ext cx="4347721" cy="9133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indent="182563" algn="just" eaLnBrk="0" fontAlgn="base" hangingPunct="0">
              <a:lnSpc>
                <a:spcPts val="125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KZ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тысушылардың</a:t>
            </a:r>
            <a:r>
              <a:rPr lang="ru-RU" altLang="ru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altLang="ru-KZ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ұрылымында</a:t>
            </a:r>
            <a:r>
              <a:rPr lang="ru-RU" altLang="ru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altLang="ru-KZ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ң</a:t>
            </a:r>
            <a:r>
              <a:rPr lang="ru-RU" altLang="ru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altLang="ru-KZ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өп</a:t>
            </a:r>
            <a:r>
              <a:rPr lang="ru-RU" altLang="ru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altLang="ru-KZ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үлес</a:t>
            </a:r>
            <a:r>
              <a:rPr lang="ru-RU" altLang="ru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altLang="ru-KZ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лдамалы</a:t>
            </a:r>
            <a:r>
              <a:rPr lang="ru-RU" altLang="ru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altLang="ru-KZ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ызметкерлерге</a:t>
            </a:r>
            <a:r>
              <a:rPr lang="ru-RU" altLang="ru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altLang="ru-KZ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иесілі</a:t>
            </a:r>
            <a:r>
              <a:rPr lang="ru-RU" altLang="ru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2024 </a:t>
            </a:r>
            <a:r>
              <a:rPr lang="ru-RU" altLang="ru-KZ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ылы</a:t>
            </a:r>
            <a:r>
              <a:rPr lang="ru-RU" altLang="ru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altLang="ru-KZ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лардың</a:t>
            </a:r>
            <a:r>
              <a:rPr lang="ru-RU" altLang="ru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altLang="ru-KZ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үлесі</a:t>
            </a:r>
            <a:r>
              <a:rPr lang="ru-RU" altLang="ru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81% </a:t>
            </a:r>
            <a:r>
              <a:rPr lang="ru-RU" altLang="ru-KZ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ұрады</a:t>
            </a:r>
            <a:r>
              <a:rPr lang="ru-RU" altLang="ru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</a:p>
          <a:p>
            <a:pPr lvl="0" indent="182563" algn="just" eaLnBrk="0" fontAlgn="base" hangingPunct="0">
              <a:lnSpc>
                <a:spcPts val="125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ӘСЖ </a:t>
            </a:r>
            <a:r>
              <a:rPr lang="ru-RU" altLang="ru-KZ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тысушыларының</a:t>
            </a:r>
            <a:r>
              <a:rPr lang="ru-RU" altLang="ru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altLang="ru-KZ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мендеуі</a:t>
            </a:r>
            <a:r>
              <a:rPr lang="ru-RU" altLang="ru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2024 </a:t>
            </a:r>
            <a:r>
              <a:rPr lang="ru-RU" altLang="ru-KZ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ылғы</a:t>
            </a:r>
            <a:r>
              <a:rPr lang="ru-RU" altLang="ru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1 </a:t>
            </a:r>
            <a:r>
              <a:rPr lang="ru-RU" altLang="ru-KZ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ңтардан</a:t>
            </a:r>
            <a:r>
              <a:rPr lang="ru-RU" altLang="ru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altLang="ru-KZ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стап</a:t>
            </a:r>
            <a:r>
              <a:rPr lang="ru-RU" altLang="ru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altLang="ru-KZ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ірыңғай</a:t>
            </a:r>
            <a:r>
              <a:rPr lang="ru-RU" altLang="ru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altLang="ru-KZ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иынтық</a:t>
            </a:r>
            <a:r>
              <a:rPr lang="ru-RU" altLang="ru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altLang="ru-KZ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нің</a:t>
            </a:r>
            <a:r>
              <a:rPr lang="ru-RU" altLang="ru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altLang="ru-KZ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олданысының</a:t>
            </a:r>
            <a:r>
              <a:rPr lang="ru-RU" altLang="ru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altLang="ru-KZ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оқтатылуына</a:t>
            </a:r>
            <a:r>
              <a:rPr lang="ru-RU" altLang="ru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altLang="ru-KZ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йланысты</a:t>
            </a:r>
            <a:r>
              <a:rPr lang="ru-RU" altLang="ru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90FE55B1-47E2-4A5D-A969-CC9BD9675582}"/>
              </a:ext>
            </a:extLst>
          </p:cNvPr>
          <p:cNvSpPr/>
          <p:nvPr/>
        </p:nvSpPr>
        <p:spPr>
          <a:xfrm>
            <a:off x="122745" y="6788576"/>
            <a:ext cx="1991805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2563" algn="just">
              <a:spcAft>
                <a:spcPts val="0"/>
              </a:spcAft>
            </a:pPr>
            <a:r>
              <a:rPr lang="kk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024 жылы жүйеге қатысушылар саны азайды, олардың саны 6 837 мың адамды құрады, бұл 2023 жылғы көрсеткіштен 1% - ға төмен және 2022 жылғы көрсеткіштен 1,2% - ға жоғары.</a:t>
            </a:r>
            <a:endParaRPr lang="ru-KZ" sz="10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06" name="Freeform 3447">
            <a:extLst>
              <a:ext uri="{FF2B5EF4-FFF2-40B4-BE49-F238E27FC236}">
                <a16:creationId xmlns:a16="http://schemas.microsoft.com/office/drawing/2014/main" id="{A62CF502-CA08-4099-A60A-5229807009A5}"/>
              </a:ext>
            </a:extLst>
          </p:cNvPr>
          <p:cNvSpPr>
            <a:spLocks noEditPoints="1"/>
          </p:cNvSpPr>
          <p:nvPr/>
        </p:nvSpPr>
        <p:spPr bwMode="auto">
          <a:xfrm>
            <a:off x="563875" y="1176168"/>
            <a:ext cx="854711" cy="815403"/>
          </a:xfrm>
          <a:custGeom>
            <a:avLst/>
            <a:gdLst>
              <a:gd name="T0" fmla="*/ 482 w 720"/>
              <a:gd name="T1" fmla="*/ 537 h 721"/>
              <a:gd name="T2" fmla="*/ 445 w 720"/>
              <a:gd name="T3" fmla="*/ 450 h 721"/>
              <a:gd name="T4" fmla="*/ 477 w 720"/>
              <a:gd name="T5" fmla="*/ 370 h 721"/>
              <a:gd name="T6" fmla="*/ 495 w 720"/>
              <a:gd name="T7" fmla="*/ 345 h 721"/>
              <a:gd name="T8" fmla="*/ 488 w 720"/>
              <a:gd name="T9" fmla="*/ 298 h 721"/>
              <a:gd name="T10" fmla="*/ 493 w 720"/>
              <a:gd name="T11" fmla="*/ 246 h 721"/>
              <a:gd name="T12" fmla="*/ 486 w 720"/>
              <a:gd name="T13" fmla="*/ 178 h 721"/>
              <a:gd name="T14" fmla="*/ 450 w 720"/>
              <a:gd name="T15" fmla="*/ 148 h 721"/>
              <a:gd name="T16" fmla="*/ 351 w 720"/>
              <a:gd name="T17" fmla="*/ 139 h 721"/>
              <a:gd name="T18" fmla="*/ 283 w 720"/>
              <a:gd name="T19" fmla="*/ 170 h 721"/>
              <a:gd name="T20" fmla="*/ 251 w 720"/>
              <a:gd name="T21" fmla="*/ 184 h 721"/>
              <a:gd name="T22" fmla="*/ 229 w 720"/>
              <a:gd name="T23" fmla="*/ 218 h 721"/>
              <a:gd name="T24" fmla="*/ 240 w 720"/>
              <a:gd name="T25" fmla="*/ 292 h 721"/>
              <a:gd name="T26" fmla="*/ 223 w 720"/>
              <a:gd name="T27" fmla="*/ 331 h 721"/>
              <a:gd name="T28" fmla="*/ 235 w 720"/>
              <a:gd name="T29" fmla="*/ 364 h 721"/>
              <a:gd name="T30" fmla="*/ 260 w 720"/>
              <a:gd name="T31" fmla="*/ 433 h 721"/>
              <a:gd name="T32" fmla="*/ 272 w 720"/>
              <a:gd name="T33" fmla="*/ 524 h 721"/>
              <a:gd name="T34" fmla="*/ 133 w 720"/>
              <a:gd name="T35" fmla="*/ 573 h 721"/>
              <a:gd name="T36" fmla="*/ 65 w 720"/>
              <a:gd name="T37" fmla="*/ 523 h 721"/>
              <a:gd name="T38" fmla="*/ 32 w 720"/>
              <a:gd name="T39" fmla="*/ 437 h 721"/>
              <a:gd name="T40" fmla="*/ 24 w 720"/>
              <a:gd name="T41" fmla="*/ 343 h 721"/>
              <a:gd name="T42" fmla="*/ 43 w 720"/>
              <a:gd name="T43" fmla="*/ 244 h 721"/>
              <a:gd name="T44" fmla="*/ 91 w 720"/>
              <a:gd name="T45" fmla="*/ 160 h 721"/>
              <a:gd name="T46" fmla="*/ 159 w 720"/>
              <a:gd name="T47" fmla="*/ 92 h 721"/>
              <a:gd name="T48" fmla="*/ 244 w 720"/>
              <a:gd name="T49" fmla="*/ 44 h 721"/>
              <a:gd name="T50" fmla="*/ 342 w 720"/>
              <a:gd name="T51" fmla="*/ 25 h 721"/>
              <a:gd name="T52" fmla="*/ 444 w 720"/>
              <a:gd name="T53" fmla="*/ 35 h 721"/>
              <a:gd name="T54" fmla="*/ 534 w 720"/>
              <a:gd name="T55" fmla="*/ 72 h 721"/>
              <a:gd name="T56" fmla="*/ 608 w 720"/>
              <a:gd name="T57" fmla="*/ 134 h 721"/>
              <a:gd name="T58" fmla="*/ 663 w 720"/>
              <a:gd name="T59" fmla="*/ 215 h 721"/>
              <a:gd name="T60" fmla="*/ 692 w 720"/>
              <a:gd name="T61" fmla="*/ 310 h 721"/>
              <a:gd name="T62" fmla="*/ 693 w 720"/>
              <a:gd name="T63" fmla="*/ 408 h 721"/>
              <a:gd name="T64" fmla="*/ 669 w 720"/>
              <a:gd name="T65" fmla="*/ 495 h 721"/>
              <a:gd name="T66" fmla="*/ 620 w 720"/>
              <a:gd name="T67" fmla="*/ 573 h 721"/>
              <a:gd name="T68" fmla="*/ 287 w 720"/>
              <a:gd name="T69" fmla="*/ 7 h 721"/>
              <a:gd name="T70" fmla="*/ 188 w 720"/>
              <a:gd name="T71" fmla="*/ 44 h 721"/>
              <a:gd name="T72" fmla="*/ 105 w 720"/>
              <a:gd name="T73" fmla="*/ 106 h 721"/>
              <a:gd name="T74" fmla="*/ 43 w 720"/>
              <a:gd name="T75" fmla="*/ 189 h 721"/>
              <a:gd name="T76" fmla="*/ 6 w 720"/>
              <a:gd name="T77" fmla="*/ 288 h 721"/>
              <a:gd name="T78" fmla="*/ 1 w 720"/>
              <a:gd name="T79" fmla="*/ 395 h 721"/>
              <a:gd name="T80" fmla="*/ 25 w 720"/>
              <a:gd name="T81" fmla="*/ 495 h 721"/>
              <a:gd name="T82" fmla="*/ 75 w 720"/>
              <a:gd name="T83" fmla="*/ 582 h 721"/>
              <a:gd name="T84" fmla="*/ 98 w 720"/>
              <a:gd name="T85" fmla="*/ 609 h 721"/>
              <a:gd name="T86" fmla="*/ 98 w 720"/>
              <a:gd name="T87" fmla="*/ 609 h 721"/>
              <a:gd name="T88" fmla="*/ 98 w 720"/>
              <a:gd name="T89" fmla="*/ 609 h 721"/>
              <a:gd name="T90" fmla="*/ 98 w 720"/>
              <a:gd name="T91" fmla="*/ 609 h 721"/>
              <a:gd name="T92" fmla="*/ 98 w 720"/>
              <a:gd name="T93" fmla="*/ 609 h 721"/>
              <a:gd name="T94" fmla="*/ 172 w 720"/>
              <a:gd name="T95" fmla="*/ 666 h 721"/>
              <a:gd name="T96" fmla="*/ 272 w 720"/>
              <a:gd name="T97" fmla="*/ 709 h 721"/>
              <a:gd name="T98" fmla="*/ 377 w 720"/>
              <a:gd name="T99" fmla="*/ 721 h 721"/>
              <a:gd name="T100" fmla="*/ 482 w 720"/>
              <a:gd name="T101" fmla="*/ 698 h 721"/>
              <a:gd name="T102" fmla="*/ 579 w 720"/>
              <a:gd name="T103" fmla="*/ 645 h 721"/>
              <a:gd name="T104" fmla="*/ 633 w 720"/>
              <a:gd name="T105" fmla="*/ 596 h 721"/>
              <a:gd name="T106" fmla="*/ 688 w 720"/>
              <a:gd name="T107" fmla="*/ 510 h 721"/>
              <a:gd name="T108" fmla="*/ 716 w 720"/>
              <a:gd name="T109" fmla="*/ 413 h 721"/>
              <a:gd name="T110" fmla="*/ 716 w 720"/>
              <a:gd name="T111" fmla="*/ 306 h 721"/>
              <a:gd name="T112" fmla="*/ 685 w 720"/>
              <a:gd name="T113" fmla="*/ 205 h 721"/>
              <a:gd name="T114" fmla="*/ 626 w 720"/>
              <a:gd name="T115" fmla="*/ 119 h 721"/>
              <a:gd name="T116" fmla="*/ 547 w 720"/>
              <a:gd name="T117" fmla="*/ 52 h 721"/>
              <a:gd name="T118" fmla="*/ 450 w 720"/>
              <a:gd name="T119" fmla="*/ 12 h 7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20" h="721">
                <a:moveTo>
                  <a:pt x="610" y="585"/>
                </a:moveTo>
                <a:lnTo>
                  <a:pt x="594" y="578"/>
                </a:lnTo>
                <a:lnTo>
                  <a:pt x="571" y="568"/>
                </a:lnTo>
                <a:lnTo>
                  <a:pt x="539" y="558"/>
                </a:lnTo>
                <a:lnTo>
                  <a:pt x="499" y="542"/>
                </a:lnTo>
                <a:lnTo>
                  <a:pt x="482" y="537"/>
                </a:lnTo>
                <a:lnTo>
                  <a:pt x="466" y="531"/>
                </a:lnTo>
                <a:lnTo>
                  <a:pt x="449" y="524"/>
                </a:lnTo>
                <a:lnTo>
                  <a:pt x="432" y="519"/>
                </a:lnTo>
                <a:lnTo>
                  <a:pt x="432" y="459"/>
                </a:lnTo>
                <a:lnTo>
                  <a:pt x="439" y="455"/>
                </a:lnTo>
                <a:lnTo>
                  <a:pt x="445" y="450"/>
                </a:lnTo>
                <a:lnTo>
                  <a:pt x="453" y="442"/>
                </a:lnTo>
                <a:lnTo>
                  <a:pt x="459" y="433"/>
                </a:lnTo>
                <a:lnTo>
                  <a:pt x="466" y="422"/>
                </a:lnTo>
                <a:lnTo>
                  <a:pt x="471" y="406"/>
                </a:lnTo>
                <a:lnTo>
                  <a:pt x="476" y="390"/>
                </a:lnTo>
                <a:lnTo>
                  <a:pt x="477" y="370"/>
                </a:lnTo>
                <a:lnTo>
                  <a:pt x="481" y="368"/>
                </a:lnTo>
                <a:lnTo>
                  <a:pt x="485" y="364"/>
                </a:lnTo>
                <a:lnTo>
                  <a:pt x="488" y="361"/>
                </a:lnTo>
                <a:lnTo>
                  <a:pt x="490" y="357"/>
                </a:lnTo>
                <a:lnTo>
                  <a:pt x="493" y="351"/>
                </a:lnTo>
                <a:lnTo>
                  <a:pt x="495" y="345"/>
                </a:lnTo>
                <a:lnTo>
                  <a:pt x="497" y="338"/>
                </a:lnTo>
                <a:lnTo>
                  <a:pt x="497" y="331"/>
                </a:lnTo>
                <a:lnTo>
                  <a:pt x="495" y="318"/>
                </a:lnTo>
                <a:lnTo>
                  <a:pt x="493" y="307"/>
                </a:lnTo>
                <a:lnTo>
                  <a:pt x="490" y="302"/>
                </a:lnTo>
                <a:lnTo>
                  <a:pt x="488" y="298"/>
                </a:lnTo>
                <a:lnTo>
                  <a:pt x="484" y="295"/>
                </a:lnTo>
                <a:lnTo>
                  <a:pt x="480" y="292"/>
                </a:lnTo>
                <a:lnTo>
                  <a:pt x="481" y="292"/>
                </a:lnTo>
                <a:lnTo>
                  <a:pt x="481" y="291"/>
                </a:lnTo>
                <a:lnTo>
                  <a:pt x="488" y="270"/>
                </a:lnTo>
                <a:lnTo>
                  <a:pt x="493" y="246"/>
                </a:lnTo>
                <a:lnTo>
                  <a:pt x="495" y="232"/>
                </a:lnTo>
                <a:lnTo>
                  <a:pt x="495" y="219"/>
                </a:lnTo>
                <a:lnTo>
                  <a:pt x="495" y="205"/>
                </a:lnTo>
                <a:lnTo>
                  <a:pt x="493" y="191"/>
                </a:lnTo>
                <a:lnTo>
                  <a:pt x="490" y="184"/>
                </a:lnTo>
                <a:lnTo>
                  <a:pt x="486" y="178"/>
                </a:lnTo>
                <a:lnTo>
                  <a:pt x="482" y="171"/>
                </a:lnTo>
                <a:lnTo>
                  <a:pt x="477" y="165"/>
                </a:lnTo>
                <a:lnTo>
                  <a:pt x="472" y="161"/>
                </a:lnTo>
                <a:lnTo>
                  <a:pt x="466" y="156"/>
                </a:lnTo>
                <a:lnTo>
                  <a:pt x="458" y="152"/>
                </a:lnTo>
                <a:lnTo>
                  <a:pt x="450" y="148"/>
                </a:lnTo>
                <a:lnTo>
                  <a:pt x="434" y="143"/>
                </a:lnTo>
                <a:lnTo>
                  <a:pt x="417" y="139"/>
                </a:lnTo>
                <a:lnTo>
                  <a:pt x="400" y="137"/>
                </a:lnTo>
                <a:lnTo>
                  <a:pt x="382" y="137"/>
                </a:lnTo>
                <a:lnTo>
                  <a:pt x="367" y="137"/>
                </a:lnTo>
                <a:lnTo>
                  <a:pt x="351" y="139"/>
                </a:lnTo>
                <a:lnTo>
                  <a:pt x="335" y="142"/>
                </a:lnTo>
                <a:lnTo>
                  <a:pt x="321" y="147"/>
                </a:lnTo>
                <a:lnTo>
                  <a:pt x="306" y="152"/>
                </a:lnTo>
                <a:lnTo>
                  <a:pt x="294" y="160"/>
                </a:lnTo>
                <a:lnTo>
                  <a:pt x="288" y="165"/>
                </a:lnTo>
                <a:lnTo>
                  <a:pt x="283" y="170"/>
                </a:lnTo>
                <a:lnTo>
                  <a:pt x="279" y="175"/>
                </a:lnTo>
                <a:lnTo>
                  <a:pt x="276" y="180"/>
                </a:lnTo>
                <a:lnTo>
                  <a:pt x="269" y="180"/>
                </a:lnTo>
                <a:lnTo>
                  <a:pt x="262" y="182"/>
                </a:lnTo>
                <a:lnTo>
                  <a:pt x="256" y="183"/>
                </a:lnTo>
                <a:lnTo>
                  <a:pt x="251" y="184"/>
                </a:lnTo>
                <a:lnTo>
                  <a:pt x="244" y="189"/>
                </a:lnTo>
                <a:lnTo>
                  <a:pt x="237" y="196"/>
                </a:lnTo>
                <a:lnTo>
                  <a:pt x="235" y="201"/>
                </a:lnTo>
                <a:lnTo>
                  <a:pt x="232" y="206"/>
                </a:lnTo>
                <a:lnTo>
                  <a:pt x="231" y="211"/>
                </a:lnTo>
                <a:lnTo>
                  <a:pt x="229" y="218"/>
                </a:lnTo>
                <a:lnTo>
                  <a:pt x="228" y="230"/>
                </a:lnTo>
                <a:lnTo>
                  <a:pt x="229" y="243"/>
                </a:lnTo>
                <a:lnTo>
                  <a:pt x="233" y="269"/>
                </a:lnTo>
                <a:lnTo>
                  <a:pt x="240" y="291"/>
                </a:lnTo>
                <a:lnTo>
                  <a:pt x="240" y="292"/>
                </a:lnTo>
                <a:lnTo>
                  <a:pt x="240" y="292"/>
                </a:lnTo>
                <a:lnTo>
                  <a:pt x="236" y="295"/>
                </a:lnTo>
                <a:lnTo>
                  <a:pt x="232" y="298"/>
                </a:lnTo>
                <a:lnTo>
                  <a:pt x="229" y="302"/>
                </a:lnTo>
                <a:lnTo>
                  <a:pt x="227" y="307"/>
                </a:lnTo>
                <a:lnTo>
                  <a:pt x="224" y="318"/>
                </a:lnTo>
                <a:lnTo>
                  <a:pt x="223" y="331"/>
                </a:lnTo>
                <a:lnTo>
                  <a:pt x="223" y="337"/>
                </a:lnTo>
                <a:lnTo>
                  <a:pt x="224" y="343"/>
                </a:lnTo>
                <a:lnTo>
                  <a:pt x="226" y="350"/>
                </a:lnTo>
                <a:lnTo>
                  <a:pt x="228" y="355"/>
                </a:lnTo>
                <a:lnTo>
                  <a:pt x="231" y="360"/>
                </a:lnTo>
                <a:lnTo>
                  <a:pt x="235" y="364"/>
                </a:lnTo>
                <a:lnTo>
                  <a:pt x="237" y="368"/>
                </a:lnTo>
                <a:lnTo>
                  <a:pt x="242" y="370"/>
                </a:lnTo>
                <a:lnTo>
                  <a:pt x="244" y="390"/>
                </a:lnTo>
                <a:lnTo>
                  <a:pt x="249" y="406"/>
                </a:lnTo>
                <a:lnTo>
                  <a:pt x="254" y="422"/>
                </a:lnTo>
                <a:lnTo>
                  <a:pt x="260" y="433"/>
                </a:lnTo>
                <a:lnTo>
                  <a:pt x="267" y="442"/>
                </a:lnTo>
                <a:lnTo>
                  <a:pt x="274" y="450"/>
                </a:lnTo>
                <a:lnTo>
                  <a:pt x="281" y="455"/>
                </a:lnTo>
                <a:lnTo>
                  <a:pt x="287" y="459"/>
                </a:lnTo>
                <a:lnTo>
                  <a:pt x="287" y="519"/>
                </a:lnTo>
                <a:lnTo>
                  <a:pt x="272" y="524"/>
                </a:lnTo>
                <a:lnTo>
                  <a:pt x="256" y="530"/>
                </a:lnTo>
                <a:lnTo>
                  <a:pt x="241" y="535"/>
                </a:lnTo>
                <a:lnTo>
                  <a:pt x="226" y="540"/>
                </a:lnTo>
                <a:lnTo>
                  <a:pt x="193" y="550"/>
                </a:lnTo>
                <a:lnTo>
                  <a:pt x="161" y="562"/>
                </a:lnTo>
                <a:lnTo>
                  <a:pt x="133" y="573"/>
                </a:lnTo>
                <a:lnTo>
                  <a:pt x="110" y="586"/>
                </a:lnTo>
                <a:lnTo>
                  <a:pt x="100" y="573"/>
                </a:lnTo>
                <a:lnTo>
                  <a:pt x="89" y="562"/>
                </a:lnTo>
                <a:lnTo>
                  <a:pt x="80" y="549"/>
                </a:lnTo>
                <a:lnTo>
                  <a:pt x="73" y="536"/>
                </a:lnTo>
                <a:lnTo>
                  <a:pt x="65" y="523"/>
                </a:lnTo>
                <a:lnTo>
                  <a:pt x="57" y="509"/>
                </a:lnTo>
                <a:lnTo>
                  <a:pt x="51" y="495"/>
                </a:lnTo>
                <a:lnTo>
                  <a:pt x="46" y="481"/>
                </a:lnTo>
                <a:lnTo>
                  <a:pt x="41" y="467"/>
                </a:lnTo>
                <a:lnTo>
                  <a:pt x="35" y="453"/>
                </a:lnTo>
                <a:lnTo>
                  <a:pt x="32" y="437"/>
                </a:lnTo>
                <a:lnTo>
                  <a:pt x="29" y="422"/>
                </a:lnTo>
                <a:lnTo>
                  <a:pt x="26" y="408"/>
                </a:lnTo>
                <a:lnTo>
                  <a:pt x="25" y="392"/>
                </a:lnTo>
                <a:lnTo>
                  <a:pt x="24" y="377"/>
                </a:lnTo>
                <a:lnTo>
                  <a:pt x="23" y="360"/>
                </a:lnTo>
                <a:lnTo>
                  <a:pt x="24" y="343"/>
                </a:lnTo>
                <a:lnTo>
                  <a:pt x="25" y="327"/>
                </a:lnTo>
                <a:lnTo>
                  <a:pt x="26" y="310"/>
                </a:lnTo>
                <a:lnTo>
                  <a:pt x="30" y="293"/>
                </a:lnTo>
                <a:lnTo>
                  <a:pt x="34" y="277"/>
                </a:lnTo>
                <a:lnTo>
                  <a:pt x="38" y="261"/>
                </a:lnTo>
                <a:lnTo>
                  <a:pt x="43" y="244"/>
                </a:lnTo>
                <a:lnTo>
                  <a:pt x="50" y="230"/>
                </a:lnTo>
                <a:lnTo>
                  <a:pt x="56" y="215"/>
                </a:lnTo>
                <a:lnTo>
                  <a:pt x="64" y="201"/>
                </a:lnTo>
                <a:lnTo>
                  <a:pt x="71" y="187"/>
                </a:lnTo>
                <a:lnTo>
                  <a:pt x="80" y="173"/>
                </a:lnTo>
                <a:lnTo>
                  <a:pt x="91" y="160"/>
                </a:lnTo>
                <a:lnTo>
                  <a:pt x="100" y="147"/>
                </a:lnTo>
                <a:lnTo>
                  <a:pt x="111" y="134"/>
                </a:lnTo>
                <a:lnTo>
                  <a:pt x="122" y="122"/>
                </a:lnTo>
                <a:lnTo>
                  <a:pt x="133" y="112"/>
                </a:lnTo>
                <a:lnTo>
                  <a:pt x="146" y="101"/>
                </a:lnTo>
                <a:lnTo>
                  <a:pt x="159" y="92"/>
                </a:lnTo>
                <a:lnTo>
                  <a:pt x="172" y="81"/>
                </a:lnTo>
                <a:lnTo>
                  <a:pt x="186" y="72"/>
                </a:lnTo>
                <a:lnTo>
                  <a:pt x="200" y="65"/>
                </a:lnTo>
                <a:lnTo>
                  <a:pt x="214" y="57"/>
                </a:lnTo>
                <a:lnTo>
                  <a:pt x="229" y="51"/>
                </a:lnTo>
                <a:lnTo>
                  <a:pt x="244" y="44"/>
                </a:lnTo>
                <a:lnTo>
                  <a:pt x="260" y="39"/>
                </a:lnTo>
                <a:lnTo>
                  <a:pt x="276" y="35"/>
                </a:lnTo>
                <a:lnTo>
                  <a:pt x="292" y="31"/>
                </a:lnTo>
                <a:lnTo>
                  <a:pt x="309" y="27"/>
                </a:lnTo>
                <a:lnTo>
                  <a:pt x="326" y="26"/>
                </a:lnTo>
                <a:lnTo>
                  <a:pt x="342" y="25"/>
                </a:lnTo>
                <a:lnTo>
                  <a:pt x="359" y="24"/>
                </a:lnTo>
                <a:lnTo>
                  <a:pt x="377" y="25"/>
                </a:lnTo>
                <a:lnTo>
                  <a:pt x="394" y="26"/>
                </a:lnTo>
                <a:lnTo>
                  <a:pt x="410" y="27"/>
                </a:lnTo>
                <a:lnTo>
                  <a:pt x="427" y="31"/>
                </a:lnTo>
                <a:lnTo>
                  <a:pt x="444" y="35"/>
                </a:lnTo>
                <a:lnTo>
                  <a:pt x="459" y="39"/>
                </a:lnTo>
                <a:lnTo>
                  <a:pt x="475" y="44"/>
                </a:lnTo>
                <a:lnTo>
                  <a:pt x="490" y="51"/>
                </a:lnTo>
                <a:lnTo>
                  <a:pt x="506" y="57"/>
                </a:lnTo>
                <a:lnTo>
                  <a:pt x="520" y="65"/>
                </a:lnTo>
                <a:lnTo>
                  <a:pt x="534" y="72"/>
                </a:lnTo>
                <a:lnTo>
                  <a:pt x="548" y="81"/>
                </a:lnTo>
                <a:lnTo>
                  <a:pt x="561" y="92"/>
                </a:lnTo>
                <a:lnTo>
                  <a:pt x="574" y="101"/>
                </a:lnTo>
                <a:lnTo>
                  <a:pt x="586" y="112"/>
                </a:lnTo>
                <a:lnTo>
                  <a:pt x="598" y="122"/>
                </a:lnTo>
                <a:lnTo>
                  <a:pt x="608" y="134"/>
                </a:lnTo>
                <a:lnTo>
                  <a:pt x="620" y="147"/>
                </a:lnTo>
                <a:lnTo>
                  <a:pt x="629" y="160"/>
                </a:lnTo>
                <a:lnTo>
                  <a:pt x="639" y="173"/>
                </a:lnTo>
                <a:lnTo>
                  <a:pt x="648" y="187"/>
                </a:lnTo>
                <a:lnTo>
                  <a:pt x="656" y="201"/>
                </a:lnTo>
                <a:lnTo>
                  <a:pt x="663" y="215"/>
                </a:lnTo>
                <a:lnTo>
                  <a:pt x="670" y="230"/>
                </a:lnTo>
                <a:lnTo>
                  <a:pt x="676" y="244"/>
                </a:lnTo>
                <a:lnTo>
                  <a:pt x="681" y="261"/>
                </a:lnTo>
                <a:lnTo>
                  <a:pt x="685" y="277"/>
                </a:lnTo>
                <a:lnTo>
                  <a:pt x="689" y="293"/>
                </a:lnTo>
                <a:lnTo>
                  <a:pt x="692" y="310"/>
                </a:lnTo>
                <a:lnTo>
                  <a:pt x="694" y="327"/>
                </a:lnTo>
                <a:lnTo>
                  <a:pt x="696" y="343"/>
                </a:lnTo>
                <a:lnTo>
                  <a:pt x="697" y="360"/>
                </a:lnTo>
                <a:lnTo>
                  <a:pt x="696" y="377"/>
                </a:lnTo>
                <a:lnTo>
                  <a:pt x="694" y="392"/>
                </a:lnTo>
                <a:lnTo>
                  <a:pt x="693" y="408"/>
                </a:lnTo>
                <a:lnTo>
                  <a:pt x="690" y="422"/>
                </a:lnTo>
                <a:lnTo>
                  <a:pt x="688" y="437"/>
                </a:lnTo>
                <a:lnTo>
                  <a:pt x="684" y="453"/>
                </a:lnTo>
                <a:lnTo>
                  <a:pt x="679" y="467"/>
                </a:lnTo>
                <a:lnTo>
                  <a:pt x="674" y="481"/>
                </a:lnTo>
                <a:lnTo>
                  <a:pt x="669" y="495"/>
                </a:lnTo>
                <a:lnTo>
                  <a:pt x="662" y="509"/>
                </a:lnTo>
                <a:lnTo>
                  <a:pt x="654" y="523"/>
                </a:lnTo>
                <a:lnTo>
                  <a:pt x="647" y="536"/>
                </a:lnTo>
                <a:lnTo>
                  <a:pt x="639" y="549"/>
                </a:lnTo>
                <a:lnTo>
                  <a:pt x="630" y="562"/>
                </a:lnTo>
                <a:lnTo>
                  <a:pt x="620" y="573"/>
                </a:lnTo>
                <a:lnTo>
                  <a:pt x="610" y="585"/>
                </a:lnTo>
                <a:close/>
                <a:moveTo>
                  <a:pt x="359" y="0"/>
                </a:moveTo>
                <a:lnTo>
                  <a:pt x="341" y="0"/>
                </a:lnTo>
                <a:lnTo>
                  <a:pt x="323" y="2"/>
                </a:lnTo>
                <a:lnTo>
                  <a:pt x="305" y="4"/>
                </a:lnTo>
                <a:lnTo>
                  <a:pt x="287" y="7"/>
                </a:lnTo>
                <a:lnTo>
                  <a:pt x="269" y="12"/>
                </a:lnTo>
                <a:lnTo>
                  <a:pt x="253" y="16"/>
                </a:lnTo>
                <a:lnTo>
                  <a:pt x="236" y="22"/>
                </a:lnTo>
                <a:lnTo>
                  <a:pt x="219" y="29"/>
                </a:lnTo>
                <a:lnTo>
                  <a:pt x="204" y="35"/>
                </a:lnTo>
                <a:lnTo>
                  <a:pt x="188" y="44"/>
                </a:lnTo>
                <a:lnTo>
                  <a:pt x="173" y="52"/>
                </a:lnTo>
                <a:lnTo>
                  <a:pt x="159" y="62"/>
                </a:lnTo>
                <a:lnTo>
                  <a:pt x="145" y="72"/>
                </a:lnTo>
                <a:lnTo>
                  <a:pt x="131" y="83"/>
                </a:lnTo>
                <a:lnTo>
                  <a:pt x="118" y="94"/>
                </a:lnTo>
                <a:lnTo>
                  <a:pt x="105" y="106"/>
                </a:lnTo>
                <a:lnTo>
                  <a:pt x="93" y="119"/>
                </a:lnTo>
                <a:lnTo>
                  <a:pt x="82" y="131"/>
                </a:lnTo>
                <a:lnTo>
                  <a:pt x="71" y="146"/>
                </a:lnTo>
                <a:lnTo>
                  <a:pt x="61" y="160"/>
                </a:lnTo>
                <a:lnTo>
                  <a:pt x="51" y="174"/>
                </a:lnTo>
                <a:lnTo>
                  <a:pt x="43" y="189"/>
                </a:lnTo>
                <a:lnTo>
                  <a:pt x="34" y="205"/>
                </a:lnTo>
                <a:lnTo>
                  <a:pt x="28" y="220"/>
                </a:lnTo>
                <a:lnTo>
                  <a:pt x="21" y="237"/>
                </a:lnTo>
                <a:lnTo>
                  <a:pt x="15" y="253"/>
                </a:lnTo>
                <a:lnTo>
                  <a:pt x="11" y="270"/>
                </a:lnTo>
                <a:lnTo>
                  <a:pt x="6" y="288"/>
                </a:lnTo>
                <a:lnTo>
                  <a:pt x="3" y="306"/>
                </a:lnTo>
                <a:lnTo>
                  <a:pt x="1" y="324"/>
                </a:lnTo>
                <a:lnTo>
                  <a:pt x="0" y="342"/>
                </a:lnTo>
                <a:lnTo>
                  <a:pt x="0" y="360"/>
                </a:lnTo>
                <a:lnTo>
                  <a:pt x="0" y="378"/>
                </a:lnTo>
                <a:lnTo>
                  <a:pt x="1" y="395"/>
                </a:lnTo>
                <a:lnTo>
                  <a:pt x="3" y="413"/>
                </a:lnTo>
                <a:lnTo>
                  <a:pt x="6" y="429"/>
                </a:lnTo>
                <a:lnTo>
                  <a:pt x="10" y="446"/>
                </a:lnTo>
                <a:lnTo>
                  <a:pt x="14" y="463"/>
                </a:lnTo>
                <a:lnTo>
                  <a:pt x="19" y="478"/>
                </a:lnTo>
                <a:lnTo>
                  <a:pt x="25" y="495"/>
                </a:lnTo>
                <a:lnTo>
                  <a:pt x="32" y="510"/>
                </a:lnTo>
                <a:lnTo>
                  <a:pt x="39" y="526"/>
                </a:lnTo>
                <a:lnTo>
                  <a:pt x="47" y="540"/>
                </a:lnTo>
                <a:lnTo>
                  <a:pt x="56" y="555"/>
                </a:lnTo>
                <a:lnTo>
                  <a:pt x="65" y="569"/>
                </a:lnTo>
                <a:lnTo>
                  <a:pt x="75" y="582"/>
                </a:lnTo>
                <a:lnTo>
                  <a:pt x="87" y="596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113" y="622"/>
                </a:lnTo>
                <a:lnTo>
                  <a:pt x="127" y="635"/>
                </a:lnTo>
                <a:lnTo>
                  <a:pt x="141" y="645"/>
                </a:lnTo>
                <a:lnTo>
                  <a:pt x="156" y="657"/>
                </a:lnTo>
                <a:lnTo>
                  <a:pt x="172" y="666"/>
                </a:lnTo>
                <a:lnTo>
                  <a:pt x="187" y="676"/>
                </a:lnTo>
                <a:lnTo>
                  <a:pt x="204" y="684"/>
                </a:lnTo>
                <a:lnTo>
                  <a:pt x="220" y="691"/>
                </a:lnTo>
                <a:lnTo>
                  <a:pt x="237" y="698"/>
                </a:lnTo>
                <a:lnTo>
                  <a:pt x="254" y="704"/>
                </a:lnTo>
                <a:lnTo>
                  <a:pt x="272" y="709"/>
                </a:lnTo>
                <a:lnTo>
                  <a:pt x="288" y="713"/>
                </a:lnTo>
                <a:lnTo>
                  <a:pt x="306" y="717"/>
                </a:lnTo>
                <a:lnTo>
                  <a:pt x="324" y="720"/>
                </a:lnTo>
                <a:lnTo>
                  <a:pt x="342" y="721"/>
                </a:lnTo>
                <a:lnTo>
                  <a:pt x="359" y="721"/>
                </a:lnTo>
                <a:lnTo>
                  <a:pt x="377" y="721"/>
                </a:lnTo>
                <a:lnTo>
                  <a:pt x="395" y="720"/>
                </a:lnTo>
                <a:lnTo>
                  <a:pt x="413" y="717"/>
                </a:lnTo>
                <a:lnTo>
                  <a:pt x="431" y="713"/>
                </a:lnTo>
                <a:lnTo>
                  <a:pt x="448" y="709"/>
                </a:lnTo>
                <a:lnTo>
                  <a:pt x="466" y="704"/>
                </a:lnTo>
                <a:lnTo>
                  <a:pt x="482" y="698"/>
                </a:lnTo>
                <a:lnTo>
                  <a:pt x="499" y="691"/>
                </a:lnTo>
                <a:lnTo>
                  <a:pt x="516" y="684"/>
                </a:lnTo>
                <a:lnTo>
                  <a:pt x="532" y="676"/>
                </a:lnTo>
                <a:lnTo>
                  <a:pt x="549" y="666"/>
                </a:lnTo>
                <a:lnTo>
                  <a:pt x="565" y="657"/>
                </a:lnTo>
                <a:lnTo>
                  <a:pt x="579" y="645"/>
                </a:lnTo>
                <a:lnTo>
                  <a:pt x="594" y="635"/>
                </a:lnTo>
                <a:lnTo>
                  <a:pt x="607" y="622"/>
                </a:lnTo>
                <a:lnTo>
                  <a:pt x="621" y="609"/>
                </a:lnTo>
                <a:lnTo>
                  <a:pt x="621" y="609"/>
                </a:lnTo>
                <a:lnTo>
                  <a:pt x="621" y="609"/>
                </a:lnTo>
                <a:lnTo>
                  <a:pt x="633" y="596"/>
                </a:lnTo>
                <a:lnTo>
                  <a:pt x="643" y="584"/>
                </a:lnTo>
                <a:lnTo>
                  <a:pt x="653" y="569"/>
                </a:lnTo>
                <a:lnTo>
                  <a:pt x="663" y="555"/>
                </a:lnTo>
                <a:lnTo>
                  <a:pt x="672" y="540"/>
                </a:lnTo>
                <a:lnTo>
                  <a:pt x="680" y="526"/>
                </a:lnTo>
                <a:lnTo>
                  <a:pt x="688" y="510"/>
                </a:lnTo>
                <a:lnTo>
                  <a:pt x="694" y="495"/>
                </a:lnTo>
                <a:lnTo>
                  <a:pt x="701" y="478"/>
                </a:lnTo>
                <a:lnTo>
                  <a:pt x="706" y="463"/>
                </a:lnTo>
                <a:lnTo>
                  <a:pt x="710" y="446"/>
                </a:lnTo>
                <a:lnTo>
                  <a:pt x="714" y="429"/>
                </a:lnTo>
                <a:lnTo>
                  <a:pt x="716" y="413"/>
                </a:lnTo>
                <a:lnTo>
                  <a:pt x="719" y="395"/>
                </a:lnTo>
                <a:lnTo>
                  <a:pt x="720" y="378"/>
                </a:lnTo>
                <a:lnTo>
                  <a:pt x="720" y="360"/>
                </a:lnTo>
                <a:lnTo>
                  <a:pt x="720" y="342"/>
                </a:lnTo>
                <a:lnTo>
                  <a:pt x="719" y="324"/>
                </a:lnTo>
                <a:lnTo>
                  <a:pt x="716" y="306"/>
                </a:lnTo>
                <a:lnTo>
                  <a:pt x="714" y="288"/>
                </a:lnTo>
                <a:lnTo>
                  <a:pt x="708" y="270"/>
                </a:lnTo>
                <a:lnTo>
                  <a:pt x="705" y="253"/>
                </a:lnTo>
                <a:lnTo>
                  <a:pt x="698" y="237"/>
                </a:lnTo>
                <a:lnTo>
                  <a:pt x="692" y="220"/>
                </a:lnTo>
                <a:lnTo>
                  <a:pt x="685" y="205"/>
                </a:lnTo>
                <a:lnTo>
                  <a:pt x="676" y="189"/>
                </a:lnTo>
                <a:lnTo>
                  <a:pt x="669" y="174"/>
                </a:lnTo>
                <a:lnTo>
                  <a:pt x="658" y="160"/>
                </a:lnTo>
                <a:lnTo>
                  <a:pt x="648" y="146"/>
                </a:lnTo>
                <a:lnTo>
                  <a:pt x="638" y="131"/>
                </a:lnTo>
                <a:lnTo>
                  <a:pt x="626" y="119"/>
                </a:lnTo>
                <a:lnTo>
                  <a:pt x="615" y="106"/>
                </a:lnTo>
                <a:lnTo>
                  <a:pt x="602" y="94"/>
                </a:lnTo>
                <a:lnTo>
                  <a:pt x="589" y="83"/>
                </a:lnTo>
                <a:lnTo>
                  <a:pt x="575" y="72"/>
                </a:lnTo>
                <a:lnTo>
                  <a:pt x="561" y="62"/>
                </a:lnTo>
                <a:lnTo>
                  <a:pt x="547" y="52"/>
                </a:lnTo>
                <a:lnTo>
                  <a:pt x="531" y="44"/>
                </a:lnTo>
                <a:lnTo>
                  <a:pt x="516" y="35"/>
                </a:lnTo>
                <a:lnTo>
                  <a:pt x="500" y="29"/>
                </a:lnTo>
                <a:lnTo>
                  <a:pt x="484" y="22"/>
                </a:lnTo>
                <a:lnTo>
                  <a:pt x="467" y="16"/>
                </a:lnTo>
                <a:lnTo>
                  <a:pt x="450" y="12"/>
                </a:lnTo>
                <a:lnTo>
                  <a:pt x="432" y="7"/>
                </a:lnTo>
                <a:lnTo>
                  <a:pt x="414" y="4"/>
                </a:lnTo>
                <a:lnTo>
                  <a:pt x="396" y="2"/>
                </a:lnTo>
                <a:lnTo>
                  <a:pt x="378" y="0"/>
                </a:lnTo>
                <a:lnTo>
                  <a:pt x="359" y="0"/>
                </a:lnTo>
                <a:close/>
              </a:path>
            </a:pathLst>
          </a:custGeom>
          <a:solidFill>
            <a:schemeClr val="accent5">
              <a:lumMod val="50000"/>
            </a:scheme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479D0541-AFDD-49C4-A65F-3C5C43A33CA8}"/>
              </a:ext>
            </a:extLst>
          </p:cNvPr>
          <p:cNvCxnSpPr>
            <a:cxnSpLocks/>
          </p:cNvCxnSpPr>
          <p:nvPr/>
        </p:nvCxnSpPr>
        <p:spPr>
          <a:xfrm flipV="1">
            <a:off x="0" y="821401"/>
            <a:ext cx="658800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C05A700D-8190-4720-BDF0-80250BA227C3}"/>
              </a:ext>
            </a:extLst>
          </p:cNvPr>
          <p:cNvCxnSpPr/>
          <p:nvPr/>
        </p:nvCxnSpPr>
        <p:spPr>
          <a:xfrm>
            <a:off x="320040" y="3303270"/>
            <a:ext cx="13716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44A5DB7E-A6BB-4705-80C6-CEA99EC258F5}"/>
              </a:ext>
            </a:extLst>
          </p:cNvPr>
          <p:cNvCxnSpPr/>
          <p:nvPr/>
        </p:nvCxnSpPr>
        <p:spPr>
          <a:xfrm>
            <a:off x="320040" y="3867150"/>
            <a:ext cx="13716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393A56F7-58AD-408F-B53A-26F666BED257}"/>
              </a:ext>
            </a:extLst>
          </p:cNvPr>
          <p:cNvCxnSpPr/>
          <p:nvPr/>
        </p:nvCxnSpPr>
        <p:spPr>
          <a:xfrm>
            <a:off x="320040" y="4518660"/>
            <a:ext cx="13716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CD001108-3467-4FC7-B769-65DE19C187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14950" y="8686139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8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17800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object 8">
            <a:extLst>
              <a:ext uri="{FF2B5EF4-FFF2-40B4-BE49-F238E27FC236}">
                <a16:creationId xmlns:a16="http://schemas.microsoft.com/office/drawing/2014/main" id="{17AD95F7-2C44-4C76-A68A-B9243F5CF4C5}"/>
              </a:ext>
            </a:extLst>
          </p:cNvPr>
          <p:cNvSpPr txBox="1"/>
          <p:nvPr/>
        </p:nvSpPr>
        <p:spPr>
          <a:xfrm>
            <a:off x="136405" y="52739"/>
            <a:ext cx="6675707" cy="522365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ЫСПЕН ҚАМТЫЛҒАН ХАЛЫҚТЫ МІНДЕТТІ ӘЛЕУМЕТТІК САҚТАНДЫРУ ЖҮЙЕСІМЕН ҚАМТУ</a:t>
            </a:r>
          </a:p>
        </p:txBody>
      </p:sp>
      <p:sp>
        <p:nvSpPr>
          <p:cNvPr id="175" name="Прямоугольник 174">
            <a:extLst>
              <a:ext uri="{FF2B5EF4-FFF2-40B4-BE49-F238E27FC236}">
                <a16:creationId xmlns:a16="http://schemas.microsoft.com/office/drawing/2014/main" id="{F429B5F9-0496-4CC1-8E5C-62DBA3CE9415}"/>
              </a:ext>
            </a:extLst>
          </p:cNvPr>
          <p:cNvSpPr/>
          <p:nvPr/>
        </p:nvSpPr>
        <p:spPr>
          <a:xfrm>
            <a:off x="308472" y="7133634"/>
            <a:ext cx="6261418" cy="1631216"/>
          </a:xfrm>
          <a:prstGeom prst="rect">
            <a:avLst/>
          </a:prstGeom>
          <a:ln>
            <a:solidFill>
              <a:srgbClr val="0D5369"/>
            </a:solidFill>
            <a:prstDash val="dash"/>
          </a:ln>
        </p:spPr>
        <p:txBody>
          <a:bodyPr wrap="square">
            <a:spAutoFit/>
          </a:bodyPr>
          <a:lstStyle/>
          <a:p>
            <a:pPr marL="228594" indent="-228594" algn="just">
              <a:buFont typeface="Wingdings" panose="05000000000000000000" pitchFamily="2" charset="2"/>
              <a:buChar char="ü"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Р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декс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интернет-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латформалар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(немесе)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латформа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ысп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мту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обильд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сымшалар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айдала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тыры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те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өрсет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немесе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ұмыстар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ынд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өнінде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змет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зе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сырат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дамдар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мсызданды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өлігінд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102-1-баппе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олықтырыл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ұл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норма 2024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1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ркүйект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ста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лданысқ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енгізілді.</a:t>
            </a:r>
          </a:p>
          <a:p>
            <a:pPr marL="228594" indent="-228594" algn="just">
              <a:buFont typeface="Wingdings" panose="05000000000000000000" pitchFamily="2" charset="2"/>
              <a:buChar char="ü"/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ындауш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арымдар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індет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ейнетақ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рналар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індет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дицина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қтандыру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рналард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өлшерлемелері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йқынд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интернет-платформа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ператор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ек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бы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лығ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індет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ейнетақ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рналары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арымд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н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індетт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дициналы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қтандыруғ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рналард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ұстап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л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ар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ғидалар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спубликас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ңбе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ән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алық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орғау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инистріні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024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ғ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30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қыркүйекте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№ 392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ұйрығым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кітілге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F928388A-16E8-4E41-9789-976DC3F8272D}"/>
              </a:ext>
            </a:extLst>
          </p:cNvPr>
          <p:cNvSpPr/>
          <p:nvPr/>
        </p:nvSpPr>
        <p:spPr>
          <a:xfrm>
            <a:off x="650025" y="3524062"/>
            <a:ext cx="5949022" cy="450893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algn="ctr"/>
            <a:r>
              <a:rPr lang="kk-KZ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індетті әлеуметтік сақтандыру жүйесіне қатысушыларды әлеуметтік аударымдарды төлеу жиілігі бойынша бөлу 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2024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ыл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</a:t>
            </a:r>
            <a:endParaRPr lang="ru-KZ" sz="105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78" name="Прямоугольник 177">
            <a:extLst>
              <a:ext uri="{FF2B5EF4-FFF2-40B4-BE49-F238E27FC236}">
                <a16:creationId xmlns:a16="http://schemas.microsoft.com/office/drawing/2014/main" id="{82D4C80A-9822-40B4-BBC3-41C27AE53809}"/>
              </a:ext>
            </a:extLst>
          </p:cNvPr>
          <p:cNvSpPr/>
          <p:nvPr/>
        </p:nvSpPr>
        <p:spPr>
          <a:xfrm>
            <a:off x="231354" y="6834619"/>
            <a:ext cx="6433252" cy="415498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R="18626" indent="87313" algn="just"/>
            <a:r>
              <a:rPr lang="kk-KZ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үйеге қатысушылардың 34,7%-ы үшін 2024 жылы әлеуметтік аударымдар барлық 12 ай үшін төленді</a:t>
            </a:r>
          </a:p>
        </p:txBody>
      </p:sp>
      <p:cxnSp>
        <p:nvCxnSpPr>
          <p:cNvPr id="90" name="Прямая соединительная линия 89">
            <a:extLst>
              <a:ext uri="{FF2B5EF4-FFF2-40B4-BE49-F238E27FC236}">
                <a16:creationId xmlns:a16="http://schemas.microsoft.com/office/drawing/2014/main" id="{60AD343A-F95A-4FC0-B51F-07C3E6252758}"/>
              </a:ext>
            </a:extLst>
          </p:cNvPr>
          <p:cNvCxnSpPr>
            <a:cxnSpLocks/>
          </p:cNvCxnSpPr>
          <p:nvPr/>
        </p:nvCxnSpPr>
        <p:spPr>
          <a:xfrm flipV="1">
            <a:off x="0" y="638521"/>
            <a:ext cx="658800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91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47" y="8817721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2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83352" y="8817721"/>
            <a:ext cx="412750" cy="263530"/>
          </a:xfrm>
        </p:spPr>
        <p:txBody>
          <a:bodyPr/>
          <a:lstStyle/>
          <a:p>
            <a:r>
              <a:rPr lang="kk-KZ" b="1" dirty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9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3" name="ee4pHeader1">
            <a:extLst>
              <a:ext uri="{FF2B5EF4-FFF2-40B4-BE49-F238E27FC236}">
                <a16:creationId xmlns:a16="http://schemas.microsoft.com/office/drawing/2014/main" id="{EB470A54-76E6-4131-ACD6-6A81E8467AC5}"/>
              </a:ext>
            </a:extLst>
          </p:cNvPr>
          <p:cNvSpPr txBox="1"/>
          <p:nvPr/>
        </p:nvSpPr>
        <p:spPr>
          <a:xfrm>
            <a:off x="859316" y="707868"/>
            <a:ext cx="5227107" cy="371332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defRPr/>
            </a:pPr>
            <a:r>
              <a:rPr lang="kk-KZ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Жұмыспен қамтылған халықты міндетті әлеуметтік сақтандыру жүйесімен қамтудың динамикасы</a:t>
            </a:r>
            <a:endParaRPr lang="ru-RU" sz="1050" i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  <a:sym typeface="Impact"/>
            </a:endParaRPr>
          </a:p>
        </p:txBody>
      </p:sp>
      <p:graphicFrame>
        <p:nvGraphicFramePr>
          <p:cNvPr id="94" name="Диаграмма 93">
            <a:extLst>
              <a:ext uri="{FF2B5EF4-FFF2-40B4-BE49-F238E27FC236}">
                <a16:creationId xmlns:a16="http://schemas.microsoft.com/office/drawing/2014/main" id="{4186F6B3-81E1-453A-8269-C6F3456AC50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99113293"/>
              </p:ext>
            </p:extLst>
          </p:nvPr>
        </p:nvGraphicFramePr>
        <p:xfrm>
          <a:off x="859317" y="1079200"/>
          <a:ext cx="5227106" cy="2258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5" name="Диаграмма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1418644"/>
              </p:ext>
            </p:extLst>
          </p:nvPr>
        </p:nvGraphicFramePr>
        <p:xfrm>
          <a:off x="543068" y="3888422"/>
          <a:ext cx="6044932" cy="288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4200870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ИТУЛЫ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3116</TotalTime>
  <Words>9558</Words>
  <Application>Microsoft Office PowerPoint</Application>
  <PresentationFormat>Экран (4:3)</PresentationFormat>
  <Paragraphs>1223</Paragraphs>
  <Slides>47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7</vt:i4>
      </vt:variant>
    </vt:vector>
  </HeadingPairs>
  <TitlesOfParts>
    <vt:vector size="59" baseType="lpstr">
      <vt:lpstr>Arial</vt:lpstr>
      <vt:lpstr>Arial Cyr</vt:lpstr>
      <vt:lpstr>Calibri</vt:lpstr>
      <vt:lpstr>Calibri Light</vt:lpstr>
      <vt:lpstr>Gotham Pro Light</vt:lpstr>
      <vt:lpstr>Impact</vt:lpstr>
      <vt:lpstr>Times New Roman</vt:lpstr>
      <vt:lpstr>Verdana</vt:lpstr>
      <vt:lpstr>Wingdings</vt:lpstr>
      <vt:lpstr>ТИТУЛЫ</vt:lpstr>
      <vt:lpstr>Office Them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ugroho Ade</dc:creator>
  <cp:lastModifiedBy>Алдабергенова Акботи Нуркетаевна</cp:lastModifiedBy>
  <cp:revision>1201</cp:revision>
  <cp:lastPrinted>2024-07-31T10:42:38Z</cp:lastPrinted>
  <dcterms:created xsi:type="dcterms:W3CDTF">2018-04-24T06:31:58Z</dcterms:created>
  <dcterms:modified xsi:type="dcterms:W3CDTF">2025-12-24T12:40:50Z</dcterms:modified>
</cp:coreProperties>
</file>